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5.xml" ContentType="application/vnd.openxmlformats-officedocument.them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8" r:id="rId4"/>
    <p:sldMasterId id="2147483672" r:id="rId5"/>
    <p:sldMasterId id="2147483684" r:id="rId6"/>
    <p:sldMasterId id="2147483720" r:id="rId7"/>
    <p:sldMasterId id="2147483731" r:id="rId8"/>
  </p:sldMasterIdLst>
  <p:notesMasterIdLst>
    <p:notesMasterId r:id="rId27"/>
  </p:notesMasterIdLst>
  <p:handoutMasterIdLst>
    <p:handoutMasterId r:id="rId28"/>
  </p:handoutMasterIdLst>
  <p:sldIdLst>
    <p:sldId id="258" r:id="rId9"/>
    <p:sldId id="277" r:id="rId10"/>
    <p:sldId id="339" r:id="rId11"/>
    <p:sldId id="340" r:id="rId12"/>
    <p:sldId id="314" r:id="rId13"/>
    <p:sldId id="347" r:id="rId14"/>
    <p:sldId id="341" r:id="rId15"/>
    <p:sldId id="342" r:id="rId16"/>
    <p:sldId id="335" r:id="rId17"/>
    <p:sldId id="336" r:id="rId18"/>
    <p:sldId id="319" r:id="rId19"/>
    <p:sldId id="264" r:id="rId20"/>
    <p:sldId id="324" r:id="rId21"/>
    <p:sldId id="327" r:id="rId22"/>
    <p:sldId id="328" r:id="rId23"/>
    <p:sldId id="343" r:id="rId24"/>
    <p:sldId id="348" r:id="rId25"/>
    <p:sldId id="349" r:id="rId26"/>
  </p:sldIdLst>
  <p:sldSz cx="9144000" cy="6858000" type="screen4x3"/>
  <p:notesSz cx="6797675" cy="987425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hollingsworth" initials="kh" lastIdx="2" clrIdx="0"/>
  <p:cmAuthor id="1" name="Joshi, Hitesh" initials="JH" lastIdx="17"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AA44"/>
    <a:srgbClr val="66FF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603" autoAdjust="0"/>
    <p:restoredTop sz="96270" autoAdjust="0"/>
  </p:normalViewPr>
  <p:slideViewPr>
    <p:cSldViewPr>
      <p:cViewPr varScale="1">
        <p:scale>
          <a:sx n="86" d="100"/>
          <a:sy n="86" d="100"/>
        </p:scale>
        <p:origin x="1014" y="84"/>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handoutMaster" Target="handoutMasters/handout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notesMaster" Target="notesMasters/notesMaster1.xml"/><Relationship Id="rId30"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3713"/>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49688" y="0"/>
            <a:ext cx="2946400" cy="493713"/>
          </a:xfrm>
          <a:prstGeom prst="rect">
            <a:avLst/>
          </a:prstGeom>
        </p:spPr>
        <p:txBody>
          <a:bodyPr vert="horz" lIns="91440" tIns="45720" rIns="91440" bIns="45720" rtlCol="0"/>
          <a:lstStyle>
            <a:lvl1pPr algn="r">
              <a:defRPr sz="1200"/>
            </a:lvl1pPr>
          </a:lstStyle>
          <a:p>
            <a:fld id="{778CC584-3C77-4124-91AB-72820BEE4C74}" type="datetimeFigureOut">
              <a:rPr lang="en-GB" smtClean="0"/>
              <a:t>10/12/2014</a:t>
            </a:fld>
            <a:endParaRPr lang="en-GB"/>
          </a:p>
        </p:txBody>
      </p:sp>
      <p:sp>
        <p:nvSpPr>
          <p:cNvPr id="4" name="Footer Placeholder 3"/>
          <p:cNvSpPr>
            <a:spLocks noGrp="1"/>
          </p:cNvSpPr>
          <p:nvPr>
            <p:ph type="ftr" sz="quarter" idx="2"/>
          </p:nvPr>
        </p:nvSpPr>
        <p:spPr>
          <a:xfrm>
            <a:off x="0" y="9378950"/>
            <a:ext cx="2946400" cy="493713"/>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49688" y="9378950"/>
            <a:ext cx="2946400" cy="493713"/>
          </a:xfrm>
          <a:prstGeom prst="rect">
            <a:avLst/>
          </a:prstGeom>
        </p:spPr>
        <p:txBody>
          <a:bodyPr vert="horz" lIns="91440" tIns="45720" rIns="91440" bIns="45720" rtlCol="0" anchor="b"/>
          <a:lstStyle>
            <a:lvl1pPr algn="r">
              <a:defRPr sz="1200"/>
            </a:lvl1pPr>
          </a:lstStyle>
          <a:p>
            <a:fld id="{E6E62C05-6BD6-4ECF-82BA-2B2EA6102E86}" type="slidenum">
              <a:rPr lang="en-GB" smtClean="0"/>
              <a:t>‹#›</a:t>
            </a:fld>
            <a:endParaRPr lang="en-GB"/>
          </a:p>
        </p:txBody>
      </p:sp>
    </p:spTree>
    <p:extLst>
      <p:ext uri="{BB962C8B-B14F-4D97-AF65-F5344CB8AC3E}">
        <p14:creationId xmlns:p14="http://schemas.microsoft.com/office/powerpoint/2010/main" val="275604332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2945659" cy="493713"/>
          </a:xfrm>
          <a:prstGeom prst="rect">
            <a:avLst/>
          </a:prstGeom>
        </p:spPr>
        <p:txBody>
          <a:bodyPr vert="horz" lIns="92757" tIns="46378" rIns="92757" bIns="46378" rtlCol="0"/>
          <a:lstStyle>
            <a:lvl1pPr algn="l">
              <a:defRPr sz="1200"/>
            </a:lvl1pPr>
          </a:lstStyle>
          <a:p>
            <a:endParaRPr lang="en-GB" dirty="0"/>
          </a:p>
        </p:txBody>
      </p:sp>
      <p:sp>
        <p:nvSpPr>
          <p:cNvPr id="3" name="Date Placeholder 2"/>
          <p:cNvSpPr>
            <a:spLocks noGrp="1"/>
          </p:cNvSpPr>
          <p:nvPr>
            <p:ph type="dt" idx="1"/>
          </p:nvPr>
        </p:nvSpPr>
        <p:spPr>
          <a:xfrm>
            <a:off x="3850445" y="0"/>
            <a:ext cx="2945659" cy="493713"/>
          </a:xfrm>
          <a:prstGeom prst="rect">
            <a:avLst/>
          </a:prstGeom>
        </p:spPr>
        <p:txBody>
          <a:bodyPr vert="horz" lIns="92757" tIns="46378" rIns="92757" bIns="46378" rtlCol="0"/>
          <a:lstStyle>
            <a:lvl1pPr algn="r">
              <a:defRPr sz="1200"/>
            </a:lvl1pPr>
          </a:lstStyle>
          <a:p>
            <a:fld id="{0536CED4-33E8-43F5-AC55-B5F4CA8AE54F}" type="datetimeFigureOut">
              <a:rPr lang="en-GB" smtClean="0"/>
              <a:t>10/12/2014</a:t>
            </a:fld>
            <a:endParaRPr lang="en-GB" dirty="0"/>
          </a:p>
        </p:txBody>
      </p:sp>
      <p:sp>
        <p:nvSpPr>
          <p:cNvPr id="4" name="Slide Image Placeholder 3"/>
          <p:cNvSpPr>
            <a:spLocks noGrp="1" noRot="1" noChangeAspect="1"/>
          </p:cNvSpPr>
          <p:nvPr>
            <p:ph type="sldImg" idx="2"/>
          </p:nvPr>
        </p:nvSpPr>
        <p:spPr>
          <a:xfrm>
            <a:off x="930275" y="741363"/>
            <a:ext cx="4937125" cy="3703637"/>
          </a:xfrm>
          <a:prstGeom prst="rect">
            <a:avLst/>
          </a:prstGeom>
          <a:noFill/>
          <a:ln w="12700">
            <a:solidFill>
              <a:prstClr val="black"/>
            </a:solidFill>
          </a:ln>
        </p:spPr>
        <p:txBody>
          <a:bodyPr vert="horz" lIns="92757" tIns="46378" rIns="92757" bIns="46378" rtlCol="0" anchor="ctr"/>
          <a:lstStyle/>
          <a:p>
            <a:endParaRPr lang="en-GB"/>
          </a:p>
        </p:txBody>
      </p:sp>
      <p:sp>
        <p:nvSpPr>
          <p:cNvPr id="5" name="Notes Placeholder 4"/>
          <p:cNvSpPr>
            <a:spLocks noGrp="1"/>
          </p:cNvSpPr>
          <p:nvPr>
            <p:ph type="body" sz="quarter" idx="3"/>
          </p:nvPr>
        </p:nvSpPr>
        <p:spPr>
          <a:xfrm>
            <a:off x="679768" y="4690270"/>
            <a:ext cx="5438140" cy="4443413"/>
          </a:xfrm>
          <a:prstGeom prst="rect">
            <a:avLst/>
          </a:prstGeom>
        </p:spPr>
        <p:txBody>
          <a:bodyPr vert="horz" lIns="92757" tIns="46378" rIns="92757" bIns="46378" rtlCol="0"/>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Footer Placeholder 5"/>
          <p:cNvSpPr>
            <a:spLocks noGrp="1"/>
          </p:cNvSpPr>
          <p:nvPr>
            <p:ph type="ftr" sz="quarter" idx="4"/>
          </p:nvPr>
        </p:nvSpPr>
        <p:spPr>
          <a:xfrm>
            <a:off x="2" y="9378825"/>
            <a:ext cx="2945659" cy="493713"/>
          </a:xfrm>
          <a:prstGeom prst="rect">
            <a:avLst/>
          </a:prstGeom>
        </p:spPr>
        <p:txBody>
          <a:bodyPr vert="horz" lIns="92757" tIns="46378" rIns="92757" bIns="46378"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50445" y="9378825"/>
            <a:ext cx="2945659" cy="493713"/>
          </a:xfrm>
          <a:prstGeom prst="rect">
            <a:avLst/>
          </a:prstGeom>
        </p:spPr>
        <p:txBody>
          <a:bodyPr vert="horz" lIns="92757" tIns="46378" rIns="92757" bIns="46378" rtlCol="0" anchor="b"/>
          <a:lstStyle>
            <a:lvl1pPr algn="r">
              <a:defRPr sz="1200"/>
            </a:lvl1pPr>
          </a:lstStyle>
          <a:p>
            <a:fld id="{7421B952-B626-4F04-ABDC-5E65823DD763}" type="slidenum">
              <a:rPr lang="en-GB" smtClean="0"/>
              <a:t>‹#›</a:t>
            </a:fld>
            <a:endParaRPr lang="en-GB" dirty="0"/>
          </a:p>
        </p:txBody>
      </p:sp>
    </p:spTree>
    <p:extLst>
      <p:ext uri="{BB962C8B-B14F-4D97-AF65-F5344CB8AC3E}">
        <p14:creationId xmlns:p14="http://schemas.microsoft.com/office/powerpoint/2010/main" val="15582082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421B952-B626-4F04-ABDC-5E65823DD763}" type="slidenum">
              <a:rPr lang="en-GB" smtClean="0"/>
              <a:t>1</a:t>
            </a:fld>
            <a:endParaRPr lang="en-GB" dirty="0"/>
          </a:p>
        </p:txBody>
      </p:sp>
    </p:spTree>
    <p:extLst>
      <p:ext uri="{BB962C8B-B14F-4D97-AF65-F5344CB8AC3E}">
        <p14:creationId xmlns:p14="http://schemas.microsoft.com/office/powerpoint/2010/main" val="30572136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421B952-B626-4F04-ABDC-5E65823DD763}" type="slidenum">
              <a:rPr lang="en-GB" smtClean="0"/>
              <a:t>2</a:t>
            </a:fld>
            <a:endParaRPr lang="en-GB" dirty="0"/>
          </a:p>
        </p:txBody>
      </p:sp>
    </p:spTree>
    <p:extLst>
      <p:ext uri="{BB962C8B-B14F-4D97-AF65-F5344CB8AC3E}">
        <p14:creationId xmlns:p14="http://schemas.microsoft.com/office/powerpoint/2010/main" val="9016298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421B952-B626-4F04-ABDC-5E65823DD763}" type="slidenum">
              <a:rPr lang="en-GB" smtClean="0"/>
              <a:t>5</a:t>
            </a:fld>
            <a:endParaRPr lang="en-GB" dirty="0"/>
          </a:p>
        </p:txBody>
      </p:sp>
    </p:spTree>
    <p:extLst>
      <p:ext uri="{BB962C8B-B14F-4D97-AF65-F5344CB8AC3E}">
        <p14:creationId xmlns:p14="http://schemas.microsoft.com/office/powerpoint/2010/main" val="42778393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421B952-B626-4F04-ABDC-5E65823DD763}" type="slidenum">
              <a:rPr lang="en-GB" smtClean="0"/>
              <a:t>8</a:t>
            </a:fld>
            <a:endParaRPr lang="en-GB" dirty="0"/>
          </a:p>
        </p:txBody>
      </p:sp>
    </p:spTree>
    <p:extLst>
      <p:ext uri="{BB962C8B-B14F-4D97-AF65-F5344CB8AC3E}">
        <p14:creationId xmlns:p14="http://schemas.microsoft.com/office/powerpoint/2010/main" val="9177880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421B952-B626-4F04-ABDC-5E65823DD763}" type="slidenum">
              <a:rPr lang="en-GB" smtClean="0"/>
              <a:t>11</a:t>
            </a:fld>
            <a:endParaRPr lang="en-GB" dirty="0"/>
          </a:p>
        </p:txBody>
      </p:sp>
    </p:spTree>
    <p:extLst>
      <p:ext uri="{BB962C8B-B14F-4D97-AF65-F5344CB8AC3E}">
        <p14:creationId xmlns:p14="http://schemas.microsoft.com/office/powerpoint/2010/main" val="27060027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421B952-B626-4F04-ABDC-5E65823DD763}" type="slidenum">
              <a:rPr lang="en-GB" smtClean="0"/>
              <a:t>12</a:t>
            </a:fld>
            <a:endParaRPr lang="en-GB" dirty="0"/>
          </a:p>
        </p:txBody>
      </p:sp>
    </p:spTree>
    <p:extLst>
      <p:ext uri="{BB962C8B-B14F-4D97-AF65-F5344CB8AC3E}">
        <p14:creationId xmlns:p14="http://schemas.microsoft.com/office/powerpoint/2010/main" val="12578441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421B952-B626-4F04-ABDC-5E65823DD763}" type="slidenum">
              <a:rPr lang="en-GB" smtClean="0"/>
              <a:t>13</a:t>
            </a:fld>
            <a:endParaRPr lang="en-GB" dirty="0"/>
          </a:p>
        </p:txBody>
      </p:sp>
    </p:spTree>
    <p:extLst>
      <p:ext uri="{BB962C8B-B14F-4D97-AF65-F5344CB8AC3E}">
        <p14:creationId xmlns:p14="http://schemas.microsoft.com/office/powerpoint/2010/main" val="305721364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tags" Target="../tags/tag28.xml"/><Relationship Id="rId39" Type="http://schemas.openxmlformats.org/officeDocument/2006/relationships/slideMaster" Target="../slideMasters/slideMaster1.xml"/><Relationship Id="rId3" Type="http://schemas.openxmlformats.org/officeDocument/2006/relationships/tags" Target="../tags/tag5.xml"/><Relationship Id="rId21" Type="http://schemas.openxmlformats.org/officeDocument/2006/relationships/tags" Target="../tags/tag23.xml"/><Relationship Id="rId34" Type="http://schemas.openxmlformats.org/officeDocument/2006/relationships/tags" Target="../tags/tag36.xml"/><Relationship Id="rId42" Type="http://schemas.openxmlformats.org/officeDocument/2006/relationships/image" Target="../media/image3.emf"/><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33" Type="http://schemas.openxmlformats.org/officeDocument/2006/relationships/tags" Target="../tags/tag35.xml"/><Relationship Id="rId38" Type="http://schemas.openxmlformats.org/officeDocument/2006/relationships/tags" Target="../tags/tag40.xml"/><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29" Type="http://schemas.openxmlformats.org/officeDocument/2006/relationships/tags" Target="../tags/tag31.xml"/><Relationship Id="rId41" Type="http://schemas.openxmlformats.org/officeDocument/2006/relationships/image" Target="../media/image2.png"/><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tags" Target="../tags/tag34.xml"/><Relationship Id="rId37" Type="http://schemas.openxmlformats.org/officeDocument/2006/relationships/tags" Target="../tags/tag39.xml"/><Relationship Id="rId40" Type="http://schemas.openxmlformats.org/officeDocument/2006/relationships/image" Target="../media/image1.jpeg"/><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tags" Target="../tags/tag30.xml"/><Relationship Id="rId36" Type="http://schemas.openxmlformats.org/officeDocument/2006/relationships/tags" Target="../tags/tag38.xml"/><Relationship Id="rId10" Type="http://schemas.openxmlformats.org/officeDocument/2006/relationships/tags" Target="../tags/tag12.xml"/><Relationship Id="rId19" Type="http://schemas.openxmlformats.org/officeDocument/2006/relationships/tags" Target="../tags/tag21.xml"/><Relationship Id="rId31" Type="http://schemas.openxmlformats.org/officeDocument/2006/relationships/tags" Target="../tags/tag33.xml"/><Relationship Id="rId44" Type="http://schemas.openxmlformats.org/officeDocument/2006/relationships/image" Target="../media/image5.emf"/><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tags" Target="../tags/tag32.xml"/><Relationship Id="rId35" Type="http://schemas.openxmlformats.org/officeDocument/2006/relationships/tags" Target="../tags/tag37.xml"/><Relationship Id="rId43"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3.x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image" Target="../media/image3.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4.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tags" Target="../tags/tag67.xml"/><Relationship Id="rId18" Type="http://schemas.openxmlformats.org/officeDocument/2006/relationships/tags" Target="../tags/tag72.xml"/><Relationship Id="rId26" Type="http://schemas.openxmlformats.org/officeDocument/2006/relationships/tags" Target="../tags/tag80.xml"/><Relationship Id="rId39" Type="http://schemas.openxmlformats.org/officeDocument/2006/relationships/slideMaster" Target="../slideMasters/slideMaster5.xml"/><Relationship Id="rId3" Type="http://schemas.openxmlformats.org/officeDocument/2006/relationships/tags" Target="../tags/tag57.xml"/><Relationship Id="rId21" Type="http://schemas.openxmlformats.org/officeDocument/2006/relationships/tags" Target="../tags/tag75.xml"/><Relationship Id="rId34" Type="http://schemas.openxmlformats.org/officeDocument/2006/relationships/tags" Target="../tags/tag88.xml"/><Relationship Id="rId42" Type="http://schemas.openxmlformats.org/officeDocument/2006/relationships/image" Target="../media/image3.emf"/><Relationship Id="rId7" Type="http://schemas.openxmlformats.org/officeDocument/2006/relationships/tags" Target="../tags/tag61.xml"/><Relationship Id="rId12" Type="http://schemas.openxmlformats.org/officeDocument/2006/relationships/tags" Target="../tags/tag66.xml"/><Relationship Id="rId17" Type="http://schemas.openxmlformats.org/officeDocument/2006/relationships/tags" Target="../tags/tag71.xml"/><Relationship Id="rId25" Type="http://schemas.openxmlformats.org/officeDocument/2006/relationships/tags" Target="../tags/tag79.xml"/><Relationship Id="rId33" Type="http://schemas.openxmlformats.org/officeDocument/2006/relationships/tags" Target="../tags/tag87.xml"/><Relationship Id="rId38" Type="http://schemas.openxmlformats.org/officeDocument/2006/relationships/tags" Target="../tags/tag92.xml"/><Relationship Id="rId2" Type="http://schemas.openxmlformats.org/officeDocument/2006/relationships/tags" Target="../tags/tag56.xml"/><Relationship Id="rId16" Type="http://schemas.openxmlformats.org/officeDocument/2006/relationships/tags" Target="../tags/tag70.xml"/><Relationship Id="rId20" Type="http://schemas.openxmlformats.org/officeDocument/2006/relationships/tags" Target="../tags/tag74.xml"/><Relationship Id="rId29" Type="http://schemas.openxmlformats.org/officeDocument/2006/relationships/tags" Target="../tags/tag83.xml"/><Relationship Id="rId41" Type="http://schemas.openxmlformats.org/officeDocument/2006/relationships/image" Target="../media/image2.png"/><Relationship Id="rId1" Type="http://schemas.openxmlformats.org/officeDocument/2006/relationships/tags" Target="../tags/tag55.xml"/><Relationship Id="rId6" Type="http://schemas.openxmlformats.org/officeDocument/2006/relationships/tags" Target="../tags/tag60.xml"/><Relationship Id="rId11" Type="http://schemas.openxmlformats.org/officeDocument/2006/relationships/tags" Target="../tags/tag65.xml"/><Relationship Id="rId24" Type="http://schemas.openxmlformats.org/officeDocument/2006/relationships/tags" Target="../tags/tag78.xml"/><Relationship Id="rId32" Type="http://schemas.openxmlformats.org/officeDocument/2006/relationships/tags" Target="../tags/tag86.xml"/><Relationship Id="rId37" Type="http://schemas.openxmlformats.org/officeDocument/2006/relationships/tags" Target="../tags/tag91.xml"/><Relationship Id="rId40" Type="http://schemas.openxmlformats.org/officeDocument/2006/relationships/image" Target="../media/image1.jpeg"/><Relationship Id="rId5" Type="http://schemas.openxmlformats.org/officeDocument/2006/relationships/tags" Target="../tags/tag59.xml"/><Relationship Id="rId15" Type="http://schemas.openxmlformats.org/officeDocument/2006/relationships/tags" Target="../tags/tag69.xml"/><Relationship Id="rId23" Type="http://schemas.openxmlformats.org/officeDocument/2006/relationships/tags" Target="../tags/tag77.xml"/><Relationship Id="rId28" Type="http://schemas.openxmlformats.org/officeDocument/2006/relationships/tags" Target="../tags/tag82.xml"/><Relationship Id="rId36" Type="http://schemas.openxmlformats.org/officeDocument/2006/relationships/tags" Target="../tags/tag90.xml"/><Relationship Id="rId10" Type="http://schemas.openxmlformats.org/officeDocument/2006/relationships/tags" Target="../tags/tag64.xml"/><Relationship Id="rId19" Type="http://schemas.openxmlformats.org/officeDocument/2006/relationships/tags" Target="../tags/tag73.xml"/><Relationship Id="rId31" Type="http://schemas.openxmlformats.org/officeDocument/2006/relationships/tags" Target="../tags/tag85.xml"/><Relationship Id="rId44" Type="http://schemas.openxmlformats.org/officeDocument/2006/relationships/image" Target="../media/image5.emf"/><Relationship Id="rId4" Type="http://schemas.openxmlformats.org/officeDocument/2006/relationships/tags" Target="../tags/tag58.xml"/><Relationship Id="rId9" Type="http://schemas.openxmlformats.org/officeDocument/2006/relationships/tags" Target="../tags/tag63.xml"/><Relationship Id="rId14" Type="http://schemas.openxmlformats.org/officeDocument/2006/relationships/tags" Target="../tags/tag68.xml"/><Relationship Id="rId22" Type="http://schemas.openxmlformats.org/officeDocument/2006/relationships/tags" Target="../tags/tag76.xml"/><Relationship Id="rId27" Type="http://schemas.openxmlformats.org/officeDocument/2006/relationships/tags" Target="../tags/tag81.xml"/><Relationship Id="rId30" Type="http://schemas.openxmlformats.org/officeDocument/2006/relationships/tags" Target="../tags/tag84.xml"/><Relationship Id="rId35" Type="http://schemas.openxmlformats.org/officeDocument/2006/relationships/tags" Target="../tags/tag89.xml"/><Relationship Id="rId43" Type="http://schemas.openxmlformats.org/officeDocument/2006/relationships/image" Target="../media/image4.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3.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95.xml"/><Relationship Id="rId7" Type="http://schemas.openxmlformats.org/officeDocument/2006/relationships/oleObject" Target="../embeddings/oleObject6.bin"/><Relationship Id="rId2" Type="http://schemas.openxmlformats.org/officeDocument/2006/relationships/tags" Target="../tags/tag94.xml"/><Relationship Id="rId1" Type="http://schemas.openxmlformats.org/officeDocument/2006/relationships/vmlDrawing" Target="../drawings/vmlDrawing6.vml"/><Relationship Id="rId6" Type="http://schemas.openxmlformats.org/officeDocument/2006/relationships/slideMaster" Target="../slideMasters/slideMaster5.xml"/><Relationship Id="rId5" Type="http://schemas.openxmlformats.org/officeDocument/2006/relationships/tags" Target="../tags/tag97.xml"/><Relationship Id="rId4" Type="http://schemas.openxmlformats.org/officeDocument/2006/relationships/tags" Target="../tags/tag96.xml"/></Relationships>
</file>

<file path=ppt/slideLayouts/_rels/slideLayout3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99.xml"/><Relationship Id="rId7" Type="http://schemas.openxmlformats.org/officeDocument/2006/relationships/image" Target="../media/image6.jpeg"/><Relationship Id="rId2" Type="http://schemas.openxmlformats.org/officeDocument/2006/relationships/tags" Target="../tags/tag98.xml"/><Relationship Id="rId1" Type="http://schemas.openxmlformats.org/officeDocument/2006/relationships/vmlDrawing" Target="../drawings/vmlDrawing7.vml"/><Relationship Id="rId6" Type="http://schemas.openxmlformats.org/officeDocument/2006/relationships/slideMaster" Target="../slideMasters/slideMaster5.xml"/><Relationship Id="rId5" Type="http://schemas.openxmlformats.org/officeDocument/2006/relationships/tags" Target="../tags/tag101.xml"/><Relationship Id="rId4" Type="http://schemas.openxmlformats.org/officeDocument/2006/relationships/tags" Target="../tags/tag100.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103.xml"/><Relationship Id="rId7" Type="http://schemas.openxmlformats.org/officeDocument/2006/relationships/oleObject" Target="../embeddings/oleObject8.bin"/><Relationship Id="rId2" Type="http://schemas.openxmlformats.org/officeDocument/2006/relationships/tags" Target="../tags/tag102.xml"/><Relationship Id="rId1" Type="http://schemas.openxmlformats.org/officeDocument/2006/relationships/vmlDrawing" Target="../drawings/vmlDrawing8.vml"/><Relationship Id="rId6" Type="http://schemas.openxmlformats.org/officeDocument/2006/relationships/slideMaster" Target="../slideMasters/slideMaster5.xml"/><Relationship Id="rId5" Type="http://schemas.openxmlformats.org/officeDocument/2006/relationships/tags" Target="../tags/tag105.xml"/><Relationship Id="rId4" Type="http://schemas.openxmlformats.org/officeDocument/2006/relationships/tags" Target="../tags/tag10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vmlDrawing" Target="../drawings/vmlDrawing1.vml"/><Relationship Id="rId4" Type="http://schemas.openxmlformats.org/officeDocument/2006/relationships/oleObject" Target="../embeddings/oleObject1.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oleObject" Target="../embeddings/oleObject2.bin"/><Relationship Id="rId2" Type="http://schemas.openxmlformats.org/officeDocument/2006/relationships/tags" Target="../tags/tag42.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45.xml"/><Relationship Id="rId4" Type="http://schemas.openxmlformats.org/officeDocument/2006/relationships/tags" Target="../tags/tag44.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47.xml"/><Relationship Id="rId7" Type="http://schemas.openxmlformats.org/officeDocument/2006/relationships/image" Target="../media/image6.jpeg"/><Relationship Id="rId2" Type="http://schemas.openxmlformats.org/officeDocument/2006/relationships/tags" Target="../tags/tag46.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49.xml"/><Relationship Id="rId4" Type="http://schemas.openxmlformats.org/officeDocument/2006/relationships/tags" Target="../tags/tag48.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oleObject" Target="../embeddings/oleObject4.bin"/><Relationship Id="rId2" Type="http://schemas.openxmlformats.org/officeDocument/2006/relationships/tags" Target="../tags/tag5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53.xml"/><Relationship Id="rId4" Type="http://schemas.openxmlformats.org/officeDocument/2006/relationships/tags" Target="../tags/tag5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3074" name="Picture 2" descr="C:\Users\joel.manstoff\Documents\DCSC\Monsoon\working drafts\Road_to_clouds_jpg.jpg"/>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Q:\Clients\Accenture\Laurie Shiro - 09-2438 - Technology Word document\Working Files\Illustrator\Outsourcing title.png"/>
          <p:cNvPicPr>
            <a:picLocks noChangeAspect="1" noChangeArrowheads="1"/>
          </p:cNvPicPr>
          <p:nvPr/>
        </p:nvPicPr>
        <p:blipFill>
          <a:blip r:embed="rId41" cstate="email"/>
          <a:stretch>
            <a:fillRect/>
          </a:stretch>
        </p:blipFill>
        <p:spPr bwMode="auto">
          <a:xfrm>
            <a:off x="500803" y="3140968"/>
            <a:ext cx="1323975" cy="323850"/>
          </a:xfrm>
          <a:prstGeom prst="rect">
            <a:avLst/>
          </a:prstGeom>
          <a:noFill/>
          <a:ln>
            <a:noFill/>
          </a:ln>
        </p:spPr>
      </p:pic>
      <p:sp>
        <p:nvSpPr>
          <p:cNvPr id="21511" name="Rectangle 7"/>
          <p:cNvSpPr>
            <a:spLocks noGrp="1" noChangeArrowheads="1"/>
          </p:cNvSpPr>
          <p:nvPr>
            <p:ph type="ctrTitle" sz="quarter"/>
          </p:nvPr>
        </p:nvSpPr>
        <p:spPr>
          <a:xfrm>
            <a:off x="376511" y="4135270"/>
            <a:ext cx="6443663" cy="656832"/>
          </a:xfrm>
          <a:ln w="9525"/>
        </p:spPr>
        <p:txBody>
          <a:bodyPr lIns="91440" tIns="45720" rIns="91440" bIns="45720" anchor="t"/>
          <a:lstStyle>
            <a:lvl1pPr>
              <a:lnSpc>
                <a:spcPct val="90000"/>
              </a:lnSpc>
              <a:defRPr sz="3200" b="0">
                <a:solidFill>
                  <a:schemeClr val="bg1"/>
                </a:solidFill>
              </a:defRPr>
            </a:lvl1pPr>
          </a:lstStyle>
          <a:p>
            <a:r>
              <a:rPr lang="en-GB" dirty="0" smtClean="0"/>
              <a:t>Click to edit Master title style</a:t>
            </a:r>
            <a:endParaRPr lang="en-GB" dirty="0"/>
          </a:p>
        </p:txBody>
      </p:sp>
      <p:sp>
        <p:nvSpPr>
          <p:cNvPr id="21512" name="Rectangle 8"/>
          <p:cNvSpPr>
            <a:spLocks noGrp="1" noChangeArrowheads="1"/>
          </p:cNvSpPr>
          <p:nvPr>
            <p:ph type="subTitle" sz="quarter" idx="1"/>
          </p:nvPr>
        </p:nvSpPr>
        <p:spPr>
          <a:xfrm>
            <a:off x="399204" y="4814718"/>
            <a:ext cx="6438900" cy="555811"/>
          </a:xfrm>
          <a:ln w="9525"/>
        </p:spPr>
        <p:txBody>
          <a:bodyPr lIns="91440" tIns="45720" rIns="91440" bIns="45720"/>
          <a:lstStyle>
            <a:lvl1pPr marL="0" indent="0">
              <a:buFontTx/>
              <a:buNone/>
              <a:defRPr sz="2000">
                <a:solidFill>
                  <a:schemeClr val="bg1"/>
                </a:solidFill>
              </a:defRPr>
            </a:lvl1pPr>
          </a:lstStyle>
          <a:p>
            <a:r>
              <a:rPr lang="en-GB" dirty="0" smtClean="0"/>
              <a:t>Click to edit Master subtitle style</a:t>
            </a:r>
            <a:endParaRPr lang="en-GB" dirty="0"/>
          </a:p>
        </p:txBody>
      </p:sp>
      <p:pic>
        <p:nvPicPr>
          <p:cNvPr id="10" name="Picture 9" descr="Acc_Sig_orange_rgb.emf"/>
          <p:cNvPicPr>
            <a:picLocks noChangeAspect="1"/>
          </p:cNvPicPr>
          <p:nvPr/>
        </p:nvPicPr>
        <p:blipFill>
          <a:blip r:embed="rId42" cstate="print"/>
          <a:stretch>
            <a:fillRect/>
          </a:stretch>
        </p:blipFill>
        <p:spPr>
          <a:xfrm>
            <a:off x="490880" y="5594341"/>
            <a:ext cx="2880000" cy="832500"/>
          </a:xfrm>
          <a:prstGeom prst="rect">
            <a:avLst/>
          </a:prstGeom>
        </p:spPr>
      </p:pic>
      <p:cxnSp>
        <p:nvCxnSpPr>
          <p:cNvPr id="13" name="Straight Connector 12"/>
          <p:cNvCxnSpPr/>
          <p:nvPr/>
        </p:nvCxnSpPr>
        <p:spPr bwMode="auto">
          <a:xfrm>
            <a:off x="497866" y="6580385"/>
            <a:ext cx="8646136" cy="0"/>
          </a:xfrm>
          <a:prstGeom prst="line">
            <a:avLst/>
          </a:prstGeom>
          <a:solidFill>
            <a:schemeClr val="accent1"/>
          </a:solidFill>
          <a:ln w="12700" cap="flat" cmpd="sng" algn="ctr">
            <a:solidFill>
              <a:schemeClr val="bg1"/>
            </a:solidFill>
            <a:prstDash val="solid"/>
            <a:round/>
            <a:headEnd type="none" w="med" len="med"/>
            <a:tailEnd type="none" w="med" len="med"/>
          </a:ln>
          <a:effectLst/>
        </p:spPr>
      </p:cxnSp>
      <p:pic>
        <p:nvPicPr>
          <p:cNvPr id="14" name="Picture 13" descr="Acc_StrategyLine_English_blk_white.emf"/>
          <p:cNvPicPr>
            <a:picLocks noChangeAspect="1"/>
          </p:cNvPicPr>
          <p:nvPr/>
        </p:nvPicPr>
        <p:blipFill>
          <a:blip r:embed="rId43" cstate="print"/>
          <a:stretch>
            <a:fillRect/>
          </a:stretch>
        </p:blipFill>
        <p:spPr>
          <a:xfrm>
            <a:off x="5503120" y="6252103"/>
            <a:ext cx="3150000" cy="225000"/>
          </a:xfrm>
          <a:prstGeom prst="rect">
            <a:avLst/>
          </a:prstGeom>
        </p:spPr>
      </p:pic>
      <p:pic>
        <p:nvPicPr>
          <p:cNvPr id="15" name="Picture 14" descr="ACC_Greater_Than_Lockup_orange_rgb.emf"/>
          <p:cNvPicPr>
            <a:picLocks noChangeAspect="1"/>
          </p:cNvPicPr>
          <p:nvPr/>
        </p:nvPicPr>
        <p:blipFill>
          <a:blip r:embed="rId44" cstate="print"/>
          <a:stretch>
            <a:fillRect/>
          </a:stretch>
        </p:blipFill>
        <p:spPr>
          <a:xfrm>
            <a:off x="4516874" y="-327546"/>
            <a:ext cx="4627126" cy="3513375"/>
          </a:xfrm>
          <a:prstGeom prst="rect">
            <a:avLst/>
          </a:prstGeom>
        </p:spPr>
      </p:pic>
      <p:cxnSp>
        <p:nvCxnSpPr>
          <p:cNvPr id="12" name="Gerade Verbindung 46"/>
          <p:cNvCxnSpPr/>
          <p:nvPr userDrawn="1">
            <p:custDataLst>
              <p:tags r:id="rId1"/>
            </p:custDataLst>
          </p:nvPr>
        </p:nvCxnSpPr>
        <p:spPr bwMode="ltGray">
          <a:xfrm>
            <a:off x="0" y="3429000"/>
            <a:ext cx="9144000" cy="1558"/>
          </a:xfrm>
          <a:prstGeom prst="line">
            <a:avLst/>
          </a:prstGeom>
          <a:solidFill>
            <a:schemeClr val="accent1"/>
          </a:solidFill>
          <a:ln w="12700" cap="flat" cmpd="sng" algn="ctr">
            <a:solidFill>
              <a:schemeClr val="accent1"/>
            </a:solidFill>
            <a:prstDash val="solid"/>
            <a:round/>
            <a:headEnd type="none" w="med" len="med"/>
            <a:tailEnd type="none" w="med" len="med"/>
          </a:ln>
          <a:effectLst/>
        </p:spPr>
      </p:cxnSp>
      <p:grpSp>
        <p:nvGrpSpPr>
          <p:cNvPr id="16" name="Gruppieren 44"/>
          <p:cNvGrpSpPr/>
          <p:nvPr userDrawn="1">
            <p:custDataLst>
              <p:tags r:id="rId2"/>
            </p:custDataLst>
          </p:nvPr>
        </p:nvGrpSpPr>
        <p:grpSpPr>
          <a:xfrm>
            <a:off x="522288" y="1340768"/>
            <a:ext cx="3470275" cy="1809750"/>
            <a:chOff x="522288" y="2187575"/>
            <a:chExt cx="3470275" cy="1809750"/>
          </a:xfrm>
        </p:grpSpPr>
        <p:sp>
          <p:nvSpPr>
            <p:cNvPr id="17" name="Freeform 4"/>
            <p:cNvSpPr>
              <a:spLocks noEditPoints="1"/>
            </p:cNvSpPr>
            <p:nvPr userDrawn="1">
              <p:custDataLst>
                <p:tags r:id="rId3"/>
              </p:custDataLst>
            </p:nvPr>
          </p:nvSpPr>
          <p:spPr bwMode="gray">
            <a:xfrm>
              <a:off x="522288" y="2708275"/>
              <a:ext cx="350837" cy="473075"/>
            </a:xfrm>
            <a:custGeom>
              <a:avLst/>
              <a:gdLst/>
              <a:ahLst/>
              <a:cxnLst>
                <a:cxn ang="0">
                  <a:pos x="1164" y="1320"/>
                </a:cxn>
                <a:cxn ang="0">
                  <a:pos x="1140" y="1453"/>
                </a:cxn>
                <a:cxn ang="0">
                  <a:pos x="1097" y="1580"/>
                </a:cxn>
                <a:cxn ang="0">
                  <a:pos x="1030" y="1693"/>
                </a:cxn>
                <a:cxn ang="0">
                  <a:pos x="938" y="1779"/>
                </a:cxn>
                <a:cxn ang="0">
                  <a:pos x="819" y="1829"/>
                </a:cxn>
                <a:cxn ang="0">
                  <a:pos x="705" y="1837"/>
                </a:cxn>
                <a:cxn ang="0">
                  <a:pos x="637" y="1827"/>
                </a:cxn>
                <a:cxn ang="0">
                  <a:pos x="581" y="1804"/>
                </a:cxn>
                <a:cxn ang="0">
                  <a:pos x="536" y="1769"/>
                </a:cxn>
                <a:cxn ang="0">
                  <a:pos x="503" y="1722"/>
                </a:cxn>
                <a:cxn ang="0">
                  <a:pos x="483" y="1662"/>
                </a:cxn>
                <a:cxn ang="0">
                  <a:pos x="476" y="1588"/>
                </a:cxn>
                <a:cxn ang="0">
                  <a:pos x="507" y="1459"/>
                </a:cxn>
                <a:cxn ang="0">
                  <a:pos x="589" y="1364"/>
                </a:cxn>
                <a:cxn ang="0">
                  <a:pos x="709" y="1295"/>
                </a:cxn>
                <a:cxn ang="0">
                  <a:pos x="847" y="1252"/>
                </a:cxn>
                <a:cxn ang="0">
                  <a:pos x="1019" y="1225"/>
                </a:cxn>
                <a:cxn ang="0">
                  <a:pos x="1629" y="645"/>
                </a:cxn>
                <a:cxn ang="0">
                  <a:pos x="1607" y="441"/>
                </a:cxn>
                <a:cxn ang="0">
                  <a:pos x="1543" y="281"/>
                </a:cxn>
                <a:cxn ang="0">
                  <a:pos x="1441" y="160"/>
                </a:cxn>
                <a:cxn ang="0">
                  <a:pos x="1306" y="76"/>
                </a:cxn>
                <a:cxn ang="0">
                  <a:pos x="1141" y="25"/>
                </a:cxn>
                <a:cxn ang="0">
                  <a:pos x="952" y="2"/>
                </a:cxn>
                <a:cxn ang="0">
                  <a:pos x="751" y="5"/>
                </a:cxn>
                <a:cxn ang="0">
                  <a:pos x="564" y="36"/>
                </a:cxn>
                <a:cxn ang="0">
                  <a:pos x="398" y="99"/>
                </a:cxn>
                <a:cxn ang="0">
                  <a:pos x="261" y="194"/>
                </a:cxn>
                <a:cxn ang="0">
                  <a:pos x="159" y="326"/>
                </a:cxn>
                <a:cxn ang="0">
                  <a:pos x="96" y="496"/>
                </a:cxn>
                <a:cxn ang="0">
                  <a:pos x="556" y="661"/>
                </a:cxn>
                <a:cxn ang="0">
                  <a:pos x="564" y="570"/>
                </a:cxn>
                <a:cxn ang="0">
                  <a:pos x="587" y="493"/>
                </a:cxn>
                <a:cxn ang="0">
                  <a:pos x="625" y="431"/>
                </a:cxn>
                <a:cxn ang="0">
                  <a:pos x="679" y="385"/>
                </a:cxn>
                <a:cxn ang="0">
                  <a:pos x="749" y="355"/>
                </a:cxn>
                <a:cxn ang="0">
                  <a:pos x="833" y="340"/>
                </a:cxn>
                <a:cxn ang="0">
                  <a:pos x="934" y="343"/>
                </a:cxn>
                <a:cxn ang="0">
                  <a:pos x="1020" y="369"/>
                </a:cxn>
                <a:cxn ang="0">
                  <a:pos x="1083" y="416"/>
                </a:cxn>
                <a:cxn ang="0">
                  <a:pos x="1126" y="481"/>
                </a:cxn>
                <a:cxn ang="0">
                  <a:pos x="1153" y="560"/>
                </a:cxn>
                <a:cxn ang="0">
                  <a:pos x="1169" y="725"/>
                </a:cxn>
                <a:cxn ang="0">
                  <a:pos x="885" y="945"/>
                </a:cxn>
                <a:cxn ang="0">
                  <a:pos x="638" y="982"/>
                </a:cxn>
                <a:cxn ang="0">
                  <a:pos x="406" y="1052"/>
                </a:cxn>
                <a:cxn ang="0">
                  <a:pos x="209" y="1168"/>
                </a:cxn>
                <a:cxn ang="0">
                  <a:pos x="67" y="1339"/>
                </a:cxn>
                <a:cxn ang="0">
                  <a:pos x="2" y="1579"/>
                </a:cxn>
                <a:cxn ang="0">
                  <a:pos x="13" y="1762"/>
                </a:cxn>
                <a:cxn ang="0">
                  <a:pos x="62" y="1897"/>
                </a:cxn>
                <a:cxn ang="0">
                  <a:pos x="143" y="2008"/>
                </a:cxn>
                <a:cxn ang="0">
                  <a:pos x="250" y="2092"/>
                </a:cxn>
                <a:cxn ang="0">
                  <a:pos x="377" y="2149"/>
                </a:cxn>
                <a:cxn ang="0">
                  <a:pos x="522" y="2180"/>
                </a:cxn>
                <a:cxn ang="0">
                  <a:pos x="698" y="2181"/>
                </a:cxn>
                <a:cxn ang="0">
                  <a:pos x="799" y="2166"/>
                </a:cxn>
                <a:cxn ang="0">
                  <a:pos x="896" y="2137"/>
                </a:cxn>
                <a:cxn ang="0">
                  <a:pos x="985" y="2093"/>
                </a:cxn>
                <a:cxn ang="0">
                  <a:pos x="1063" y="2032"/>
                </a:cxn>
                <a:cxn ang="0">
                  <a:pos x="1129" y="1953"/>
                </a:cxn>
                <a:cxn ang="0">
                  <a:pos x="1169" y="2137"/>
                </a:cxn>
              </a:cxnLst>
              <a:rect l="0" t="0" r="r" b="b"/>
              <a:pathLst>
                <a:path w="1629" h="2185">
                  <a:moveTo>
                    <a:pt x="1169" y="1217"/>
                  </a:moveTo>
                  <a:lnTo>
                    <a:pt x="1169" y="1243"/>
                  </a:lnTo>
                  <a:lnTo>
                    <a:pt x="1168" y="1268"/>
                  </a:lnTo>
                  <a:lnTo>
                    <a:pt x="1166" y="1294"/>
                  </a:lnTo>
                  <a:lnTo>
                    <a:pt x="1164" y="1320"/>
                  </a:lnTo>
                  <a:lnTo>
                    <a:pt x="1161" y="1347"/>
                  </a:lnTo>
                  <a:lnTo>
                    <a:pt x="1157" y="1374"/>
                  </a:lnTo>
                  <a:lnTo>
                    <a:pt x="1152" y="1401"/>
                  </a:lnTo>
                  <a:lnTo>
                    <a:pt x="1147" y="1427"/>
                  </a:lnTo>
                  <a:lnTo>
                    <a:pt x="1140" y="1453"/>
                  </a:lnTo>
                  <a:lnTo>
                    <a:pt x="1133" y="1480"/>
                  </a:lnTo>
                  <a:lnTo>
                    <a:pt x="1125" y="1505"/>
                  </a:lnTo>
                  <a:lnTo>
                    <a:pt x="1117" y="1531"/>
                  </a:lnTo>
                  <a:lnTo>
                    <a:pt x="1107" y="1556"/>
                  </a:lnTo>
                  <a:lnTo>
                    <a:pt x="1097" y="1580"/>
                  </a:lnTo>
                  <a:lnTo>
                    <a:pt x="1085" y="1604"/>
                  </a:lnTo>
                  <a:lnTo>
                    <a:pt x="1073" y="1627"/>
                  </a:lnTo>
                  <a:lnTo>
                    <a:pt x="1059" y="1651"/>
                  </a:lnTo>
                  <a:lnTo>
                    <a:pt x="1045" y="1672"/>
                  </a:lnTo>
                  <a:lnTo>
                    <a:pt x="1030" y="1693"/>
                  </a:lnTo>
                  <a:lnTo>
                    <a:pt x="1014" y="1712"/>
                  </a:lnTo>
                  <a:lnTo>
                    <a:pt x="997" y="1731"/>
                  </a:lnTo>
                  <a:lnTo>
                    <a:pt x="978" y="1748"/>
                  </a:lnTo>
                  <a:lnTo>
                    <a:pt x="958" y="1764"/>
                  </a:lnTo>
                  <a:lnTo>
                    <a:pt x="938" y="1779"/>
                  </a:lnTo>
                  <a:lnTo>
                    <a:pt x="916" y="1792"/>
                  </a:lnTo>
                  <a:lnTo>
                    <a:pt x="894" y="1804"/>
                  </a:lnTo>
                  <a:lnTo>
                    <a:pt x="870" y="1814"/>
                  </a:lnTo>
                  <a:lnTo>
                    <a:pt x="845" y="1823"/>
                  </a:lnTo>
                  <a:lnTo>
                    <a:pt x="819" y="1829"/>
                  </a:lnTo>
                  <a:lnTo>
                    <a:pt x="792" y="1834"/>
                  </a:lnTo>
                  <a:lnTo>
                    <a:pt x="764" y="1837"/>
                  </a:lnTo>
                  <a:lnTo>
                    <a:pt x="734" y="1838"/>
                  </a:lnTo>
                  <a:lnTo>
                    <a:pt x="719" y="1838"/>
                  </a:lnTo>
                  <a:lnTo>
                    <a:pt x="705" y="1837"/>
                  </a:lnTo>
                  <a:lnTo>
                    <a:pt x="690" y="1836"/>
                  </a:lnTo>
                  <a:lnTo>
                    <a:pt x="676" y="1835"/>
                  </a:lnTo>
                  <a:lnTo>
                    <a:pt x="663" y="1832"/>
                  </a:lnTo>
                  <a:lnTo>
                    <a:pt x="650" y="1830"/>
                  </a:lnTo>
                  <a:lnTo>
                    <a:pt x="637" y="1827"/>
                  </a:lnTo>
                  <a:lnTo>
                    <a:pt x="625" y="1823"/>
                  </a:lnTo>
                  <a:lnTo>
                    <a:pt x="614" y="1819"/>
                  </a:lnTo>
                  <a:lnTo>
                    <a:pt x="602" y="1815"/>
                  </a:lnTo>
                  <a:lnTo>
                    <a:pt x="592" y="1810"/>
                  </a:lnTo>
                  <a:lnTo>
                    <a:pt x="581" y="1804"/>
                  </a:lnTo>
                  <a:lnTo>
                    <a:pt x="571" y="1798"/>
                  </a:lnTo>
                  <a:lnTo>
                    <a:pt x="562" y="1792"/>
                  </a:lnTo>
                  <a:lnTo>
                    <a:pt x="553" y="1785"/>
                  </a:lnTo>
                  <a:lnTo>
                    <a:pt x="544" y="1777"/>
                  </a:lnTo>
                  <a:lnTo>
                    <a:pt x="536" y="1769"/>
                  </a:lnTo>
                  <a:lnTo>
                    <a:pt x="529" y="1761"/>
                  </a:lnTo>
                  <a:lnTo>
                    <a:pt x="522" y="1752"/>
                  </a:lnTo>
                  <a:lnTo>
                    <a:pt x="515" y="1742"/>
                  </a:lnTo>
                  <a:lnTo>
                    <a:pt x="509" y="1732"/>
                  </a:lnTo>
                  <a:lnTo>
                    <a:pt x="503" y="1722"/>
                  </a:lnTo>
                  <a:lnTo>
                    <a:pt x="498" y="1711"/>
                  </a:lnTo>
                  <a:lnTo>
                    <a:pt x="494" y="1699"/>
                  </a:lnTo>
                  <a:lnTo>
                    <a:pt x="490" y="1687"/>
                  </a:lnTo>
                  <a:lnTo>
                    <a:pt x="486" y="1675"/>
                  </a:lnTo>
                  <a:lnTo>
                    <a:pt x="483" y="1662"/>
                  </a:lnTo>
                  <a:lnTo>
                    <a:pt x="481" y="1648"/>
                  </a:lnTo>
                  <a:lnTo>
                    <a:pt x="479" y="1633"/>
                  </a:lnTo>
                  <a:lnTo>
                    <a:pt x="477" y="1619"/>
                  </a:lnTo>
                  <a:lnTo>
                    <a:pt x="476" y="1604"/>
                  </a:lnTo>
                  <a:lnTo>
                    <a:pt x="476" y="1588"/>
                  </a:lnTo>
                  <a:lnTo>
                    <a:pt x="477" y="1560"/>
                  </a:lnTo>
                  <a:lnTo>
                    <a:pt x="481" y="1532"/>
                  </a:lnTo>
                  <a:lnTo>
                    <a:pt x="488" y="1507"/>
                  </a:lnTo>
                  <a:lnTo>
                    <a:pt x="496" y="1482"/>
                  </a:lnTo>
                  <a:lnTo>
                    <a:pt x="507" y="1459"/>
                  </a:lnTo>
                  <a:lnTo>
                    <a:pt x="520" y="1438"/>
                  </a:lnTo>
                  <a:lnTo>
                    <a:pt x="535" y="1417"/>
                  </a:lnTo>
                  <a:lnTo>
                    <a:pt x="551" y="1398"/>
                  </a:lnTo>
                  <a:lnTo>
                    <a:pt x="570" y="1380"/>
                  </a:lnTo>
                  <a:lnTo>
                    <a:pt x="589" y="1364"/>
                  </a:lnTo>
                  <a:lnTo>
                    <a:pt x="611" y="1347"/>
                  </a:lnTo>
                  <a:lnTo>
                    <a:pt x="633" y="1332"/>
                  </a:lnTo>
                  <a:lnTo>
                    <a:pt x="657" y="1319"/>
                  </a:lnTo>
                  <a:lnTo>
                    <a:pt x="682" y="1307"/>
                  </a:lnTo>
                  <a:lnTo>
                    <a:pt x="709" y="1295"/>
                  </a:lnTo>
                  <a:lnTo>
                    <a:pt x="735" y="1285"/>
                  </a:lnTo>
                  <a:lnTo>
                    <a:pt x="762" y="1275"/>
                  </a:lnTo>
                  <a:lnTo>
                    <a:pt x="790" y="1267"/>
                  </a:lnTo>
                  <a:lnTo>
                    <a:pt x="819" y="1259"/>
                  </a:lnTo>
                  <a:lnTo>
                    <a:pt x="847" y="1252"/>
                  </a:lnTo>
                  <a:lnTo>
                    <a:pt x="876" y="1246"/>
                  </a:lnTo>
                  <a:lnTo>
                    <a:pt x="905" y="1240"/>
                  </a:lnTo>
                  <a:lnTo>
                    <a:pt x="933" y="1235"/>
                  </a:lnTo>
                  <a:lnTo>
                    <a:pt x="962" y="1231"/>
                  </a:lnTo>
                  <a:lnTo>
                    <a:pt x="1019" y="1225"/>
                  </a:lnTo>
                  <a:lnTo>
                    <a:pt x="1073" y="1221"/>
                  </a:lnTo>
                  <a:lnTo>
                    <a:pt x="1123" y="1218"/>
                  </a:lnTo>
                  <a:lnTo>
                    <a:pt x="1169" y="1217"/>
                  </a:lnTo>
                  <a:close/>
                  <a:moveTo>
                    <a:pt x="1629" y="2137"/>
                  </a:moveTo>
                  <a:lnTo>
                    <a:pt x="1629" y="645"/>
                  </a:lnTo>
                  <a:lnTo>
                    <a:pt x="1628" y="601"/>
                  </a:lnTo>
                  <a:lnTo>
                    <a:pt x="1626" y="558"/>
                  </a:lnTo>
                  <a:lnTo>
                    <a:pt x="1621" y="517"/>
                  </a:lnTo>
                  <a:lnTo>
                    <a:pt x="1615" y="478"/>
                  </a:lnTo>
                  <a:lnTo>
                    <a:pt x="1607" y="441"/>
                  </a:lnTo>
                  <a:lnTo>
                    <a:pt x="1597" y="406"/>
                  </a:lnTo>
                  <a:lnTo>
                    <a:pt x="1586" y="372"/>
                  </a:lnTo>
                  <a:lnTo>
                    <a:pt x="1573" y="340"/>
                  </a:lnTo>
                  <a:lnTo>
                    <a:pt x="1559" y="310"/>
                  </a:lnTo>
                  <a:lnTo>
                    <a:pt x="1543" y="281"/>
                  </a:lnTo>
                  <a:lnTo>
                    <a:pt x="1526" y="254"/>
                  </a:lnTo>
                  <a:lnTo>
                    <a:pt x="1506" y="228"/>
                  </a:lnTo>
                  <a:lnTo>
                    <a:pt x="1485" y="204"/>
                  </a:lnTo>
                  <a:lnTo>
                    <a:pt x="1464" y="181"/>
                  </a:lnTo>
                  <a:lnTo>
                    <a:pt x="1441" y="160"/>
                  </a:lnTo>
                  <a:lnTo>
                    <a:pt x="1416" y="141"/>
                  </a:lnTo>
                  <a:lnTo>
                    <a:pt x="1391" y="123"/>
                  </a:lnTo>
                  <a:lnTo>
                    <a:pt x="1364" y="106"/>
                  </a:lnTo>
                  <a:lnTo>
                    <a:pt x="1335" y="90"/>
                  </a:lnTo>
                  <a:lnTo>
                    <a:pt x="1306" y="76"/>
                  </a:lnTo>
                  <a:lnTo>
                    <a:pt x="1276" y="64"/>
                  </a:lnTo>
                  <a:lnTo>
                    <a:pt x="1243" y="52"/>
                  </a:lnTo>
                  <a:lnTo>
                    <a:pt x="1210" y="42"/>
                  </a:lnTo>
                  <a:lnTo>
                    <a:pt x="1176" y="33"/>
                  </a:lnTo>
                  <a:lnTo>
                    <a:pt x="1141" y="25"/>
                  </a:lnTo>
                  <a:lnTo>
                    <a:pt x="1106" y="18"/>
                  </a:lnTo>
                  <a:lnTo>
                    <a:pt x="1069" y="12"/>
                  </a:lnTo>
                  <a:lnTo>
                    <a:pt x="1031" y="8"/>
                  </a:lnTo>
                  <a:lnTo>
                    <a:pt x="993" y="4"/>
                  </a:lnTo>
                  <a:lnTo>
                    <a:pt x="952" y="2"/>
                  </a:lnTo>
                  <a:lnTo>
                    <a:pt x="912" y="0"/>
                  </a:lnTo>
                  <a:lnTo>
                    <a:pt x="871" y="0"/>
                  </a:lnTo>
                  <a:lnTo>
                    <a:pt x="830" y="1"/>
                  </a:lnTo>
                  <a:lnTo>
                    <a:pt x="790" y="2"/>
                  </a:lnTo>
                  <a:lnTo>
                    <a:pt x="751" y="5"/>
                  </a:lnTo>
                  <a:lnTo>
                    <a:pt x="712" y="9"/>
                  </a:lnTo>
                  <a:lnTo>
                    <a:pt x="673" y="14"/>
                  </a:lnTo>
                  <a:lnTo>
                    <a:pt x="636" y="20"/>
                  </a:lnTo>
                  <a:lnTo>
                    <a:pt x="599" y="28"/>
                  </a:lnTo>
                  <a:lnTo>
                    <a:pt x="564" y="36"/>
                  </a:lnTo>
                  <a:lnTo>
                    <a:pt x="529" y="46"/>
                  </a:lnTo>
                  <a:lnTo>
                    <a:pt x="495" y="57"/>
                  </a:lnTo>
                  <a:lnTo>
                    <a:pt x="462" y="70"/>
                  </a:lnTo>
                  <a:lnTo>
                    <a:pt x="430" y="83"/>
                  </a:lnTo>
                  <a:lnTo>
                    <a:pt x="398" y="99"/>
                  </a:lnTo>
                  <a:lnTo>
                    <a:pt x="368" y="115"/>
                  </a:lnTo>
                  <a:lnTo>
                    <a:pt x="340" y="133"/>
                  </a:lnTo>
                  <a:lnTo>
                    <a:pt x="312" y="152"/>
                  </a:lnTo>
                  <a:lnTo>
                    <a:pt x="286" y="172"/>
                  </a:lnTo>
                  <a:lnTo>
                    <a:pt x="261" y="194"/>
                  </a:lnTo>
                  <a:lnTo>
                    <a:pt x="238" y="217"/>
                  </a:lnTo>
                  <a:lnTo>
                    <a:pt x="216" y="243"/>
                  </a:lnTo>
                  <a:lnTo>
                    <a:pt x="196" y="269"/>
                  </a:lnTo>
                  <a:lnTo>
                    <a:pt x="177" y="297"/>
                  </a:lnTo>
                  <a:lnTo>
                    <a:pt x="159" y="326"/>
                  </a:lnTo>
                  <a:lnTo>
                    <a:pt x="143" y="357"/>
                  </a:lnTo>
                  <a:lnTo>
                    <a:pt x="128" y="389"/>
                  </a:lnTo>
                  <a:lnTo>
                    <a:pt x="116" y="423"/>
                  </a:lnTo>
                  <a:lnTo>
                    <a:pt x="105" y="459"/>
                  </a:lnTo>
                  <a:lnTo>
                    <a:pt x="96" y="496"/>
                  </a:lnTo>
                  <a:lnTo>
                    <a:pt x="89" y="535"/>
                  </a:lnTo>
                  <a:lnTo>
                    <a:pt x="84" y="575"/>
                  </a:lnTo>
                  <a:lnTo>
                    <a:pt x="81" y="617"/>
                  </a:lnTo>
                  <a:lnTo>
                    <a:pt x="80" y="661"/>
                  </a:lnTo>
                  <a:lnTo>
                    <a:pt x="556" y="661"/>
                  </a:lnTo>
                  <a:lnTo>
                    <a:pt x="557" y="642"/>
                  </a:lnTo>
                  <a:lnTo>
                    <a:pt x="558" y="623"/>
                  </a:lnTo>
                  <a:lnTo>
                    <a:pt x="559" y="605"/>
                  </a:lnTo>
                  <a:lnTo>
                    <a:pt x="561" y="587"/>
                  </a:lnTo>
                  <a:lnTo>
                    <a:pt x="564" y="570"/>
                  </a:lnTo>
                  <a:lnTo>
                    <a:pt x="567" y="554"/>
                  </a:lnTo>
                  <a:lnTo>
                    <a:pt x="571" y="538"/>
                  </a:lnTo>
                  <a:lnTo>
                    <a:pt x="576" y="523"/>
                  </a:lnTo>
                  <a:lnTo>
                    <a:pt x="581" y="507"/>
                  </a:lnTo>
                  <a:lnTo>
                    <a:pt x="587" y="493"/>
                  </a:lnTo>
                  <a:lnTo>
                    <a:pt x="593" y="479"/>
                  </a:lnTo>
                  <a:lnTo>
                    <a:pt x="601" y="466"/>
                  </a:lnTo>
                  <a:lnTo>
                    <a:pt x="608" y="454"/>
                  </a:lnTo>
                  <a:lnTo>
                    <a:pt x="616" y="442"/>
                  </a:lnTo>
                  <a:lnTo>
                    <a:pt x="625" y="431"/>
                  </a:lnTo>
                  <a:lnTo>
                    <a:pt x="635" y="421"/>
                  </a:lnTo>
                  <a:lnTo>
                    <a:pt x="645" y="411"/>
                  </a:lnTo>
                  <a:lnTo>
                    <a:pt x="656" y="402"/>
                  </a:lnTo>
                  <a:lnTo>
                    <a:pt x="667" y="393"/>
                  </a:lnTo>
                  <a:lnTo>
                    <a:pt x="679" y="385"/>
                  </a:lnTo>
                  <a:lnTo>
                    <a:pt x="691" y="378"/>
                  </a:lnTo>
                  <a:lnTo>
                    <a:pt x="706" y="371"/>
                  </a:lnTo>
                  <a:lnTo>
                    <a:pt x="719" y="365"/>
                  </a:lnTo>
                  <a:lnTo>
                    <a:pt x="734" y="359"/>
                  </a:lnTo>
                  <a:lnTo>
                    <a:pt x="749" y="355"/>
                  </a:lnTo>
                  <a:lnTo>
                    <a:pt x="764" y="350"/>
                  </a:lnTo>
                  <a:lnTo>
                    <a:pt x="781" y="347"/>
                  </a:lnTo>
                  <a:lnTo>
                    <a:pt x="797" y="344"/>
                  </a:lnTo>
                  <a:lnTo>
                    <a:pt x="815" y="341"/>
                  </a:lnTo>
                  <a:lnTo>
                    <a:pt x="833" y="340"/>
                  </a:lnTo>
                  <a:lnTo>
                    <a:pt x="852" y="339"/>
                  </a:lnTo>
                  <a:lnTo>
                    <a:pt x="871" y="338"/>
                  </a:lnTo>
                  <a:lnTo>
                    <a:pt x="893" y="339"/>
                  </a:lnTo>
                  <a:lnTo>
                    <a:pt x="914" y="341"/>
                  </a:lnTo>
                  <a:lnTo>
                    <a:pt x="934" y="343"/>
                  </a:lnTo>
                  <a:lnTo>
                    <a:pt x="953" y="347"/>
                  </a:lnTo>
                  <a:lnTo>
                    <a:pt x="972" y="351"/>
                  </a:lnTo>
                  <a:lnTo>
                    <a:pt x="989" y="356"/>
                  </a:lnTo>
                  <a:lnTo>
                    <a:pt x="1005" y="362"/>
                  </a:lnTo>
                  <a:lnTo>
                    <a:pt x="1020" y="369"/>
                  </a:lnTo>
                  <a:lnTo>
                    <a:pt x="1034" y="377"/>
                  </a:lnTo>
                  <a:lnTo>
                    <a:pt x="1048" y="386"/>
                  </a:lnTo>
                  <a:lnTo>
                    <a:pt x="1060" y="395"/>
                  </a:lnTo>
                  <a:lnTo>
                    <a:pt x="1072" y="405"/>
                  </a:lnTo>
                  <a:lnTo>
                    <a:pt x="1083" y="416"/>
                  </a:lnTo>
                  <a:lnTo>
                    <a:pt x="1093" y="428"/>
                  </a:lnTo>
                  <a:lnTo>
                    <a:pt x="1102" y="440"/>
                  </a:lnTo>
                  <a:lnTo>
                    <a:pt x="1111" y="453"/>
                  </a:lnTo>
                  <a:lnTo>
                    <a:pt x="1119" y="467"/>
                  </a:lnTo>
                  <a:lnTo>
                    <a:pt x="1126" y="481"/>
                  </a:lnTo>
                  <a:lnTo>
                    <a:pt x="1133" y="495"/>
                  </a:lnTo>
                  <a:lnTo>
                    <a:pt x="1139" y="510"/>
                  </a:lnTo>
                  <a:lnTo>
                    <a:pt x="1144" y="527"/>
                  </a:lnTo>
                  <a:lnTo>
                    <a:pt x="1149" y="543"/>
                  </a:lnTo>
                  <a:lnTo>
                    <a:pt x="1153" y="560"/>
                  </a:lnTo>
                  <a:lnTo>
                    <a:pt x="1157" y="577"/>
                  </a:lnTo>
                  <a:lnTo>
                    <a:pt x="1162" y="612"/>
                  </a:lnTo>
                  <a:lnTo>
                    <a:pt x="1166" y="649"/>
                  </a:lnTo>
                  <a:lnTo>
                    <a:pt x="1169" y="687"/>
                  </a:lnTo>
                  <a:lnTo>
                    <a:pt x="1169" y="725"/>
                  </a:lnTo>
                  <a:lnTo>
                    <a:pt x="1169" y="927"/>
                  </a:lnTo>
                  <a:lnTo>
                    <a:pt x="1078" y="931"/>
                  </a:lnTo>
                  <a:lnTo>
                    <a:pt x="983" y="936"/>
                  </a:lnTo>
                  <a:lnTo>
                    <a:pt x="933" y="940"/>
                  </a:lnTo>
                  <a:lnTo>
                    <a:pt x="885" y="945"/>
                  </a:lnTo>
                  <a:lnTo>
                    <a:pt x="835" y="950"/>
                  </a:lnTo>
                  <a:lnTo>
                    <a:pt x="786" y="956"/>
                  </a:lnTo>
                  <a:lnTo>
                    <a:pt x="737" y="964"/>
                  </a:lnTo>
                  <a:lnTo>
                    <a:pt x="687" y="972"/>
                  </a:lnTo>
                  <a:lnTo>
                    <a:pt x="638" y="982"/>
                  </a:lnTo>
                  <a:lnTo>
                    <a:pt x="590" y="993"/>
                  </a:lnTo>
                  <a:lnTo>
                    <a:pt x="543" y="1005"/>
                  </a:lnTo>
                  <a:lnTo>
                    <a:pt x="496" y="1019"/>
                  </a:lnTo>
                  <a:lnTo>
                    <a:pt x="451" y="1035"/>
                  </a:lnTo>
                  <a:lnTo>
                    <a:pt x="406" y="1052"/>
                  </a:lnTo>
                  <a:lnTo>
                    <a:pt x="363" y="1071"/>
                  </a:lnTo>
                  <a:lnTo>
                    <a:pt x="322" y="1093"/>
                  </a:lnTo>
                  <a:lnTo>
                    <a:pt x="282" y="1115"/>
                  </a:lnTo>
                  <a:lnTo>
                    <a:pt x="245" y="1140"/>
                  </a:lnTo>
                  <a:lnTo>
                    <a:pt x="209" y="1168"/>
                  </a:lnTo>
                  <a:lnTo>
                    <a:pt x="176" y="1197"/>
                  </a:lnTo>
                  <a:lnTo>
                    <a:pt x="145" y="1229"/>
                  </a:lnTo>
                  <a:lnTo>
                    <a:pt x="115" y="1263"/>
                  </a:lnTo>
                  <a:lnTo>
                    <a:pt x="90" y="1299"/>
                  </a:lnTo>
                  <a:lnTo>
                    <a:pt x="67" y="1339"/>
                  </a:lnTo>
                  <a:lnTo>
                    <a:pt x="47" y="1382"/>
                  </a:lnTo>
                  <a:lnTo>
                    <a:pt x="31" y="1427"/>
                  </a:lnTo>
                  <a:lnTo>
                    <a:pt x="17" y="1475"/>
                  </a:lnTo>
                  <a:lnTo>
                    <a:pt x="8" y="1525"/>
                  </a:lnTo>
                  <a:lnTo>
                    <a:pt x="2" y="1579"/>
                  </a:lnTo>
                  <a:lnTo>
                    <a:pt x="0" y="1637"/>
                  </a:lnTo>
                  <a:lnTo>
                    <a:pt x="1" y="1670"/>
                  </a:lnTo>
                  <a:lnTo>
                    <a:pt x="3" y="1702"/>
                  </a:lnTo>
                  <a:lnTo>
                    <a:pt x="7" y="1733"/>
                  </a:lnTo>
                  <a:lnTo>
                    <a:pt x="13" y="1762"/>
                  </a:lnTo>
                  <a:lnTo>
                    <a:pt x="20" y="1791"/>
                  </a:lnTo>
                  <a:lnTo>
                    <a:pt x="28" y="1819"/>
                  </a:lnTo>
                  <a:lnTo>
                    <a:pt x="38" y="1846"/>
                  </a:lnTo>
                  <a:lnTo>
                    <a:pt x="49" y="1872"/>
                  </a:lnTo>
                  <a:lnTo>
                    <a:pt x="62" y="1897"/>
                  </a:lnTo>
                  <a:lnTo>
                    <a:pt x="75" y="1922"/>
                  </a:lnTo>
                  <a:lnTo>
                    <a:pt x="90" y="1945"/>
                  </a:lnTo>
                  <a:lnTo>
                    <a:pt x="106" y="1967"/>
                  </a:lnTo>
                  <a:lnTo>
                    <a:pt x="124" y="1988"/>
                  </a:lnTo>
                  <a:lnTo>
                    <a:pt x="143" y="2008"/>
                  </a:lnTo>
                  <a:lnTo>
                    <a:pt x="162" y="2026"/>
                  </a:lnTo>
                  <a:lnTo>
                    <a:pt x="183" y="2044"/>
                  </a:lnTo>
                  <a:lnTo>
                    <a:pt x="204" y="2061"/>
                  </a:lnTo>
                  <a:lnTo>
                    <a:pt x="226" y="2077"/>
                  </a:lnTo>
                  <a:lnTo>
                    <a:pt x="250" y="2092"/>
                  </a:lnTo>
                  <a:lnTo>
                    <a:pt x="274" y="2105"/>
                  </a:lnTo>
                  <a:lnTo>
                    <a:pt x="298" y="2118"/>
                  </a:lnTo>
                  <a:lnTo>
                    <a:pt x="324" y="2129"/>
                  </a:lnTo>
                  <a:lnTo>
                    <a:pt x="350" y="2140"/>
                  </a:lnTo>
                  <a:lnTo>
                    <a:pt x="377" y="2149"/>
                  </a:lnTo>
                  <a:lnTo>
                    <a:pt x="405" y="2158"/>
                  </a:lnTo>
                  <a:lnTo>
                    <a:pt x="434" y="2165"/>
                  </a:lnTo>
                  <a:lnTo>
                    <a:pt x="463" y="2171"/>
                  </a:lnTo>
                  <a:lnTo>
                    <a:pt x="492" y="2176"/>
                  </a:lnTo>
                  <a:lnTo>
                    <a:pt x="522" y="2180"/>
                  </a:lnTo>
                  <a:lnTo>
                    <a:pt x="552" y="2183"/>
                  </a:lnTo>
                  <a:lnTo>
                    <a:pt x="582" y="2184"/>
                  </a:lnTo>
                  <a:lnTo>
                    <a:pt x="613" y="2185"/>
                  </a:lnTo>
                  <a:lnTo>
                    <a:pt x="655" y="2184"/>
                  </a:lnTo>
                  <a:lnTo>
                    <a:pt x="698" y="2181"/>
                  </a:lnTo>
                  <a:lnTo>
                    <a:pt x="718" y="2179"/>
                  </a:lnTo>
                  <a:lnTo>
                    <a:pt x="739" y="2177"/>
                  </a:lnTo>
                  <a:lnTo>
                    <a:pt x="759" y="2174"/>
                  </a:lnTo>
                  <a:lnTo>
                    <a:pt x="779" y="2170"/>
                  </a:lnTo>
                  <a:lnTo>
                    <a:pt x="799" y="2166"/>
                  </a:lnTo>
                  <a:lnTo>
                    <a:pt x="819" y="2162"/>
                  </a:lnTo>
                  <a:lnTo>
                    <a:pt x="839" y="2156"/>
                  </a:lnTo>
                  <a:lnTo>
                    <a:pt x="858" y="2151"/>
                  </a:lnTo>
                  <a:lnTo>
                    <a:pt x="877" y="2144"/>
                  </a:lnTo>
                  <a:lnTo>
                    <a:pt x="896" y="2137"/>
                  </a:lnTo>
                  <a:lnTo>
                    <a:pt x="914" y="2130"/>
                  </a:lnTo>
                  <a:lnTo>
                    <a:pt x="932" y="2122"/>
                  </a:lnTo>
                  <a:lnTo>
                    <a:pt x="950" y="2113"/>
                  </a:lnTo>
                  <a:lnTo>
                    <a:pt x="967" y="2103"/>
                  </a:lnTo>
                  <a:lnTo>
                    <a:pt x="985" y="2093"/>
                  </a:lnTo>
                  <a:lnTo>
                    <a:pt x="1002" y="2082"/>
                  </a:lnTo>
                  <a:lnTo>
                    <a:pt x="1018" y="2071"/>
                  </a:lnTo>
                  <a:lnTo>
                    <a:pt x="1033" y="2059"/>
                  </a:lnTo>
                  <a:lnTo>
                    <a:pt x="1049" y="2046"/>
                  </a:lnTo>
                  <a:lnTo>
                    <a:pt x="1063" y="2032"/>
                  </a:lnTo>
                  <a:lnTo>
                    <a:pt x="1078" y="2018"/>
                  </a:lnTo>
                  <a:lnTo>
                    <a:pt x="1091" y="2003"/>
                  </a:lnTo>
                  <a:lnTo>
                    <a:pt x="1104" y="1987"/>
                  </a:lnTo>
                  <a:lnTo>
                    <a:pt x="1117" y="1970"/>
                  </a:lnTo>
                  <a:lnTo>
                    <a:pt x="1129" y="1953"/>
                  </a:lnTo>
                  <a:lnTo>
                    <a:pt x="1140" y="1935"/>
                  </a:lnTo>
                  <a:lnTo>
                    <a:pt x="1151" y="1916"/>
                  </a:lnTo>
                  <a:lnTo>
                    <a:pt x="1161" y="1895"/>
                  </a:lnTo>
                  <a:lnTo>
                    <a:pt x="1169" y="1895"/>
                  </a:lnTo>
                  <a:lnTo>
                    <a:pt x="1169" y="2137"/>
                  </a:lnTo>
                  <a:lnTo>
                    <a:pt x="1629" y="2137"/>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18" name="Freeform 5"/>
            <p:cNvSpPr>
              <a:spLocks/>
            </p:cNvSpPr>
            <p:nvPr userDrawn="1">
              <p:custDataLst>
                <p:tags r:id="rId4"/>
              </p:custDataLst>
            </p:nvPr>
          </p:nvSpPr>
          <p:spPr bwMode="gray">
            <a:xfrm>
              <a:off x="922338" y="2708275"/>
              <a:ext cx="377825" cy="473075"/>
            </a:xfrm>
            <a:custGeom>
              <a:avLst/>
              <a:gdLst/>
              <a:ahLst/>
              <a:cxnLst>
                <a:cxn ang="0">
                  <a:pos x="1229" y="665"/>
                </a:cxn>
                <a:cxn ang="0">
                  <a:pos x="1216" y="589"/>
                </a:cxn>
                <a:cxn ang="0">
                  <a:pos x="1194" y="517"/>
                </a:cxn>
                <a:cxn ang="0">
                  <a:pos x="1161" y="456"/>
                </a:cxn>
                <a:cxn ang="0">
                  <a:pos x="1117" y="404"/>
                </a:cxn>
                <a:cxn ang="0">
                  <a:pos x="1058" y="366"/>
                </a:cxn>
                <a:cxn ang="0">
                  <a:pos x="985" y="344"/>
                </a:cxn>
                <a:cxn ang="0">
                  <a:pos x="891" y="339"/>
                </a:cxn>
                <a:cxn ang="0">
                  <a:pos x="788" y="361"/>
                </a:cxn>
                <a:cxn ang="0">
                  <a:pos x="704" y="406"/>
                </a:cxn>
                <a:cxn ang="0">
                  <a:pos x="639" y="471"/>
                </a:cxn>
                <a:cxn ang="0">
                  <a:pos x="589" y="553"/>
                </a:cxn>
                <a:cxn ang="0">
                  <a:pos x="553" y="644"/>
                </a:cxn>
                <a:cxn ang="0">
                  <a:pos x="531" y="740"/>
                </a:cxn>
                <a:cxn ang="0">
                  <a:pos x="519" y="840"/>
                </a:cxn>
                <a:cxn ang="0">
                  <a:pos x="517" y="960"/>
                </a:cxn>
                <a:cxn ang="0">
                  <a:pos x="539" y="1147"/>
                </a:cxn>
                <a:cxn ang="0">
                  <a:pos x="588" y="1318"/>
                </a:cxn>
                <a:cxn ang="0">
                  <a:pos x="664" y="1471"/>
                </a:cxn>
                <a:cxn ang="0">
                  <a:pos x="767" y="1601"/>
                </a:cxn>
                <a:cxn ang="0">
                  <a:pos x="896" y="1707"/>
                </a:cxn>
                <a:cxn ang="0">
                  <a:pos x="1050" y="1784"/>
                </a:cxn>
                <a:cxn ang="0">
                  <a:pos x="1229" y="1828"/>
                </a:cxn>
                <a:cxn ang="0">
                  <a:pos x="1422" y="1838"/>
                </a:cxn>
                <a:cxn ang="0">
                  <a:pos x="1574" y="1826"/>
                </a:cxn>
                <a:cxn ang="0">
                  <a:pos x="1662" y="1810"/>
                </a:cxn>
                <a:cxn ang="0">
                  <a:pos x="1726" y="2088"/>
                </a:cxn>
                <a:cxn ang="0">
                  <a:pos x="1578" y="2131"/>
                </a:cxn>
                <a:cxn ang="0">
                  <a:pos x="1427" y="2161"/>
                </a:cxn>
                <a:cxn ang="0">
                  <a:pos x="1273" y="2179"/>
                </a:cxn>
                <a:cxn ang="0">
                  <a:pos x="1121" y="2185"/>
                </a:cxn>
                <a:cxn ang="0">
                  <a:pos x="858" y="2164"/>
                </a:cxn>
                <a:cxn ang="0">
                  <a:pos x="629" y="2102"/>
                </a:cxn>
                <a:cxn ang="0">
                  <a:pos x="436" y="2002"/>
                </a:cxn>
                <a:cxn ang="0">
                  <a:pos x="280" y="1864"/>
                </a:cxn>
                <a:cxn ang="0">
                  <a:pos x="157" y="1694"/>
                </a:cxn>
                <a:cxn ang="0">
                  <a:pos x="70" y="1491"/>
                </a:cxn>
                <a:cxn ang="0">
                  <a:pos x="18" y="1259"/>
                </a:cxn>
                <a:cxn ang="0">
                  <a:pos x="0" y="999"/>
                </a:cxn>
                <a:cxn ang="0">
                  <a:pos x="16" y="783"/>
                </a:cxn>
                <a:cxn ang="0">
                  <a:pos x="61" y="589"/>
                </a:cxn>
                <a:cxn ang="0">
                  <a:pos x="137" y="417"/>
                </a:cxn>
                <a:cxn ang="0">
                  <a:pos x="243" y="273"/>
                </a:cxn>
                <a:cxn ang="0">
                  <a:pos x="378" y="156"/>
                </a:cxn>
                <a:cxn ang="0">
                  <a:pos x="541" y="71"/>
                </a:cxn>
                <a:cxn ang="0">
                  <a:pos x="732" y="18"/>
                </a:cxn>
                <a:cxn ang="0">
                  <a:pos x="952" y="0"/>
                </a:cxn>
                <a:cxn ang="0">
                  <a:pos x="1134" y="12"/>
                </a:cxn>
                <a:cxn ang="0">
                  <a:pos x="1294" y="47"/>
                </a:cxn>
                <a:cxn ang="0">
                  <a:pos x="1431" y="106"/>
                </a:cxn>
                <a:cxn ang="0">
                  <a:pos x="1544" y="189"/>
                </a:cxn>
                <a:cxn ang="0">
                  <a:pos x="1634" y="297"/>
                </a:cxn>
                <a:cxn ang="0">
                  <a:pos x="1698" y="428"/>
                </a:cxn>
                <a:cxn ang="0">
                  <a:pos x="1737" y="585"/>
                </a:cxn>
                <a:cxn ang="0">
                  <a:pos x="1750" y="765"/>
                </a:cxn>
              </a:cxnLst>
              <a:rect l="0" t="0" r="r" b="b"/>
              <a:pathLst>
                <a:path w="1750" h="2185">
                  <a:moveTo>
                    <a:pt x="1234" y="765"/>
                  </a:moveTo>
                  <a:lnTo>
                    <a:pt x="1233" y="725"/>
                  </a:lnTo>
                  <a:lnTo>
                    <a:pt x="1231" y="685"/>
                  </a:lnTo>
                  <a:lnTo>
                    <a:pt x="1229" y="665"/>
                  </a:lnTo>
                  <a:lnTo>
                    <a:pt x="1226" y="646"/>
                  </a:lnTo>
                  <a:lnTo>
                    <a:pt x="1223" y="626"/>
                  </a:lnTo>
                  <a:lnTo>
                    <a:pt x="1220" y="607"/>
                  </a:lnTo>
                  <a:lnTo>
                    <a:pt x="1216" y="589"/>
                  </a:lnTo>
                  <a:lnTo>
                    <a:pt x="1211" y="571"/>
                  </a:lnTo>
                  <a:lnTo>
                    <a:pt x="1206" y="553"/>
                  </a:lnTo>
                  <a:lnTo>
                    <a:pt x="1200" y="535"/>
                  </a:lnTo>
                  <a:lnTo>
                    <a:pt x="1194" y="517"/>
                  </a:lnTo>
                  <a:lnTo>
                    <a:pt x="1187" y="501"/>
                  </a:lnTo>
                  <a:lnTo>
                    <a:pt x="1179" y="485"/>
                  </a:lnTo>
                  <a:lnTo>
                    <a:pt x="1171" y="470"/>
                  </a:lnTo>
                  <a:lnTo>
                    <a:pt x="1161" y="456"/>
                  </a:lnTo>
                  <a:lnTo>
                    <a:pt x="1151" y="442"/>
                  </a:lnTo>
                  <a:lnTo>
                    <a:pt x="1141" y="429"/>
                  </a:lnTo>
                  <a:lnTo>
                    <a:pt x="1129" y="416"/>
                  </a:lnTo>
                  <a:lnTo>
                    <a:pt x="1117" y="404"/>
                  </a:lnTo>
                  <a:lnTo>
                    <a:pt x="1103" y="394"/>
                  </a:lnTo>
                  <a:lnTo>
                    <a:pt x="1089" y="384"/>
                  </a:lnTo>
                  <a:lnTo>
                    <a:pt x="1074" y="375"/>
                  </a:lnTo>
                  <a:lnTo>
                    <a:pt x="1058" y="366"/>
                  </a:lnTo>
                  <a:lnTo>
                    <a:pt x="1041" y="359"/>
                  </a:lnTo>
                  <a:lnTo>
                    <a:pt x="1023" y="353"/>
                  </a:lnTo>
                  <a:lnTo>
                    <a:pt x="1004" y="348"/>
                  </a:lnTo>
                  <a:lnTo>
                    <a:pt x="985" y="344"/>
                  </a:lnTo>
                  <a:lnTo>
                    <a:pt x="964" y="341"/>
                  </a:lnTo>
                  <a:lnTo>
                    <a:pt x="942" y="339"/>
                  </a:lnTo>
                  <a:lnTo>
                    <a:pt x="919" y="338"/>
                  </a:lnTo>
                  <a:lnTo>
                    <a:pt x="891" y="339"/>
                  </a:lnTo>
                  <a:lnTo>
                    <a:pt x="863" y="342"/>
                  </a:lnTo>
                  <a:lnTo>
                    <a:pt x="837" y="347"/>
                  </a:lnTo>
                  <a:lnTo>
                    <a:pt x="812" y="353"/>
                  </a:lnTo>
                  <a:lnTo>
                    <a:pt x="788" y="361"/>
                  </a:lnTo>
                  <a:lnTo>
                    <a:pt x="765" y="370"/>
                  </a:lnTo>
                  <a:lnTo>
                    <a:pt x="744" y="381"/>
                  </a:lnTo>
                  <a:lnTo>
                    <a:pt x="723" y="393"/>
                  </a:lnTo>
                  <a:lnTo>
                    <a:pt x="704" y="406"/>
                  </a:lnTo>
                  <a:lnTo>
                    <a:pt x="686" y="421"/>
                  </a:lnTo>
                  <a:lnTo>
                    <a:pt x="669" y="437"/>
                  </a:lnTo>
                  <a:lnTo>
                    <a:pt x="653" y="453"/>
                  </a:lnTo>
                  <a:lnTo>
                    <a:pt x="639" y="471"/>
                  </a:lnTo>
                  <a:lnTo>
                    <a:pt x="625" y="490"/>
                  </a:lnTo>
                  <a:lnTo>
                    <a:pt x="612" y="510"/>
                  </a:lnTo>
                  <a:lnTo>
                    <a:pt x="600" y="531"/>
                  </a:lnTo>
                  <a:lnTo>
                    <a:pt x="589" y="553"/>
                  </a:lnTo>
                  <a:lnTo>
                    <a:pt x="579" y="575"/>
                  </a:lnTo>
                  <a:lnTo>
                    <a:pt x="569" y="597"/>
                  </a:lnTo>
                  <a:lnTo>
                    <a:pt x="561" y="620"/>
                  </a:lnTo>
                  <a:lnTo>
                    <a:pt x="553" y="644"/>
                  </a:lnTo>
                  <a:lnTo>
                    <a:pt x="547" y="667"/>
                  </a:lnTo>
                  <a:lnTo>
                    <a:pt x="541" y="692"/>
                  </a:lnTo>
                  <a:lnTo>
                    <a:pt x="535" y="716"/>
                  </a:lnTo>
                  <a:lnTo>
                    <a:pt x="531" y="740"/>
                  </a:lnTo>
                  <a:lnTo>
                    <a:pt x="527" y="765"/>
                  </a:lnTo>
                  <a:lnTo>
                    <a:pt x="524" y="790"/>
                  </a:lnTo>
                  <a:lnTo>
                    <a:pt x="521" y="815"/>
                  </a:lnTo>
                  <a:lnTo>
                    <a:pt x="519" y="840"/>
                  </a:lnTo>
                  <a:lnTo>
                    <a:pt x="518" y="864"/>
                  </a:lnTo>
                  <a:lnTo>
                    <a:pt x="517" y="888"/>
                  </a:lnTo>
                  <a:lnTo>
                    <a:pt x="517" y="911"/>
                  </a:lnTo>
                  <a:lnTo>
                    <a:pt x="517" y="960"/>
                  </a:lnTo>
                  <a:lnTo>
                    <a:pt x="520" y="1008"/>
                  </a:lnTo>
                  <a:lnTo>
                    <a:pt x="525" y="1055"/>
                  </a:lnTo>
                  <a:lnTo>
                    <a:pt x="531" y="1102"/>
                  </a:lnTo>
                  <a:lnTo>
                    <a:pt x="539" y="1147"/>
                  </a:lnTo>
                  <a:lnTo>
                    <a:pt x="548" y="1191"/>
                  </a:lnTo>
                  <a:lnTo>
                    <a:pt x="560" y="1235"/>
                  </a:lnTo>
                  <a:lnTo>
                    <a:pt x="573" y="1277"/>
                  </a:lnTo>
                  <a:lnTo>
                    <a:pt x="588" y="1318"/>
                  </a:lnTo>
                  <a:lnTo>
                    <a:pt x="604" y="1359"/>
                  </a:lnTo>
                  <a:lnTo>
                    <a:pt x="622" y="1398"/>
                  </a:lnTo>
                  <a:lnTo>
                    <a:pt x="642" y="1435"/>
                  </a:lnTo>
                  <a:lnTo>
                    <a:pt x="664" y="1471"/>
                  </a:lnTo>
                  <a:lnTo>
                    <a:pt x="687" y="1506"/>
                  </a:lnTo>
                  <a:lnTo>
                    <a:pt x="712" y="1539"/>
                  </a:lnTo>
                  <a:lnTo>
                    <a:pt x="739" y="1571"/>
                  </a:lnTo>
                  <a:lnTo>
                    <a:pt x="767" y="1601"/>
                  </a:lnTo>
                  <a:lnTo>
                    <a:pt x="797" y="1630"/>
                  </a:lnTo>
                  <a:lnTo>
                    <a:pt x="829" y="1658"/>
                  </a:lnTo>
                  <a:lnTo>
                    <a:pt x="862" y="1684"/>
                  </a:lnTo>
                  <a:lnTo>
                    <a:pt x="896" y="1707"/>
                  </a:lnTo>
                  <a:lnTo>
                    <a:pt x="932" y="1729"/>
                  </a:lnTo>
                  <a:lnTo>
                    <a:pt x="970" y="1749"/>
                  </a:lnTo>
                  <a:lnTo>
                    <a:pt x="1009" y="1767"/>
                  </a:lnTo>
                  <a:lnTo>
                    <a:pt x="1050" y="1784"/>
                  </a:lnTo>
                  <a:lnTo>
                    <a:pt x="1093" y="1798"/>
                  </a:lnTo>
                  <a:lnTo>
                    <a:pt x="1137" y="1810"/>
                  </a:lnTo>
                  <a:lnTo>
                    <a:pt x="1182" y="1820"/>
                  </a:lnTo>
                  <a:lnTo>
                    <a:pt x="1229" y="1828"/>
                  </a:lnTo>
                  <a:lnTo>
                    <a:pt x="1277" y="1834"/>
                  </a:lnTo>
                  <a:lnTo>
                    <a:pt x="1327" y="1837"/>
                  </a:lnTo>
                  <a:lnTo>
                    <a:pt x="1379" y="1838"/>
                  </a:lnTo>
                  <a:lnTo>
                    <a:pt x="1422" y="1838"/>
                  </a:lnTo>
                  <a:lnTo>
                    <a:pt x="1465" y="1836"/>
                  </a:lnTo>
                  <a:lnTo>
                    <a:pt x="1508" y="1834"/>
                  </a:lnTo>
                  <a:lnTo>
                    <a:pt x="1552" y="1829"/>
                  </a:lnTo>
                  <a:lnTo>
                    <a:pt x="1574" y="1826"/>
                  </a:lnTo>
                  <a:lnTo>
                    <a:pt x="1596" y="1823"/>
                  </a:lnTo>
                  <a:lnTo>
                    <a:pt x="1619" y="1819"/>
                  </a:lnTo>
                  <a:lnTo>
                    <a:pt x="1640" y="1815"/>
                  </a:lnTo>
                  <a:lnTo>
                    <a:pt x="1662" y="1810"/>
                  </a:lnTo>
                  <a:lnTo>
                    <a:pt x="1683" y="1804"/>
                  </a:lnTo>
                  <a:lnTo>
                    <a:pt x="1705" y="1797"/>
                  </a:lnTo>
                  <a:lnTo>
                    <a:pt x="1726" y="1790"/>
                  </a:lnTo>
                  <a:lnTo>
                    <a:pt x="1726" y="2088"/>
                  </a:lnTo>
                  <a:lnTo>
                    <a:pt x="1690" y="2100"/>
                  </a:lnTo>
                  <a:lnTo>
                    <a:pt x="1653" y="2111"/>
                  </a:lnTo>
                  <a:lnTo>
                    <a:pt x="1616" y="2121"/>
                  </a:lnTo>
                  <a:lnTo>
                    <a:pt x="1578" y="2131"/>
                  </a:lnTo>
                  <a:lnTo>
                    <a:pt x="1540" y="2139"/>
                  </a:lnTo>
                  <a:lnTo>
                    <a:pt x="1502" y="2147"/>
                  </a:lnTo>
                  <a:lnTo>
                    <a:pt x="1465" y="2154"/>
                  </a:lnTo>
                  <a:lnTo>
                    <a:pt x="1427" y="2161"/>
                  </a:lnTo>
                  <a:lnTo>
                    <a:pt x="1389" y="2166"/>
                  </a:lnTo>
                  <a:lnTo>
                    <a:pt x="1350" y="2171"/>
                  </a:lnTo>
                  <a:lnTo>
                    <a:pt x="1311" y="2176"/>
                  </a:lnTo>
                  <a:lnTo>
                    <a:pt x="1273" y="2179"/>
                  </a:lnTo>
                  <a:lnTo>
                    <a:pt x="1235" y="2182"/>
                  </a:lnTo>
                  <a:lnTo>
                    <a:pt x="1197" y="2183"/>
                  </a:lnTo>
                  <a:lnTo>
                    <a:pt x="1159" y="2185"/>
                  </a:lnTo>
                  <a:lnTo>
                    <a:pt x="1121" y="2185"/>
                  </a:lnTo>
                  <a:lnTo>
                    <a:pt x="1051" y="2184"/>
                  </a:lnTo>
                  <a:lnTo>
                    <a:pt x="985" y="2180"/>
                  </a:lnTo>
                  <a:lnTo>
                    <a:pt x="920" y="2173"/>
                  </a:lnTo>
                  <a:lnTo>
                    <a:pt x="858" y="2164"/>
                  </a:lnTo>
                  <a:lnTo>
                    <a:pt x="798" y="2152"/>
                  </a:lnTo>
                  <a:lnTo>
                    <a:pt x="739" y="2138"/>
                  </a:lnTo>
                  <a:lnTo>
                    <a:pt x="683" y="2121"/>
                  </a:lnTo>
                  <a:lnTo>
                    <a:pt x="629" y="2102"/>
                  </a:lnTo>
                  <a:lnTo>
                    <a:pt x="578" y="2081"/>
                  </a:lnTo>
                  <a:lnTo>
                    <a:pt x="529" y="2057"/>
                  </a:lnTo>
                  <a:lnTo>
                    <a:pt x="481" y="2030"/>
                  </a:lnTo>
                  <a:lnTo>
                    <a:pt x="436" y="2002"/>
                  </a:lnTo>
                  <a:lnTo>
                    <a:pt x="394" y="1971"/>
                  </a:lnTo>
                  <a:lnTo>
                    <a:pt x="354" y="1938"/>
                  </a:lnTo>
                  <a:lnTo>
                    <a:pt x="315" y="1902"/>
                  </a:lnTo>
                  <a:lnTo>
                    <a:pt x="280" y="1864"/>
                  </a:lnTo>
                  <a:lnTo>
                    <a:pt x="246" y="1825"/>
                  </a:lnTo>
                  <a:lnTo>
                    <a:pt x="213" y="1783"/>
                  </a:lnTo>
                  <a:lnTo>
                    <a:pt x="184" y="1740"/>
                  </a:lnTo>
                  <a:lnTo>
                    <a:pt x="157" y="1694"/>
                  </a:lnTo>
                  <a:lnTo>
                    <a:pt x="132" y="1647"/>
                  </a:lnTo>
                  <a:lnTo>
                    <a:pt x="109" y="1596"/>
                  </a:lnTo>
                  <a:lnTo>
                    <a:pt x="88" y="1545"/>
                  </a:lnTo>
                  <a:lnTo>
                    <a:pt x="70" y="1491"/>
                  </a:lnTo>
                  <a:lnTo>
                    <a:pt x="53" y="1436"/>
                  </a:lnTo>
                  <a:lnTo>
                    <a:pt x="39" y="1379"/>
                  </a:lnTo>
                  <a:lnTo>
                    <a:pt x="27" y="1319"/>
                  </a:lnTo>
                  <a:lnTo>
                    <a:pt x="18" y="1259"/>
                  </a:lnTo>
                  <a:lnTo>
                    <a:pt x="10" y="1197"/>
                  </a:lnTo>
                  <a:lnTo>
                    <a:pt x="5" y="1133"/>
                  </a:lnTo>
                  <a:lnTo>
                    <a:pt x="1" y="1067"/>
                  </a:lnTo>
                  <a:lnTo>
                    <a:pt x="0" y="999"/>
                  </a:lnTo>
                  <a:lnTo>
                    <a:pt x="1" y="944"/>
                  </a:lnTo>
                  <a:lnTo>
                    <a:pt x="4" y="889"/>
                  </a:lnTo>
                  <a:lnTo>
                    <a:pt x="9" y="836"/>
                  </a:lnTo>
                  <a:lnTo>
                    <a:pt x="16" y="783"/>
                  </a:lnTo>
                  <a:lnTo>
                    <a:pt x="24" y="732"/>
                  </a:lnTo>
                  <a:lnTo>
                    <a:pt x="35" y="683"/>
                  </a:lnTo>
                  <a:lnTo>
                    <a:pt x="47" y="635"/>
                  </a:lnTo>
                  <a:lnTo>
                    <a:pt x="61" y="589"/>
                  </a:lnTo>
                  <a:lnTo>
                    <a:pt x="78" y="544"/>
                  </a:lnTo>
                  <a:lnTo>
                    <a:pt x="96" y="499"/>
                  </a:lnTo>
                  <a:lnTo>
                    <a:pt x="115" y="458"/>
                  </a:lnTo>
                  <a:lnTo>
                    <a:pt x="137" y="417"/>
                  </a:lnTo>
                  <a:lnTo>
                    <a:pt x="161" y="379"/>
                  </a:lnTo>
                  <a:lnTo>
                    <a:pt x="186" y="342"/>
                  </a:lnTo>
                  <a:lnTo>
                    <a:pt x="213" y="307"/>
                  </a:lnTo>
                  <a:lnTo>
                    <a:pt x="243" y="273"/>
                  </a:lnTo>
                  <a:lnTo>
                    <a:pt x="274" y="242"/>
                  </a:lnTo>
                  <a:lnTo>
                    <a:pt x="307" y="211"/>
                  </a:lnTo>
                  <a:lnTo>
                    <a:pt x="341" y="183"/>
                  </a:lnTo>
                  <a:lnTo>
                    <a:pt x="378" y="156"/>
                  </a:lnTo>
                  <a:lnTo>
                    <a:pt x="416" y="132"/>
                  </a:lnTo>
                  <a:lnTo>
                    <a:pt x="455" y="110"/>
                  </a:lnTo>
                  <a:lnTo>
                    <a:pt x="497" y="89"/>
                  </a:lnTo>
                  <a:lnTo>
                    <a:pt x="541" y="71"/>
                  </a:lnTo>
                  <a:lnTo>
                    <a:pt x="586" y="55"/>
                  </a:lnTo>
                  <a:lnTo>
                    <a:pt x="633" y="40"/>
                  </a:lnTo>
                  <a:lnTo>
                    <a:pt x="682" y="28"/>
                  </a:lnTo>
                  <a:lnTo>
                    <a:pt x="732" y="18"/>
                  </a:lnTo>
                  <a:lnTo>
                    <a:pt x="785" y="10"/>
                  </a:lnTo>
                  <a:lnTo>
                    <a:pt x="839" y="5"/>
                  </a:lnTo>
                  <a:lnTo>
                    <a:pt x="894" y="1"/>
                  </a:lnTo>
                  <a:lnTo>
                    <a:pt x="952" y="0"/>
                  </a:lnTo>
                  <a:lnTo>
                    <a:pt x="999" y="1"/>
                  </a:lnTo>
                  <a:lnTo>
                    <a:pt x="1045" y="3"/>
                  </a:lnTo>
                  <a:lnTo>
                    <a:pt x="1091" y="7"/>
                  </a:lnTo>
                  <a:lnTo>
                    <a:pt x="1134" y="12"/>
                  </a:lnTo>
                  <a:lnTo>
                    <a:pt x="1176" y="18"/>
                  </a:lnTo>
                  <a:lnTo>
                    <a:pt x="1217" y="26"/>
                  </a:lnTo>
                  <a:lnTo>
                    <a:pt x="1256" y="36"/>
                  </a:lnTo>
                  <a:lnTo>
                    <a:pt x="1294" y="47"/>
                  </a:lnTo>
                  <a:lnTo>
                    <a:pt x="1330" y="59"/>
                  </a:lnTo>
                  <a:lnTo>
                    <a:pt x="1366" y="74"/>
                  </a:lnTo>
                  <a:lnTo>
                    <a:pt x="1399" y="89"/>
                  </a:lnTo>
                  <a:lnTo>
                    <a:pt x="1431" y="106"/>
                  </a:lnTo>
                  <a:lnTo>
                    <a:pt x="1462" y="124"/>
                  </a:lnTo>
                  <a:lnTo>
                    <a:pt x="1491" y="144"/>
                  </a:lnTo>
                  <a:lnTo>
                    <a:pt x="1518" y="166"/>
                  </a:lnTo>
                  <a:lnTo>
                    <a:pt x="1544" y="189"/>
                  </a:lnTo>
                  <a:lnTo>
                    <a:pt x="1569" y="213"/>
                  </a:lnTo>
                  <a:lnTo>
                    <a:pt x="1592" y="240"/>
                  </a:lnTo>
                  <a:lnTo>
                    <a:pt x="1613" y="268"/>
                  </a:lnTo>
                  <a:lnTo>
                    <a:pt x="1634" y="297"/>
                  </a:lnTo>
                  <a:lnTo>
                    <a:pt x="1652" y="327"/>
                  </a:lnTo>
                  <a:lnTo>
                    <a:pt x="1669" y="359"/>
                  </a:lnTo>
                  <a:lnTo>
                    <a:pt x="1684" y="393"/>
                  </a:lnTo>
                  <a:lnTo>
                    <a:pt x="1698" y="428"/>
                  </a:lnTo>
                  <a:lnTo>
                    <a:pt x="1710" y="465"/>
                  </a:lnTo>
                  <a:lnTo>
                    <a:pt x="1721" y="503"/>
                  </a:lnTo>
                  <a:lnTo>
                    <a:pt x="1730" y="544"/>
                  </a:lnTo>
                  <a:lnTo>
                    <a:pt x="1737" y="585"/>
                  </a:lnTo>
                  <a:lnTo>
                    <a:pt x="1743" y="628"/>
                  </a:lnTo>
                  <a:lnTo>
                    <a:pt x="1747" y="672"/>
                  </a:lnTo>
                  <a:lnTo>
                    <a:pt x="1749" y="718"/>
                  </a:lnTo>
                  <a:lnTo>
                    <a:pt x="1750" y="765"/>
                  </a:lnTo>
                  <a:lnTo>
                    <a:pt x="1234" y="765"/>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19" name="Freeform 6"/>
            <p:cNvSpPr>
              <a:spLocks/>
            </p:cNvSpPr>
            <p:nvPr userDrawn="1">
              <p:custDataLst>
                <p:tags r:id="rId5"/>
              </p:custDataLst>
            </p:nvPr>
          </p:nvSpPr>
          <p:spPr bwMode="gray">
            <a:xfrm>
              <a:off x="1327150" y="2708275"/>
              <a:ext cx="377825" cy="473075"/>
            </a:xfrm>
            <a:custGeom>
              <a:avLst/>
              <a:gdLst/>
              <a:ahLst/>
              <a:cxnLst>
                <a:cxn ang="0">
                  <a:pos x="1229" y="665"/>
                </a:cxn>
                <a:cxn ang="0">
                  <a:pos x="1216" y="589"/>
                </a:cxn>
                <a:cxn ang="0">
                  <a:pos x="1194" y="517"/>
                </a:cxn>
                <a:cxn ang="0">
                  <a:pos x="1162" y="456"/>
                </a:cxn>
                <a:cxn ang="0">
                  <a:pos x="1116" y="404"/>
                </a:cxn>
                <a:cxn ang="0">
                  <a:pos x="1058" y="366"/>
                </a:cxn>
                <a:cxn ang="0">
                  <a:pos x="985" y="344"/>
                </a:cxn>
                <a:cxn ang="0">
                  <a:pos x="892" y="339"/>
                </a:cxn>
                <a:cxn ang="0">
                  <a:pos x="790" y="361"/>
                </a:cxn>
                <a:cxn ang="0">
                  <a:pos x="708" y="406"/>
                </a:cxn>
                <a:cxn ang="0">
                  <a:pos x="642" y="471"/>
                </a:cxn>
                <a:cxn ang="0">
                  <a:pos x="592" y="553"/>
                </a:cxn>
                <a:cxn ang="0">
                  <a:pos x="555" y="644"/>
                </a:cxn>
                <a:cxn ang="0">
                  <a:pos x="531" y="740"/>
                </a:cxn>
                <a:cxn ang="0">
                  <a:pos x="519" y="840"/>
                </a:cxn>
                <a:cxn ang="0">
                  <a:pos x="517" y="960"/>
                </a:cxn>
                <a:cxn ang="0">
                  <a:pos x="538" y="1147"/>
                </a:cxn>
                <a:cxn ang="0">
                  <a:pos x="588" y="1318"/>
                </a:cxn>
                <a:cxn ang="0">
                  <a:pos x="664" y="1471"/>
                </a:cxn>
                <a:cxn ang="0">
                  <a:pos x="767" y="1601"/>
                </a:cxn>
                <a:cxn ang="0">
                  <a:pos x="897" y="1707"/>
                </a:cxn>
                <a:cxn ang="0">
                  <a:pos x="1050" y="1784"/>
                </a:cxn>
                <a:cxn ang="0">
                  <a:pos x="1229" y="1828"/>
                </a:cxn>
                <a:cxn ang="0">
                  <a:pos x="1425" y="1838"/>
                </a:cxn>
                <a:cxn ang="0">
                  <a:pos x="1577" y="1826"/>
                </a:cxn>
                <a:cxn ang="0">
                  <a:pos x="1662" y="1810"/>
                </a:cxn>
                <a:cxn ang="0">
                  <a:pos x="1726" y="2088"/>
                </a:cxn>
                <a:cxn ang="0">
                  <a:pos x="1578" y="2131"/>
                </a:cxn>
                <a:cxn ang="0">
                  <a:pos x="1427" y="2161"/>
                </a:cxn>
                <a:cxn ang="0">
                  <a:pos x="1273" y="2179"/>
                </a:cxn>
                <a:cxn ang="0">
                  <a:pos x="1121" y="2185"/>
                </a:cxn>
                <a:cxn ang="0">
                  <a:pos x="858" y="2164"/>
                </a:cxn>
                <a:cxn ang="0">
                  <a:pos x="630" y="2102"/>
                </a:cxn>
                <a:cxn ang="0">
                  <a:pos x="437" y="2002"/>
                </a:cxn>
                <a:cxn ang="0">
                  <a:pos x="279" y="1864"/>
                </a:cxn>
                <a:cxn ang="0">
                  <a:pos x="157" y="1694"/>
                </a:cxn>
                <a:cxn ang="0">
                  <a:pos x="70" y="1491"/>
                </a:cxn>
                <a:cxn ang="0">
                  <a:pos x="17" y="1259"/>
                </a:cxn>
                <a:cxn ang="0">
                  <a:pos x="0" y="999"/>
                </a:cxn>
                <a:cxn ang="0">
                  <a:pos x="15" y="783"/>
                </a:cxn>
                <a:cxn ang="0">
                  <a:pos x="62" y="589"/>
                </a:cxn>
                <a:cxn ang="0">
                  <a:pos x="138" y="417"/>
                </a:cxn>
                <a:cxn ang="0">
                  <a:pos x="244" y="273"/>
                </a:cxn>
                <a:cxn ang="0">
                  <a:pos x="380" y="156"/>
                </a:cxn>
                <a:cxn ang="0">
                  <a:pos x="544" y="71"/>
                </a:cxn>
                <a:cxn ang="0">
                  <a:pos x="738" y="18"/>
                </a:cxn>
                <a:cxn ang="0">
                  <a:pos x="960" y="0"/>
                </a:cxn>
                <a:cxn ang="0">
                  <a:pos x="1140" y="12"/>
                </a:cxn>
                <a:cxn ang="0">
                  <a:pos x="1298" y="47"/>
                </a:cxn>
                <a:cxn ang="0">
                  <a:pos x="1434" y="106"/>
                </a:cxn>
                <a:cxn ang="0">
                  <a:pos x="1546" y="189"/>
                </a:cxn>
                <a:cxn ang="0">
                  <a:pos x="1634" y="297"/>
                </a:cxn>
                <a:cxn ang="0">
                  <a:pos x="1699" y="428"/>
                </a:cxn>
                <a:cxn ang="0">
                  <a:pos x="1737" y="585"/>
                </a:cxn>
                <a:cxn ang="0">
                  <a:pos x="1751" y="765"/>
                </a:cxn>
              </a:cxnLst>
              <a:rect l="0" t="0" r="r" b="b"/>
              <a:pathLst>
                <a:path w="1751" h="2185">
                  <a:moveTo>
                    <a:pt x="1234" y="765"/>
                  </a:moveTo>
                  <a:lnTo>
                    <a:pt x="1233" y="725"/>
                  </a:lnTo>
                  <a:lnTo>
                    <a:pt x="1231" y="685"/>
                  </a:lnTo>
                  <a:lnTo>
                    <a:pt x="1229" y="665"/>
                  </a:lnTo>
                  <a:lnTo>
                    <a:pt x="1227" y="646"/>
                  </a:lnTo>
                  <a:lnTo>
                    <a:pt x="1224" y="626"/>
                  </a:lnTo>
                  <a:lnTo>
                    <a:pt x="1220" y="607"/>
                  </a:lnTo>
                  <a:lnTo>
                    <a:pt x="1216" y="589"/>
                  </a:lnTo>
                  <a:lnTo>
                    <a:pt x="1212" y="571"/>
                  </a:lnTo>
                  <a:lnTo>
                    <a:pt x="1206" y="553"/>
                  </a:lnTo>
                  <a:lnTo>
                    <a:pt x="1201" y="535"/>
                  </a:lnTo>
                  <a:lnTo>
                    <a:pt x="1194" y="517"/>
                  </a:lnTo>
                  <a:lnTo>
                    <a:pt x="1187" y="501"/>
                  </a:lnTo>
                  <a:lnTo>
                    <a:pt x="1179" y="485"/>
                  </a:lnTo>
                  <a:lnTo>
                    <a:pt x="1171" y="470"/>
                  </a:lnTo>
                  <a:lnTo>
                    <a:pt x="1162" y="456"/>
                  </a:lnTo>
                  <a:lnTo>
                    <a:pt x="1152" y="442"/>
                  </a:lnTo>
                  <a:lnTo>
                    <a:pt x="1141" y="429"/>
                  </a:lnTo>
                  <a:lnTo>
                    <a:pt x="1129" y="416"/>
                  </a:lnTo>
                  <a:lnTo>
                    <a:pt x="1116" y="404"/>
                  </a:lnTo>
                  <a:lnTo>
                    <a:pt x="1103" y="394"/>
                  </a:lnTo>
                  <a:lnTo>
                    <a:pt x="1089" y="384"/>
                  </a:lnTo>
                  <a:lnTo>
                    <a:pt x="1074" y="375"/>
                  </a:lnTo>
                  <a:lnTo>
                    <a:pt x="1058" y="366"/>
                  </a:lnTo>
                  <a:lnTo>
                    <a:pt x="1041" y="359"/>
                  </a:lnTo>
                  <a:lnTo>
                    <a:pt x="1023" y="353"/>
                  </a:lnTo>
                  <a:lnTo>
                    <a:pt x="1005" y="348"/>
                  </a:lnTo>
                  <a:lnTo>
                    <a:pt x="985" y="344"/>
                  </a:lnTo>
                  <a:lnTo>
                    <a:pt x="964" y="341"/>
                  </a:lnTo>
                  <a:lnTo>
                    <a:pt x="943" y="339"/>
                  </a:lnTo>
                  <a:lnTo>
                    <a:pt x="920" y="338"/>
                  </a:lnTo>
                  <a:lnTo>
                    <a:pt x="892" y="339"/>
                  </a:lnTo>
                  <a:lnTo>
                    <a:pt x="865" y="342"/>
                  </a:lnTo>
                  <a:lnTo>
                    <a:pt x="838" y="347"/>
                  </a:lnTo>
                  <a:lnTo>
                    <a:pt x="814" y="353"/>
                  </a:lnTo>
                  <a:lnTo>
                    <a:pt x="790" y="361"/>
                  </a:lnTo>
                  <a:lnTo>
                    <a:pt x="768" y="370"/>
                  </a:lnTo>
                  <a:lnTo>
                    <a:pt x="747" y="381"/>
                  </a:lnTo>
                  <a:lnTo>
                    <a:pt x="727" y="393"/>
                  </a:lnTo>
                  <a:lnTo>
                    <a:pt x="708" y="406"/>
                  </a:lnTo>
                  <a:lnTo>
                    <a:pt x="690" y="421"/>
                  </a:lnTo>
                  <a:lnTo>
                    <a:pt x="673" y="437"/>
                  </a:lnTo>
                  <a:lnTo>
                    <a:pt x="657" y="453"/>
                  </a:lnTo>
                  <a:lnTo>
                    <a:pt x="642" y="471"/>
                  </a:lnTo>
                  <a:lnTo>
                    <a:pt x="628" y="490"/>
                  </a:lnTo>
                  <a:lnTo>
                    <a:pt x="615" y="510"/>
                  </a:lnTo>
                  <a:lnTo>
                    <a:pt x="603" y="531"/>
                  </a:lnTo>
                  <a:lnTo>
                    <a:pt x="592" y="553"/>
                  </a:lnTo>
                  <a:lnTo>
                    <a:pt x="582" y="575"/>
                  </a:lnTo>
                  <a:lnTo>
                    <a:pt x="571" y="597"/>
                  </a:lnTo>
                  <a:lnTo>
                    <a:pt x="563" y="620"/>
                  </a:lnTo>
                  <a:lnTo>
                    <a:pt x="555" y="644"/>
                  </a:lnTo>
                  <a:lnTo>
                    <a:pt x="548" y="667"/>
                  </a:lnTo>
                  <a:lnTo>
                    <a:pt x="541" y="692"/>
                  </a:lnTo>
                  <a:lnTo>
                    <a:pt x="536" y="716"/>
                  </a:lnTo>
                  <a:lnTo>
                    <a:pt x="531" y="740"/>
                  </a:lnTo>
                  <a:lnTo>
                    <a:pt x="527" y="765"/>
                  </a:lnTo>
                  <a:lnTo>
                    <a:pt x="523" y="790"/>
                  </a:lnTo>
                  <a:lnTo>
                    <a:pt x="521" y="815"/>
                  </a:lnTo>
                  <a:lnTo>
                    <a:pt x="519" y="840"/>
                  </a:lnTo>
                  <a:lnTo>
                    <a:pt x="517" y="864"/>
                  </a:lnTo>
                  <a:lnTo>
                    <a:pt x="516" y="888"/>
                  </a:lnTo>
                  <a:lnTo>
                    <a:pt x="516" y="911"/>
                  </a:lnTo>
                  <a:lnTo>
                    <a:pt x="517" y="960"/>
                  </a:lnTo>
                  <a:lnTo>
                    <a:pt x="520" y="1008"/>
                  </a:lnTo>
                  <a:lnTo>
                    <a:pt x="524" y="1055"/>
                  </a:lnTo>
                  <a:lnTo>
                    <a:pt x="530" y="1102"/>
                  </a:lnTo>
                  <a:lnTo>
                    <a:pt x="538" y="1147"/>
                  </a:lnTo>
                  <a:lnTo>
                    <a:pt x="548" y="1191"/>
                  </a:lnTo>
                  <a:lnTo>
                    <a:pt x="559" y="1235"/>
                  </a:lnTo>
                  <a:lnTo>
                    <a:pt x="572" y="1277"/>
                  </a:lnTo>
                  <a:lnTo>
                    <a:pt x="588" y="1318"/>
                  </a:lnTo>
                  <a:lnTo>
                    <a:pt x="605" y="1359"/>
                  </a:lnTo>
                  <a:lnTo>
                    <a:pt x="623" y="1398"/>
                  </a:lnTo>
                  <a:lnTo>
                    <a:pt x="643" y="1435"/>
                  </a:lnTo>
                  <a:lnTo>
                    <a:pt x="664" y="1471"/>
                  </a:lnTo>
                  <a:lnTo>
                    <a:pt x="688" y="1506"/>
                  </a:lnTo>
                  <a:lnTo>
                    <a:pt x="712" y="1539"/>
                  </a:lnTo>
                  <a:lnTo>
                    <a:pt x="739" y="1571"/>
                  </a:lnTo>
                  <a:lnTo>
                    <a:pt x="767" y="1601"/>
                  </a:lnTo>
                  <a:lnTo>
                    <a:pt x="797" y="1630"/>
                  </a:lnTo>
                  <a:lnTo>
                    <a:pt x="828" y="1658"/>
                  </a:lnTo>
                  <a:lnTo>
                    <a:pt x="862" y="1684"/>
                  </a:lnTo>
                  <a:lnTo>
                    <a:pt x="897" y="1707"/>
                  </a:lnTo>
                  <a:lnTo>
                    <a:pt x="933" y="1729"/>
                  </a:lnTo>
                  <a:lnTo>
                    <a:pt x="970" y="1749"/>
                  </a:lnTo>
                  <a:lnTo>
                    <a:pt x="1010" y="1767"/>
                  </a:lnTo>
                  <a:lnTo>
                    <a:pt x="1050" y="1784"/>
                  </a:lnTo>
                  <a:lnTo>
                    <a:pt x="1093" y="1798"/>
                  </a:lnTo>
                  <a:lnTo>
                    <a:pt x="1137" y="1810"/>
                  </a:lnTo>
                  <a:lnTo>
                    <a:pt x="1183" y="1820"/>
                  </a:lnTo>
                  <a:lnTo>
                    <a:pt x="1229" y="1828"/>
                  </a:lnTo>
                  <a:lnTo>
                    <a:pt x="1278" y="1834"/>
                  </a:lnTo>
                  <a:lnTo>
                    <a:pt x="1328" y="1837"/>
                  </a:lnTo>
                  <a:lnTo>
                    <a:pt x="1379" y="1838"/>
                  </a:lnTo>
                  <a:lnTo>
                    <a:pt x="1425" y="1838"/>
                  </a:lnTo>
                  <a:lnTo>
                    <a:pt x="1469" y="1836"/>
                  </a:lnTo>
                  <a:lnTo>
                    <a:pt x="1512" y="1834"/>
                  </a:lnTo>
                  <a:lnTo>
                    <a:pt x="1556" y="1829"/>
                  </a:lnTo>
                  <a:lnTo>
                    <a:pt x="1577" y="1826"/>
                  </a:lnTo>
                  <a:lnTo>
                    <a:pt x="1598" y="1823"/>
                  </a:lnTo>
                  <a:lnTo>
                    <a:pt x="1620" y="1819"/>
                  </a:lnTo>
                  <a:lnTo>
                    <a:pt x="1641" y="1815"/>
                  </a:lnTo>
                  <a:lnTo>
                    <a:pt x="1662" y="1810"/>
                  </a:lnTo>
                  <a:lnTo>
                    <a:pt x="1684" y="1804"/>
                  </a:lnTo>
                  <a:lnTo>
                    <a:pt x="1705" y="1797"/>
                  </a:lnTo>
                  <a:lnTo>
                    <a:pt x="1726" y="1790"/>
                  </a:lnTo>
                  <a:lnTo>
                    <a:pt x="1726" y="2088"/>
                  </a:lnTo>
                  <a:lnTo>
                    <a:pt x="1690" y="2100"/>
                  </a:lnTo>
                  <a:lnTo>
                    <a:pt x="1652" y="2111"/>
                  </a:lnTo>
                  <a:lnTo>
                    <a:pt x="1615" y="2121"/>
                  </a:lnTo>
                  <a:lnTo>
                    <a:pt x="1578" y="2131"/>
                  </a:lnTo>
                  <a:lnTo>
                    <a:pt x="1541" y="2139"/>
                  </a:lnTo>
                  <a:lnTo>
                    <a:pt x="1503" y="2147"/>
                  </a:lnTo>
                  <a:lnTo>
                    <a:pt x="1465" y="2154"/>
                  </a:lnTo>
                  <a:lnTo>
                    <a:pt x="1427" y="2161"/>
                  </a:lnTo>
                  <a:lnTo>
                    <a:pt x="1388" y="2166"/>
                  </a:lnTo>
                  <a:lnTo>
                    <a:pt x="1350" y="2171"/>
                  </a:lnTo>
                  <a:lnTo>
                    <a:pt x="1312" y="2176"/>
                  </a:lnTo>
                  <a:lnTo>
                    <a:pt x="1273" y="2179"/>
                  </a:lnTo>
                  <a:lnTo>
                    <a:pt x="1235" y="2182"/>
                  </a:lnTo>
                  <a:lnTo>
                    <a:pt x="1197" y="2183"/>
                  </a:lnTo>
                  <a:lnTo>
                    <a:pt x="1159" y="2185"/>
                  </a:lnTo>
                  <a:lnTo>
                    <a:pt x="1121" y="2185"/>
                  </a:lnTo>
                  <a:lnTo>
                    <a:pt x="1052" y="2184"/>
                  </a:lnTo>
                  <a:lnTo>
                    <a:pt x="985" y="2180"/>
                  </a:lnTo>
                  <a:lnTo>
                    <a:pt x="920" y="2173"/>
                  </a:lnTo>
                  <a:lnTo>
                    <a:pt x="858" y="2164"/>
                  </a:lnTo>
                  <a:lnTo>
                    <a:pt x="797" y="2152"/>
                  </a:lnTo>
                  <a:lnTo>
                    <a:pt x="739" y="2138"/>
                  </a:lnTo>
                  <a:lnTo>
                    <a:pt x="683" y="2121"/>
                  </a:lnTo>
                  <a:lnTo>
                    <a:pt x="630" y="2102"/>
                  </a:lnTo>
                  <a:lnTo>
                    <a:pt x="578" y="2081"/>
                  </a:lnTo>
                  <a:lnTo>
                    <a:pt x="528" y="2057"/>
                  </a:lnTo>
                  <a:lnTo>
                    <a:pt x="481" y="2030"/>
                  </a:lnTo>
                  <a:lnTo>
                    <a:pt x="437" y="2002"/>
                  </a:lnTo>
                  <a:lnTo>
                    <a:pt x="394" y="1971"/>
                  </a:lnTo>
                  <a:lnTo>
                    <a:pt x="354" y="1938"/>
                  </a:lnTo>
                  <a:lnTo>
                    <a:pt x="316" y="1902"/>
                  </a:lnTo>
                  <a:lnTo>
                    <a:pt x="279" y="1864"/>
                  </a:lnTo>
                  <a:lnTo>
                    <a:pt x="245" y="1825"/>
                  </a:lnTo>
                  <a:lnTo>
                    <a:pt x="214" y="1783"/>
                  </a:lnTo>
                  <a:lnTo>
                    <a:pt x="184" y="1740"/>
                  </a:lnTo>
                  <a:lnTo>
                    <a:pt x="157" y="1694"/>
                  </a:lnTo>
                  <a:lnTo>
                    <a:pt x="132" y="1647"/>
                  </a:lnTo>
                  <a:lnTo>
                    <a:pt x="109" y="1596"/>
                  </a:lnTo>
                  <a:lnTo>
                    <a:pt x="88" y="1545"/>
                  </a:lnTo>
                  <a:lnTo>
                    <a:pt x="70" y="1491"/>
                  </a:lnTo>
                  <a:lnTo>
                    <a:pt x="54" y="1436"/>
                  </a:lnTo>
                  <a:lnTo>
                    <a:pt x="40" y="1379"/>
                  </a:lnTo>
                  <a:lnTo>
                    <a:pt x="28" y="1319"/>
                  </a:lnTo>
                  <a:lnTo>
                    <a:pt x="17" y="1259"/>
                  </a:lnTo>
                  <a:lnTo>
                    <a:pt x="9" y="1197"/>
                  </a:lnTo>
                  <a:lnTo>
                    <a:pt x="4" y="1133"/>
                  </a:lnTo>
                  <a:lnTo>
                    <a:pt x="1" y="1067"/>
                  </a:lnTo>
                  <a:lnTo>
                    <a:pt x="0" y="999"/>
                  </a:lnTo>
                  <a:lnTo>
                    <a:pt x="1" y="944"/>
                  </a:lnTo>
                  <a:lnTo>
                    <a:pt x="3" y="889"/>
                  </a:lnTo>
                  <a:lnTo>
                    <a:pt x="8" y="836"/>
                  </a:lnTo>
                  <a:lnTo>
                    <a:pt x="15" y="783"/>
                  </a:lnTo>
                  <a:lnTo>
                    <a:pt x="25" y="732"/>
                  </a:lnTo>
                  <a:lnTo>
                    <a:pt x="35" y="683"/>
                  </a:lnTo>
                  <a:lnTo>
                    <a:pt x="48" y="635"/>
                  </a:lnTo>
                  <a:lnTo>
                    <a:pt x="62" y="589"/>
                  </a:lnTo>
                  <a:lnTo>
                    <a:pt x="78" y="544"/>
                  </a:lnTo>
                  <a:lnTo>
                    <a:pt x="96" y="499"/>
                  </a:lnTo>
                  <a:lnTo>
                    <a:pt x="116" y="458"/>
                  </a:lnTo>
                  <a:lnTo>
                    <a:pt x="138" y="417"/>
                  </a:lnTo>
                  <a:lnTo>
                    <a:pt x="162" y="379"/>
                  </a:lnTo>
                  <a:lnTo>
                    <a:pt x="187" y="342"/>
                  </a:lnTo>
                  <a:lnTo>
                    <a:pt x="214" y="307"/>
                  </a:lnTo>
                  <a:lnTo>
                    <a:pt x="244" y="273"/>
                  </a:lnTo>
                  <a:lnTo>
                    <a:pt x="275" y="242"/>
                  </a:lnTo>
                  <a:lnTo>
                    <a:pt x="309" y="211"/>
                  </a:lnTo>
                  <a:lnTo>
                    <a:pt x="343" y="183"/>
                  </a:lnTo>
                  <a:lnTo>
                    <a:pt x="380" y="156"/>
                  </a:lnTo>
                  <a:lnTo>
                    <a:pt x="418" y="132"/>
                  </a:lnTo>
                  <a:lnTo>
                    <a:pt x="458" y="110"/>
                  </a:lnTo>
                  <a:lnTo>
                    <a:pt x="500" y="89"/>
                  </a:lnTo>
                  <a:lnTo>
                    <a:pt x="544" y="71"/>
                  </a:lnTo>
                  <a:lnTo>
                    <a:pt x="591" y="55"/>
                  </a:lnTo>
                  <a:lnTo>
                    <a:pt x="638" y="40"/>
                  </a:lnTo>
                  <a:lnTo>
                    <a:pt x="687" y="28"/>
                  </a:lnTo>
                  <a:lnTo>
                    <a:pt x="738" y="18"/>
                  </a:lnTo>
                  <a:lnTo>
                    <a:pt x="790" y="10"/>
                  </a:lnTo>
                  <a:lnTo>
                    <a:pt x="845" y="5"/>
                  </a:lnTo>
                  <a:lnTo>
                    <a:pt x="902" y="1"/>
                  </a:lnTo>
                  <a:lnTo>
                    <a:pt x="960" y="0"/>
                  </a:lnTo>
                  <a:lnTo>
                    <a:pt x="1007" y="1"/>
                  </a:lnTo>
                  <a:lnTo>
                    <a:pt x="1052" y="3"/>
                  </a:lnTo>
                  <a:lnTo>
                    <a:pt x="1096" y="7"/>
                  </a:lnTo>
                  <a:lnTo>
                    <a:pt x="1140" y="12"/>
                  </a:lnTo>
                  <a:lnTo>
                    <a:pt x="1182" y="18"/>
                  </a:lnTo>
                  <a:lnTo>
                    <a:pt x="1222" y="26"/>
                  </a:lnTo>
                  <a:lnTo>
                    <a:pt x="1260" y="36"/>
                  </a:lnTo>
                  <a:lnTo>
                    <a:pt x="1298" y="47"/>
                  </a:lnTo>
                  <a:lnTo>
                    <a:pt x="1333" y="59"/>
                  </a:lnTo>
                  <a:lnTo>
                    <a:pt x="1368" y="74"/>
                  </a:lnTo>
                  <a:lnTo>
                    <a:pt x="1401" y="89"/>
                  </a:lnTo>
                  <a:lnTo>
                    <a:pt x="1434" y="106"/>
                  </a:lnTo>
                  <a:lnTo>
                    <a:pt x="1464" y="124"/>
                  </a:lnTo>
                  <a:lnTo>
                    <a:pt x="1492" y="144"/>
                  </a:lnTo>
                  <a:lnTo>
                    <a:pt x="1520" y="166"/>
                  </a:lnTo>
                  <a:lnTo>
                    <a:pt x="1546" y="189"/>
                  </a:lnTo>
                  <a:lnTo>
                    <a:pt x="1570" y="213"/>
                  </a:lnTo>
                  <a:lnTo>
                    <a:pt x="1593" y="240"/>
                  </a:lnTo>
                  <a:lnTo>
                    <a:pt x="1614" y="268"/>
                  </a:lnTo>
                  <a:lnTo>
                    <a:pt x="1634" y="297"/>
                  </a:lnTo>
                  <a:lnTo>
                    <a:pt x="1652" y="327"/>
                  </a:lnTo>
                  <a:lnTo>
                    <a:pt x="1669" y="359"/>
                  </a:lnTo>
                  <a:lnTo>
                    <a:pt x="1685" y="393"/>
                  </a:lnTo>
                  <a:lnTo>
                    <a:pt x="1699" y="428"/>
                  </a:lnTo>
                  <a:lnTo>
                    <a:pt x="1711" y="465"/>
                  </a:lnTo>
                  <a:lnTo>
                    <a:pt x="1721" y="503"/>
                  </a:lnTo>
                  <a:lnTo>
                    <a:pt x="1730" y="544"/>
                  </a:lnTo>
                  <a:lnTo>
                    <a:pt x="1737" y="585"/>
                  </a:lnTo>
                  <a:lnTo>
                    <a:pt x="1743" y="628"/>
                  </a:lnTo>
                  <a:lnTo>
                    <a:pt x="1747" y="672"/>
                  </a:lnTo>
                  <a:lnTo>
                    <a:pt x="1750" y="718"/>
                  </a:lnTo>
                  <a:lnTo>
                    <a:pt x="1751" y="765"/>
                  </a:lnTo>
                  <a:lnTo>
                    <a:pt x="1234" y="765"/>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20" name="Freeform 7"/>
            <p:cNvSpPr>
              <a:spLocks noEditPoints="1"/>
            </p:cNvSpPr>
            <p:nvPr userDrawn="1">
              <p:custDataLst>
                <p:tags r:id="rId6"/>
              </p:custDataLst>
            </p:nvPr>
          </p:nvSpPr>
          <p:spPr bwMode="gray">
            <a:xfrm>
              <a:off x="1738313" y="2708275"/>
              <a:ext cx="366712" cy="473075"/>
            </a:xfrm>
            <a:custGeom>
              <a:avLst/>
              <a:gdLst/>
              <a:ahLst/>
              <a:cxnLst>
                <a:cxn ang="0">
                  <a:pos x="474" y="631"/>
                </a:cxn>
                <a:cxn ang="0">
                  <a:pos x="496" y="558"/>
                </a:cxn>
                <a:cxn ang="0">
                  <a:pos x="528" y="492"/>
                </a:cxn>
                <a:cxn ang="0">
                  <a:pos x="571" y="434"/>
                </a:cxn>
                <a:cxn ang="0">
                  <a:pos x="624" y="386"/>
                </a:cxn>
                <a:cxn ang="0">
                  <a:pos x="684" y="348"/>
                </a:cxn>
                <a:cxn ang="0">
                  <a:pos x="751" y="322"/>
                </a:cxn>
                <a:cxn ang="0">
                  <a:pos x="824" y="308"/>
                </a:cxn>
                <a:cxn ang="0">
                  <a:pos x="905" y="308"/>
                </a:cxn>
                <a:cxn ang="0">
                  <a:pos x="982" y="320"/>
                </a:cxn>
                <a:cxn ang="0">
                  <a:pos x="1049" y="345"/>
                </a:cxn>
                <a:cxn ang="0">
                  <a:pos x="1108" y="381"/>
                </a:cxn>
                <a:cxn ang="0">
                  <a:pos x="1157" y="427"/>
                </a:cxn>
                <a:cxn ang="0">
                  <a:pos x="1194" y="484"/>
                </a:cxn>
                <a:cxn ang="0">
                  <a:pos x="1220" y="552"/>
                </a:cxn>
                <a:cxn ang="0">
                  <a:pos x="1233" y="628"/>
                </a:cxn>
                <a:cxn ang="0">
                  <a:pos x="1694" y="847"/>
                </a:cxn>
                <a:cxn ang="0">
                  <a:pos x="1681" y="664"/>
                </a:cxn>
                <a:cxn ang="0">
                  <a:pos x="1644" y="499"/>
                </a:cxn>
                <a:cxn ang="0">
                  <a:pos x="1582" y="355"/>
                </a:cxn>
                <a:cxn ang="0">
                  <a:pos x="1495" y="232"/>
                </a:cxn>
                <a:cxn ang="0">
                  <a:pos x="1382" y="133"/>
                </a:cxn>
                <a:cxn ang="0">
                  <a:pos x="1245" y="61"/>
                </a:cxn>
                <a:cxn ang="0">
                  <a:pos x="1083" y="15"/>
                </a:cxn>
                <a:cxn ang="0">
                  <a:pos x="896" y="0"/>
                </a:cxn>
                <a:cxn ang="0">
                  <a:pos x="679" y="18"/>
                </a:cxn>
                <a:cxn ang="0">
                  <a:pos x="494" y="70"/>
                </a:cxn>
                <a:cxn ang="0">
                  <a:pos x="340" y="153"/>
                </a:cxn>
                <a:cxn ang="0">
                  <a:pos x="215" y="268"/>
                </a:cxn>
                <a:cxn ang="0">
                  <a:pos x="120" y="410"/>
                </a:cxn>
                <a:cxn ang="0">
                  <a:pos x="54" y="578"/>
                </a:cxn>
                <a:cxn ang="0">
                  <a:pos x="13" y="770"/>
                </a:cxn>
                <a:cxn ang="0">
                  <a:pos x="0" y="983"/>
                </a:cxn>
                <a:cxn ang="0">
                  <a:pos x="15" y="1232"/>
                </a:cxn>
                <a:cxn ang="0">
                  <a:pos x="62" y="1461"/>
                </a:cxn>
                <a:cxn ang="0">
                  <a:pos x="139" y="1666"/>
                </a:cxn>
                <a:cxn ang="0">
                  <a:pos x="250" y="1841"/>
                </a:cxn>
                <a:cxn ang="0">
                  <a:pos x="397" y="1986"/>
                </a:cxn>
                <a:cxn ang="0">
                  <a:pos x="579" y="2094"/>
                </a:cxn>
                <a:cxn ang="0">
                  <a:pos x="798" y="2161"/>
                </a:cxn>
                <a:cxn ang="0">
                  <a:pos x="1057" y="2185"/>
                </a:cxn>
                <a:cxn ang="0">
                  <a:pos x="1207" y="2180"/>
                </a:cxn>
                <a:cxn ang="0">
                  <a:pos x="1353" y="2166"/>
                </a:cxn>
                <a:cxn ang="0">
                  <a:pos x="1497" y="2141"/>
                </a:cxn>
                <a:cxn ang="0">
                  <a:pos x="1638" y="2105"/>
                </a:cxn>
                <a:cxn ang="0">
                  <a:pos x="1494" y="1807"/>
                </a:cxn>
                <a:cxn ang="0">
                  <a:pos x="1367" y="1830"/>
                </a:cxn>
                <a:cxn ang="0">
                  <a:pos x="1267" y="1838"/>
                </a:cxn>
                <a:cxn ang="0">
                  <a:pos x="1113" y="1827"/>
                </a:cxn>
                <a:cxn ang="0">
                  <a:pos x="955" y="1781"/>
                </a:cxn>
                <a:cxn ang="0">
                  <a:pos x="815" y="1704"/>
                </a:cxn>
                <a:cxn ang="0">
                  <a:pos x="696" y="1599"/>
                </a:cxn>
                <a:cxn ang="0">
                  <a:pos x="597" y="1473"/>
                </a:cxn>
                <a:cxn ang="0">
                  <a:pos x="523" y="1328"/>
                </a:cxn>
                <a:cxn ang="0">
                  <a:pos x="475" y="1173"/>
                </a:cxn>
                <a:cxn ang="0">
                  <a:pos x="453" y="1009"/>
                </a:cxn>
              </a:cxnLst>
              <a:rect l="0" t="0" r="r" b="b"/>
              <a:pathLst>
                <a:path w="1694" h="2185">
                  <a:moveTo>
                    <a:pt x="1235" y="669"/>
                  </a:moveTo>
                  <a:lnTo>
                    <a:pt x="468" y="669"/>
                  </a:lnTo>
                  <a:lnTo>
                    <a:pt x="471" y="650"/>
                  </a:lnTo>
                  <a:lnTo>
                    <a:pt x="474" y="631"/>
                  </a:lnTo>
                  <a:lnTo>
                    <a:pt x="479" y="612"/>
                  </a:lnTo>
                  <a:lnTo>
                    <a:pt x="484" y="593"/>
                  </a:lnTo>
                  <a:lnTo>
                    <a:pt x="489" y="576"/>
                  </a:lnTo>
                  <a:lnTo>
                    <a:pt x="496" y="558"/>
                  </a:lnTo>
                  <a:lnTo>
                    <a:pt x="503" y="541"/>
                  </a:lnTo>
                  <a:lnTo>
                    <a:pt x="511" y="524"/>
                  </a:lnTo>
                  <a:lnTo>
                    <a:pt x="519" y="507"/>
                  </a:lnTo>
                  <a:lnTo>
                    <a:pt x="528" y="492"/>
                  </a:lnTo>
                  <a:lnTo>
                    <a:pt x="538" y="476"/>
                  </a:lnTo>
                  <a:lnTo>
                    <a:pt x="548" y="462"/>
                  </a:lnTo>
                  <a:lnTo>
                    <a:pt x="559" y="448"/>
                  </a:lnTo>
                  <a:lnTo>
                    <a:pt x="571" y="434"/>
                  </a:lnTo>
                  <a:lnTo>
                    <a:pt x="583" y="421"/>
                  </a:lnTo>
                  <a:lnTo>
                    <a:pt x="596" y="409"/>
                  </a:lnTo>
                  <a:lnTo>
                    <a:pt x="610" y="397"/>
                  </a:lnTo>
                  <a:lnTo>
                    <a:pt x="624" y="386"/>
                  </a:lnTo>
                  <a:lnTo>
                    <a:pt x="638" y="376"/>
                  </a:lnTo>
                  <a:lnTo>
                    <a:pt x="653" y="366"/>
                  </a:lnTo>
                  <a:lnTo>
                    <a:pt x="668" y="357"/>
                  </a:lnTo>
                  <a:lnTo>
                    <a:pt x="684" y="348"/>
                  </a:lnTo>
                  <a:lnTo>
                    <a:pt x="700" y="341"/>
                  </a:lnTo>
                  <a:lnTo>
                    <a:pt x="717" y="333"/>
                  </a:lnTo>
                  <a:lnTo>
                    <a:pt x="734" y="327"/>
                  </a:lnTo>
                  <a:lnTo>
                    <a:pt x="751" y="322"/>
                  </a:lnTo>
                  <a:lnTo>
                    <a:pt x="769" y="317"/>
                  </a:lnTo>
                  <a:lnTo>
                    <a:pt x="787" y="313"/>
                  </a:lnTo>
                  <a:lnTo>
                    <a:pt x="806" y="310"/>
                  </a:lnTo>
                  <a:lnTo>
                    <a:pt x="824" y="308"/>
                  </a:lnTo>
                  <a:lnTo>
                    <a:pt x="844" y="307"/>
                  </a:lnTo>
                  <a:lnTo>
                    <a:pt x="863" y="306"/>
                  </a:lnTo>
                  <a:lnTo>
                    <a:pt x="885" y="307"/>
                  </a:lnTo>
                  <a:lnTo>
                    <a:pt x="905" y="308"/>
                  </a:lnTo>
                  <a:lnTo>
                    <a:pt x="925" y="310"/>
                  </a:lnTo>
                  <a:lnTo>
                    <a:pt x="945" y="313"/>
                  </a:lnTo>
                  <a:lnTo>
                    <a:pt x="963" y="316"/>
                  </a:lnTo>
                  <a:lnTo>
                    <a:pt x="982" y="320"/>
                  </a:lnTo>
                  <a:lnTo>
                    <a:pt x="999" y="326"/>
                  </a:lnTo>
                  <a:lnTo>
                    <a:pt x="1017" y="331"/>
                  </a:lnTo>
                  <a:lnTo>
                    <a:pt x="1033" y="338"/>
                  </a:lnTo>
                  <a:lnTo>
                    <a:pt x="1049" y="345"/>
                  </a:lnTo>
                  <a:lnTo>
                    <a:pt x="1065" y="353"/>
                  </a:lnTo>
                  <a:lnTo>
                    <a:pt x="1080" y="361"/>
                  </a:lnTo>
                  <a:lnTo>
                    <a:pt x="1094" y="371"/>
                  </a:lnTo>
                  <a:lnTo>
                    <a:pt x="1108" y="381"/>
                  </a:lnTo>
                  <a:lnTo>
                    <a:pt x="1121" y="391"/>
                  </a:lnTo>
                  <a:lnTo>
                    <a:pt x="1133" y="403"/>
                  </a:lnTo>
                  <a:lnTo>
                    <a:pt x="1145" y="415"/>
                  </a:lnTo>
                  <a:lnTo>
                    <a:pt x="1157" y="427"/>
                  </a:lnTo>
                  <a:lnTo>
                    <a:pt x="1167" y="441"/>
                  </a:lnTo>
                  <a:lnTo>
                    <a:pt x="1177" y="455"/>
                  </a:lnTo>
                  <a:lnTo>
                    <a:pt x="1186" y="469"/>
                  </a:lnTo>
                  <a:lnTo>
                    <a:pt x="1194" y="484"/>
                  </a:lnTo>
                  <a:lnTo>
                    <a:pt x="1202" y="500"/>
                  </a:lnTo>
                  <a:lnTo>
                    <a:pt x="1209" y="517"/>
                  </a:lnTo>
                  <a:lnTo>
                    <a:pt x="1215" y="535"/>
                  </a:lnTo>
                  <a:lnTo>
                    <a:pt x="1220" y="552"/>
                  </a:lnTo>
                  <a:lnTo>
                    <a:pt x="1224" y="570"/>
                  </a:lnTo>
                  <a:lnTo>
                    <a:pt x="1228" y="589"/>
                  </a:lnTo>
                  <a:lnTo>
                    <a:pt x="1231" y="608"/>
                  </a:lnTo>
                  <a:lnTo>
                    <a:pt x="1233" y="628"/>
                  </a:lnTo>
                  <a:lnTo>
                    <a:pt x="1234" y="648"/>
                  </a:lnTo>
                  <a:lnTo>
                    <a:pt x="1235" y="669"/>
                  </a:lnTo>
                  <a:close/>
                  <a:moveTo>
                    <a:pt x="1694" y="967"/>
                  </a:moveTo>
                  <a:lnTo>
                    <a:pt x="1694" y="847"/>
                  </a:lnTo>
                  <a:lnTo>
                    <a:pt x="1693" y="800"/>
                  </a:lnTo>
                  <a:lnTo>
                    <a:pt x="1691" y="753"/>
                  </a:lnTo>
                  <a:lnTo>
                    <a:pt x="1687" y="708"/>
                  </a:lnTo>
                  <a:lnTo>
                    <a:pt x="1681" y="664"/>
                  </a:lnTo>
                  <a:lnTo>
                    <a:pt x="1674" y="622"/>
                  </a:lnTo>
                  <a:lnTo>
                    <a:pt x="1666" y="580"/>
                  </a:lnTo>
                  <a:lnTo>
                    <a:pt x="1656" y="540"/>
                  </a:lnTo>
                  <a:lnTo>
                    <a:pt x="1644" y="499"/>
                  </a:lnTo>
                  <a:lnTo>
                    <a:pt x="1631" y="461"/>
                  </a:lnTo>
                  <a:lnTo>
                    <a:pt x="1616" y="425"/>
                  </a:lnTo>
                  <a:lnTo>
                    <a:pt x="1600" y="389"/>
                  </a:lnTo>
                  <a:lnTo>
                    <a:pt x="1582" y="355"/>
                  </a:lnTo>
                  <a:lnTo>
                    <a:pt x="1562" y="323"/>
                  </a:lnTo>
                  <a:lnTo>
                    <a:pt x="1541" y="291"/>
                  </a:lnTo>
                  <a:lnTo>
                    <a:pt x="1519" y="262"/>
                  </a:lnTo>
                  <a:lnTo>
                    <a:pt x="1495" y="232"/>
                  </a:lnTo>
                  <a:lnTo>
                    <a:pt x="1469" y="205"/>
                  </a:lnTo>
                  <a:lnTo>
                    <a:pt x="1442" y="180"/>
                  </a:lnTo>
                  <a:lnTo>
                    <a:pt x="1412" y="156"/>
                  </a:lnTo>
                  <a:lnTo>
                    <a:pt x="1382" y="133"/>
                  </a:lnTo>
                  <a:lnTo>
                    <a:pt x="1350" y="113"/>
                  </a:lnTo>
                  <a:lnTo>
                    <a:pt x="1317" y="94"/>
                  </a:lnTo>
                  <a:lnTo>
                    <a:pt x="1282" y="76"/>
                  </a:lnTo>
                  <a:lnTo>
                    <a:pt x="1245" y="61"/>
                  </a:lnTo>
                  <a:lnTo>
                    <a:pt x="1207" y="47"/>
                  </a:lnTo>
                  <a:lnTo>
                    <a:pt x="1168" y="34"/>
                  </a:lnTo>
                  <a:lnTo>
                    <a:pt x="1125" y="24"/>
                  </a:lnTo>
                  <a:lnTo>
                    <a:pt x="1083" y="15"/>
                  </a:lnTo>
                  <a:lnTo>
                    <a:pt x="1038" y="9"/>
                  </a:lnTo>
                  <a:lnTo>
                    <a:pt x="993" y="4"/>
                  </a:lnTo>
                  <a:lnTo>
                    <a:pt x="945" y="1"/>
                  </a:lnTo>
                  <a:lnTo>
                    <a:pt x="896" y="0"/>
                  </a:lnTo>
                  <a:lnTo>
                    <a:pt x="838" y="1"/>
                  </a:lnTo>
                  <a:lnTo>
                    <a:pt x="783" y="4"/>
                  </a:lnTo>
                  <a:lnTo>
                    <a:pt x="730" y="10"/>
                  </a:lnTo>
                  <a:lnTo>
                    <a:pt x="679" y="18"/>
                  </a:lnTo>
                  <a:lnTo>
                    <a:pt x="630" y="28"/>
                  </a:lnTo>
                  <a:lnTo>
                    <a:pt x="582" y="39"/>
                  </a:lnTo>
                  <a:lnTo>
                    <a:pt x="537" y="54"/>
                  </a:lnTo>
                  <a:lnTo>
                    <a:pt x="494" y="70"/>
                  </a:lnTo>
                  <a:lnTo>
                    <a:pt x="453" y="88"/>
                  </a:lnTo>
                  <a:lnTo>
                    <a:pt x="413" y="108"/>
                  </a:lnTo>
                  <a:lnTo>
                    <a:pt x="376" y="130"/>
                  </a:lnTo>
                  <a:lnTo>
                    <a:pt x="340" y="153"/>
                  </a:lnTo>
                  <a:lnTo>
                    <a:pt x="305" y="179"/>
                  </a:lnTo>
                  <a:lnTo>
                    <a:pt x="273" y="207"/>
                  </a:lnTo>
                  <a:lnTo>
                    <a:pt x="243" y="236"/>
                  </a:lnTo>
                  <a:lnTo>
                    <a:pt x="215" y="268"/>
                  </a:lnTo>
                  <a:lnTo>
                    <a:pt x="189" y="301"/>
                  </a:lnTo>
                  <a:lnTo>
                    <a:pt x="164" y="336"/>
                  </a:lnTo>
                  <a:lnTo>
                    <a:pt x="141" y="372"/>
                  </a:lnTo>
                  <a:lnTo>
                    <a:pt x="120" y="410"/>
                  </a:lnTo>
                  <a:lnTo>
                    <a:pt x="101" y="449"/>
                  </a:lnTo>
                  <a:lnTo>
                    <a:pt x="83" y="491"/>
                  </a:lnTo>
                  <a:lnTo>
                    <a:pt x="68" y="534"/>
                  </a:lnTo>
                  <a:lnTo>
                    <a:pt x="54" y="578"/>
                  </a:lnTo>
                  <a:lnTo>
                    <a:pt x="40" y="624"/>
                  </a:lnTo>
                  <a:lnTo>
                    <a:pt x="29" y="671"/>
                  </a:lnTo>
                  <a:lnTo>
                    <a:pt x="20" y="720"/>
                  </a:lnTo>
                  <a:lnTo>
                    <a:pt x="13" y="770"/>
                  </a:lnTo>
                  <a:lnTo>
                    <a:pt x="7" y="822"/>
                  </a:lnTo>
                  <a:lnTo>
                    <a:pt x="3" y="874"/>
                  </a:lnTo>
                  <a:lnTo>
                    <a:pt x="1" y="928"/>
                  </a:lnTo>
                  <a:lnTo>
                    <a:pt x="0" y="983"/>
                  </a:lnTo>
                  <a:lnTo>
                    <a:pt x="1" y="1047"/>
                  </a:lnTo>
                  <a:lnTo>
                    <a:pt x="4" y="1110"/>
                  </a:lnTo>
                  <a:lnTo>
                    <a:pt x="9" y="1172"/>
                  </a:lnTo>
                  <a:lnTo>
                    <a:pt x="15" y="1232"/>
                  </a:lnTo>
                  <a:lnTo>
                    <a:pt x="24" y="1291"/>
                  </a:lnTo>
                  <a:lnTo>
                    <a:pt x="34" y="1349"/>
                  </a:lnTo>
                  <a:lnTo>
                    <a:pt x="46" y="1406"/>
                  </a:lnTo>
                  <a:lnTo>
                    <a:pt x="62" y="1461"/>
                  </a:lnTo>
                  <a:lnTo>
                    <a:pt x="78" y="1514"/>
                  </a:lnTo>
                  <a:lnTo>
                    <a:pt x="96" y="1566"/>
                  </a:lnTo>
                  <a:lnTo>
                    <a:pt x="117" y="1616"/>
                  </a:lnTo>
                  <a:lnTo>
                    <a:pt x="139" y="1666"/>
                  </a:lnTo>
                  <a:lnTo>
                    <a:pt x="164" y="1712"/>
                  </a:lnTo>
                  <a:lnTo>
                    <a:pt x="191" y="1757"/>
                  </a:lnTo>
                  <a:lnTo>
                    <a:pt x="219" y="1800"/>
                  </a:lnTo>
                  <a:lnTo>
                    <a:pt x="250" y="1841"/>
                  </a:lnTo>
                  <a:lnTo>
                    <a:pt x="283" y="1881"/>
                  </a:lnTo>
                  <a:lnTo>
                    <a:pt x="319" y="1919"/>
                  </a:lnTo>
                  <a:lnTo>
                    <a:pt x="357" y="1953"/>
                  </a:lnTo>
                  <a:lnTo>
                    <a:pt x="397" y="1986"/>
                  </a:lnTo>
                  <a:lnTo>
                    <a:pt x="439" y="2017"/>
                  </a:lnTo>
                  <a:lnTo>
                    <a:pt x="483" y="2045"/>
                  </a:lnTo>
                  <a:lnTo>
                    <a:pt x="530" y="2071"/>
                  </a:lnTo>
                  <a:lnTo>
                    <a:pt x="579" y="2094"/>
                  </a:lnTo>
                  <a:lnTo>
                    <a:pt x="631" y="2115"/>
                  </a:lnTo>
                  <a:lnTo>
                    <a:pt x="684" y="2133"/>
                  </a:lnTo>
                  <a:lnTo>
                    <a:pt x="740" y="2149"/>
                  </a:lnTo>
                  <a:lnTo>
                    <a:pt x="798" y="2161"/>
                  </a:lnTo>
                  <a:lnTo>
                    <a:pt x="859" y="2172"/>
                  </a:lnTo>
                  <a:lnTo>
                    <a:pt x="923" y="2179"/>
                  </a:lnTo>
                  <a:lnTo>
                    <a:pt x="989" y="2183"/>
                  </a:lnTo>
                  <a:lnTo>
                    <a:pt x="1057" y="2185"/>
                  </a:lnTo>
                  <a:lnTo>
                    <a:pt x="1095" y="2185"/>
                  </a:lnTo>
                  <a:lnTo>
                    <a:pt x="1132" y="2184"/>
                  </a:lnTo>
                  <a:lnTo>
                    <a:pt x="1170" y="2182"/>
                  </a:lnTo>
                  <a:lnTo>
                    <a:pt x="1207" y="2180"/>
                  </a:lnTo>
                  <a:lnTo>
                    <a:pt x="1244" y="2178"/>
                  </a:lnTo>
                  <a:lnTo>
                    <a:pt x="1281" y="2174"/>
                  </a:lnTo>
                  <a:lnTo>
                    <a:pt x="1317" y="2170"/>
                  </a:lnTo>
                  <a:lnTo>
                    <a:pt x="1353" y="2166"/>
                  </a:lnTo>
                  <a:lnTo>
                    <a:pt x="1389" y="2161"/>
                  </a:lnTo>
                  <a:lnTo>
                    <a:pt x="1425" y="2155"/>
                  </a:lnTo>
                  <a:lnTo>
                    <a:pt x="1462" y="2148"/>
                  </a:lnTo>
                  <a:lnTo>
                    <a:pt x="1497" y="2141"/>
                  </a:lnTo>
                  <a:lnTo>
                    <a:pt x="1533" y="2133"/>
                  </a:lnTo>
                  <a:lnTo>
                    <a:pt x="1568" y="2124"/>
                  </a:lnTo>
                  <a:lnTo>
                    <a:pt x="1603" y="2115"/>
                  </a:lnTo>
                  <a:lnTo>
                    <a:pt x="1638" y="2105"/>
                  </a:lnTo>
                  <a:lnTo>
                    <a:pt x="1638" y="1766"/>
                  </a:lnTo>
                  <a:lnTo>
                    <a:pt x="1591" y="1781"/>
                  </a:lnTo>
                  <a:lnTo>
                    <a:pt x="1543" y="1794"/>
                  </a:lnTo>
                  <a:lnTo>
                    <a:pt x="1494" y="1807"/>
                  </a:lnTo>
                  <a:lnTo>
                    <a:pt x="1444" y="1817"/>
                  </a:lnTo>
                  <a:lnTo>
                    <a:pt x="1417" y="1822"/>
                  </a:lnTo>
                  <a:lnTo>
                    <a:pt x="1392" y="1826"/>
                  </a:lnTo>
                  <a:lnTo>
                    <a:pt x="1367" y="1830"/>
                  </a:lnTo>
                  <a:lnTo>
                    <a:pt x="1342" y="1833"/>
                  </a:lnTo>
                  <a:lnTo>
                    <a:pt x="1316" y="1835"/>
                  </a:lnTo>
                  <a:lnTo>
                    <a:pt x="1292" y="1837"/>
                  </a:lnTo>
                  <a:lnTo>
                    <a:pt x="1267" y="1838"/>
                  </a:lnTo>
                  <a:lnTo>
                    <a:pt x="1243" y="1838"/>
                  </a:lnTo>
                  <a:lnTo>
                    <a:pt x="1199" y="1837"/>
                  </a:lnTo>
                  <a:lnTo>
                    <a:pt x="1156" y="1833"/>
                  </a:lnTo>
                  <a:lnTo>
                    <a:pt x="1113" y="1827"/>
                  </a:lnTo>
                  <a:lnTo>
                    <a:pt x="1072" y="1819"/>
                  </a:lnTo>
                  <a:lnTo>
                    <a:pt x="1032" y="1809"/>
                  </a:lnTo>
                  <a:lnTo>
                    <a:pt x="993" y="1796"/>
                  </a:lnTo>
                  <a:lnTo>
                    <a:pt x="955" y="1781"/>
                  </a:lnTo>
                  <a:lnTo>
                    <a:pt x="919" y="1765"/>
                  </a:lnTo>
                  <a:lnTo>
                    <a:pt x="883" y="1746"/>
                  </a:lnTo>
                  <a:lnTo>
                    <a:pt x="848" y="1726"/>
                  </a:lnTo>
                  <a:lnTo>
                    <a:pt x="815" y="1704"/>
                  </a:lnTo>
                  <a:lnTo>
                    <a:pt x="783" y="1680"/>
                  </a:lnTo>
                  <a:lnTo>
                    <a:pt x="753" y="1655"/>
                  </a:lnTo>
                  <a:lnTo>
                    <a:pt x="724" y="1627"/>
                  </a:lnTo>
                  <a:lnTo>
                    <a:pt x="696" y="1599"/>
                  </a:lnTo>
                  <a:lnTo>
                    <a:pt x="669" y="1569"/>
                  </a:lnTo>
                  <a:lnTo>
                    <a:pt x="644" y="1538"/>
                  </a:lnTo>
                  <a:lnTo>
                    <a:pt x="620" y="1506"/>
                  </a:lnTo>
                  <a:lnTo>
                    <a:pt x="597" y="1473"/>
                  </a:lnTo>
                  <a:lnTo>
                    <a:pt x="576" y="1438"/>
                  </a:lnTo>
                  <a:lnTo>
                    <a:pt x="557" y="1403"/>
                  </a:lnTo>
                  <a:lnTo>
                    <a:pt x="539" y="1367"/>
                  </a:lnTo>
                  <a:lnTo>
                    <a:pt x="523" y="1328"/>
                  </a:lnTo>
                  <a:lnTo>
                    <a:pt x="509" y="1290"/>
                  </a:lnTo>
                  <a:lnTo>
                    <a:pt x="496" y="1252"/>
                  </a:lnTo>
                  <a:lnTo>
                    <a:pt x="484" y="1213"/>
                  </a:lnTo>
                  <a:lnTo>
                    <a:pt x="475" y="1173"/>
                  </a:lnTo>
                  <a:lnTo>
                    <a:pt x="467" y="1133"/>
                  </a:lnTo>
                  <a:lnTo>
                    <a:pt x="460" y="1092"/>
                  </a:lnTo>
                  <a:lnTo>
                    <a:pt x="456" y="1050"/>
                  </a:lnTo>
                  <a:lnTo>
                    <a:pt x="453" y="1009"/>
                  </a:lnTo>
                  <a:lnTo>
                    <a:pt x="452" y="967"/>
                  </a:lnTo>
                  <a:lnTo>
                    <a:pt x="1694" y="967"/>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21" name="Freeform 8"/>
            <p:cNvSpPr>
              <a:spLocks/>
            </p:cNvSpPr>
            <p:nvPr userDrawn="1">
              <p:custDataLst>
                <p:tags r:id="rId7"/>
              </p:custDataLst>
            </p:nvPr>
          </p:nvSpPr>
          <p:spPr bwMode="gray">
            <a:xfrm>
              <a:off x="2159000" y="2708275"/>
              <a:ext cx="363538" cy="463550"/>
            </a:xfrm>
            <a:custGeom>
              <a:avLst/>
              <a:gdLst/>
              <a:ahLst/>
              <a:cxnLst>
                <a:cxn ang="0">
                  <a:pos x="1194" y="897"/>
                </a:cxn>
                <a:cxn ang="0">
                  <a:pos x="1193" y="775"/>
                </a:cxn>
                <a:cxn ang="0">
                  <a:pos x="1185" y="675"/>
                </a:cxn>
                <a:cxn ang="0">
                  <a:pos x="1167" y="582"/>
                </a:cxn>
                <a:cxn ang="0">
                  <a:pos x="1153" y="542"/>
                </a:cxn>
                <a:cxn ang="0">
                  <a:pos x="1135" y="508"/>
                </a:cxn>
                <a:cxn ang="0">
                  <a:pos x="1115" y="485"/>
                </a:cxn>
                <a:cxn ang="0">
                  <a:pos x="1093" y="471"/>
                </a:cxn>
                <a:cxn ang="0">
                  <a:pos x="1040" y="455"/>
                </a:cxn>
                <a:cxn ang="0">
                  <a:pos x="984" y="451"/>
                </a:cxn>
                <a:cxn ang="0">
                  <a:pos x="891" y="464"/>
                </a:cxn>
                <a:cxn ang="0">
                  <a:pos x="807" y="499"/>
                </a:cxn>
                <a:cxn ang="0">
                  <a:pos x="735" y="554"/>
                </a:cxn>
                <a:cxn ang="0">
                  <a:pos x="673" y="625"/>
                </a:cxn>
                <a:cxn ang="0">
                  <a:pos x="621" y="707"/>
                </a:cxn>
                <a:cxn ang="0">
                  <a:pos x="577" y="799"/>
                </a:cxn>
                <a:cxn ang="0">
                  <a:pos x="544" y="895"/>
                </a:cxn>
                <a:cxn ang="0">
                  <a:pos x="519" y="992"/>
                </a:cxn>
                <a:cxn ang="0">
                  <a:pos x="502" y="1089"/>
                </a:cxn>
                <a:cxn ang="0">
                  <a:pos x="494" y="1178"/>
                </a:cxn>
                <a:cxn ang="0">
                  <a:pos x="492" y="2137"/>
                </a:cxn>
                <a:cxn ang="0">
                  <a:pos x="492" y="48"/>
                </a:cxn>
                <a:cxn ang="0">
                  <a:pos x="510" y="410"/>
                </a:cxn>
                <a:cxn ang="0">
                  <a:pos x="544" y="340"/>
                </a:cxn>
                <a:cxn ang="0">
                  <a:pos x="584" y="276"/>
                </a:cxn>
                <a:cxn ang="0">
                  <a:pos x="629" y="216"/>
                </a:cxn>
                <a:cxn ang="0">
                  <a:pos x="679" y="163"/>
                </a:cxn>
                <a:cxn ang="0">
                  <a:pos x="734" y="117"/>
                </a:cxn>
                <a:cxn ang="0">
                  <a:pos x="794" y="79"/>
                </a:cxn>
                <a:cxn ang="0">
                  <a:pos x="860" y="47"/>
                </a:cxn>
                <a:cxn ang="0">
                  <a:pos x="931" y="23"/>
                </a:cxn>
                <a:cxn ang="0">
                  <a:pos x="1006" y="8"/>
                </a:cxn>
                <a:cxn ang="0">
                  <a:pos x="1085" y="0"/>
                </a:cxn>
                <a:cxn ang="0">
                  <a:pos x="1187" y="4"/>
                </a:cxn>
                <a:cxn ang="0">
                  <a:pos x="1285" y="23"/>
                </a:cxn>
                <a:cxn ang="0">
                  <a:pos x="1373" y="57"/>
                </a:cxn>
                <a:cxn ang="0">
                  <a:pos x="1449" y="104"/>
                </a:cxn>
                <a:cxn ang="0">
                  <a:pos x="1514" y="164"/>
                </a:cxn>
                <a:cxn ang="0">
                  <a:pos x="1568" y="233"/>
                </a:cxn>
                <a:cxn ang="0">
                  <a:pos x="1611" y="313"/>
                </a:cxn>
                <a:cxn ang="0">
                  <a:pos x="1644" y="398"/>
                </a:cxn>
                <a:cxn ang="0">
                  <a:pos x="1667" y="490"/>
                </a:cxn>
                <a:cxn ang="0">
                  <a:pos x="1681" y="587"/>
                </a:cxn>
                <a:cxn ang="0">
                  <a:pos x="1686" y="685"/>
                </a:cxn>
              </a:cxnLst>
              <a:rect l="0" t="0" r="r" b="b"/>
              <a:pathLst>
                <a:path w="1686" h="2137">
                  <a:moveTo>
                    <a:pt x="1194" y="2137"/>
                  </a:moveTo>
                  <a:lnTo>
                    <a:pt x="1194" y="943"/>
                  </a:lnTo>
                  <a:lnTo>
                    <a:pt x="1194" y="897"/>
                  </a:lnTo>
                  <a:lnTo>
                    <a:pt x="1194" y="840"/>
                  </a:lnTo>
                  <a:lnTo>
                    <a:pt x="1194" y="809"/>
                  </a:lnTo>
                  <a:lnTo>
                    <a:pt x="1193" y="775"/>
                  </a:lnTo>
                  <a:lnTo>
                    <a:pt x="1191" y="742"/>
                  </a:lnTo>
                  <a:lnTo>
                    <a:pt x="1188" y="708"/>
                  </a:lnTo>
                  <a:lnTo>
                    <a:pt x="1185" y="675"/>
                  </a:lnTo>
                  <a:lnTo>
                    <a:pt x="1180" y="642"/>
                  </a:lnTo>
                  <a:lnTo>
                    <a:pt x="1174" y="611"/>
                  </a:lnTo>
                  <a:lnTo>
                    <a:pt x="1167" y="582"/>
                  </a:lnTo>
                  <a:lnTo>
                    <a:pt x="1163" y="568"/>
                  </a:lnTo>
                  <a:lnTo>
                    <a:pt x="1158" y="555"/>
                  </a:lnTo>
                  <a:lnTo>
                    <a:pt x="1153" y="542"/>
                  </a:lnTo>
                  <a:lnTo>
                    <a:pt x="1147" y="530"/>
                  </a:lnTo>
                  <a:lnTo>
                    <a:pt x="1141" y="519"/>
                  </a:lnTo>
                  <a:lnTo>
                    <a:pt x="1135" y="508"/>
                  </a:lnTo>
                  <a:lnTo>
                    <a:pt x="1128" y="499"/>
                  </a:lnTo>
                  <a:lnTo>
                    <a:pt x="1121" y="491"/>
                  </a:lnTo>
                  <a:lnTo>
                    <a:pt x="1115" y="485"/>
                  </a:lnTo>
                  <a:lnTo>
                    <a:pt x="1108" y="480"/>
                  </a:lnTo>
                  <a:lnTo>
                    <a:pt x="1101" y="476"/>
                  </a:lnTo>
                  <a:lnTo>
                    <a:pt x="1093" y="471"/>
                  </a:lnTo>
                  <a:lnTo>
                    <a:pt x="1076" y="464"/>
                  </a:lnTo>
                  <a:lnTo>
                    <a:pt x="1059" y="459"/>
                  </a:lnTo>
                  <a:lnTo>
                    <a:pt x="1040" y="455"/>
                  </a:lnTo>
                  <a:lnTo>
                    <a:pt x="1022" y="453"/>
                  </a:lnTo>
                  <a:lnTo>
                    <a:pt x="1003" y="451"/>
                  </a:lnTo>
                  <a:lnTo>
                    <a:pt x="984" y="451"/>
                  </a:lnTo>
                  <a:lnTo>
                    <a:pt x="952" y="452"/>
                  </a:lnTo>
                  <a:lnTo>
                    <a:pt x="921" y="457"/>
                  </a:lnTo>
                  <a:lnTo>
                    <a:pt x="891" y="464"/>
                  </a:lnTo>
                  <a:lnTo>
                    <a:pt x="861" y="473"/>
                  </a:lnTo>
                  <a:lnTo>
                    <a:pt x="833" y="485"/>
                  </a:lnTo>
                  <a:lnTo>
                    <a:pt x="807" y="499"/>
                  </a:lnTo>
                  <a:lnTo>
                    <a:pt x="782" y="515"/>
                  </a:lnTo>
                  <a:lnTo>
                    <a:pt x="758" y="534"/>
                  </a:lnTo>
                  <a:lnTo>
                    <a:pt x="735" y="554"/>
                  </a:lnTo>
                  <a:lnTo>
                    <a:pt x="713" y="576"/>
                  </a:lnTo>
                  <a:lnTo>
                    <a:pt x="692" y="600"/>
                  </a:lnTo>
                  <a:lnTo>
                    <a:pt x="673" y="625"/>
                  </a:lnTo>
                  <a:lnTo>
                    <a:pt x="654" y="651"/>
                  </a:lnTo>
                  <a:lnTo>
                    <a:pt x="637" y="678"/>
                  </a:lnTo>
                  <a:lnTo>
                    <a:pt x="621" y="707"/>
                  </a:lnTo>
                  <a:lnTo>
                    <a:pt x="606" y="736"/>
                  </a:lnTo>
                  <a:lnTo>
                    <a:pt x="590" y="767"/>
                  </a:lnTo>
                  <a:lnTo>
                    <a:pt x="577" y="799"/>
                  </a:lnTo>
                  <a:lnTo>
                    <a:pt x="565" y="830"/>
                  </a:lnTo>
                  <a:lnTo>
                    <a:pt x="554" y="862"/>
                  </a:lnTo>
                  <a:lnTo>
                    <a:pt x="544" y="895"/>
                  </a:lnTo>
                  <a:lnTo>
                    <a:pt x="535" y="927"/>
                  </a:lnTo>
                  <a:lnTo>
                    <a:pt x="526" y="960"/>
                  </a:lnTo>
                  <a:lnTo>
                    <a:pt x="519" y="992"/>
                  </a:lnTo>
                  <a:lnTo>
                    <a:pt x="513" y="1024"/>
                  </a:lnTo>
                  <a:lnTo>
                    <a:pt x="507" y="1056"/>
                  </a:lnTo>
                  <a:lnTo>
                    <a:pt x="502" y="1089"/>
                  </a:lnTo>
                  <a:lnTo>
                    <a:pt x="499" y="1119"/>
                  </a:lnTo>
                  <a:lnTo>
                    <a:pt x="496" y="1149"/>
                  </a:lnTo>
                  <a:lnTo>
                    <a:pt x="494" y="1178"/>
                  </a:lnTo>
                  <a:lnTo>
                    <a:pt x="493" y="1207"/>
                  </a:lnTo>
                  <a:lnTo>
                    <a:pt x="492" y="1234"/>
                  </a:lnTo>
                  <a:lnTo>
                    <a:pt x="492" y="2137"/>
                  </a:lnTo>
                  <a:lnTo>
                    <a:pt x="0" y="2137"/>
                  </a:lnTo>
                  <a:lnTo>
                    <a:pt x="0" y="48"/>
                  </a:lnTo>
                  <a:lnTo>
                    <a:pt x="492" y="48"/>
                  </a:lnTo>
                  <a:lnTo>
                    <a:pt x="492" y="435"/>
                  </a:lnTo>
                  <a:lnTo>
                    <a:pt x="500" y="435"/>
                  </a:lnTo>
                  <a:lnTo>
                    <a:pt x="510" y="410"/>
                  </a:lnTo>
                  <a:lnTo>
                    <a:pt x="521" y="386"/>
                  </a:lnTo>
                  <a:lnTo>
                    <a:pt x="532" y="363"/>
                  </a:lnTo>
                  <a:lnTo>
                    <a:pt x="544" y="340"/>
                  </a:lnTo>
                  <a:lnTo>
                    <a:pt x="557" y="318"/>
                  </a:lnTo>
                  <a:lnTo>
                    <a:pt x="570" y="296"/>
                  </a:lnTo>
                  <a:lnTo>
                    <a:pt x="584" y="276"/>
                  </a:lnTo>
                  <a:lnTo>
                    <a:pt x="599" y="255"/>
                  </a:lnTo>
                  <a:lnTo>
                    <a:pt x="614" y="235"/>
                  </a:lnTo>
                  <a:lnTo>
                    <a:pt x="629" y="216"/>
                  </a:lnTo>
                  <a:lnTo>
                    <a:pt x="645" y="198"/>
                  </a:lnTo>
                  <a:lnTo>
                    <a:pt x="662" y="180"/>
                  </a:lnTo>
                  <a:lnTo>
                    <a:pt x="679" y="163"/>
                  </a:lnTo>
                  <a:lnTo>
                    <a:pt x="697" y="147"/>
                  </a:lnTo>
                  <a:lnTo>
                    <a:pt x="715" y="132"/>
                  </a:lnTo>
                  <a:lnTo>
                    <a:pt x="734" y="117"/>
                  </a:lnTo>
                  <a:lnTo>
                    <a:pt x="754" y="104"/>
                  </a:lnTo>
                  <a:lnTo>
                    <a:pt x="774" y="91"/>
                  </a:lnTo>
                  <a:lnTo>
                    <a:pt x="794" y="79"/>
                  </a:lnTo>
                  <a:lnTo>
                    <a:pt x="816" y="67"/>
                  </a:lnTo>
                  <a:lnTo>
                    <a:pt x="837" y="57"/>
                  </a:lnTo>
                  <a:lnTo>
                    <a:pt x="860" y="47"/>
                  </a:lnTo>
                  <a:lnTo>
                    <a:pt x="883" y="38"/>
                  </a:lnTo>
                  <a:lnTo>
                    <a:pt x="907" y="30"/>
                  </a:lnTo>
                  <a:lnTo>
                    <a:pt x="931" y="23"/>
                  </a:lnTo>
                  <a:lnTo>
                    <a:pt x="955" y="17"/>
                  </a:lnTo>
                  <a:lnTo>
                    <a:pt x="980" y="12"/>
                  </a:lnTo>
                  <a:lnTo>
                    <a:pt x="1006" y="8"/>
                  </a:lnTo>
                  <a:lnTo>
                    <a:pt x="1032" y="4"/>
                  </a:lnTo>
                  <a:lnTo>
                    <a:pt x="1058" y="2"/>
                  </a:lnTo>
                  <a:lnTo>
                    <a:pt x="1085" y="0"/>
                  </a:lnTo>
                  <a:lnTo>
                    <a:pt x="1113" y="0"/>
                  </a:lnTo>
                  <a:lnTo>
                    <a:pt x="1151" y="1"/>
                  </a:lnTo>
                  <a:lnTo>
                    <a:pt x="1187" y="4"/>
                  </a:lnTo>
                  <a:lnTo>
                    <a:pt x="1221" y="8"/>
                  </a:lnTo>
                  <a:lnTo>
                    <a:pt x="1254" y="15"/>
                  </a:lnTo>
                  <a:lnTo>
                    <a:pt x="1285" y="23"/>
                  </a:lnTo>
                  <a:lnTo>
                    <a:pt x="1316" y="33"/>
                  </a:lnTo>
                  <a:lnTo>
                    <a:pt x="1345" y="44"/>
                  </a:lnTo>
                  <a:lnTo>
                    <a:pt x="1373" y="57"/>
                  </a:lnTo>
                  <a:lnTo>
                    <a:pt x="1399" y="71"/>
                  </a:lnTo>
                  <a:lnTo>
                    <a:pt x="1424" y="87"/>
                  </a:lnTo>
                  <a:lnTo>
                    <a:pt x="1449" y="104"/>
                  </a:lnTo>
                  <a:lnTo>
                    <a:pt x="1472" y="123"/>
                  </a:lnTo>
                  <a:lnTo>
                    <a:pt x="1493" y="143"/>
                  </a:lnTo>
                  <a:lnTo>
                    <a:pt x="1514" y="164"/>
                  </a:lnTo>
                  <a:lnTo>
                    <a:pt x="1533" y="186"/>
                  </a:lnTo>
                  <a:lnTo>
                    <a:pt x="1551" y="209"/>
                  </a:lnTo>
                  <a:lnTo>
                    <a:pt x="1568" y="233"/>
                  </a:lnTo>
                  <a:lnTo>
                    <a:pt x="1583" y="259"/>
                  </a:lnTo>
                  <a:lnTo>
                    <a:pt x="1598" y="286"/>
                  </a:lnTo>
                  <a:lnTo>
                    <a:pt x="1611" y="313"/>
                  </a:lnTo>
                  <a:lnTo>
                    <a:pt x="1623" y="340"/>
                  </a:lnTo>
                  <a:lnTo>
                    <a:pt x="1634" y="369"/>
                  </a:lnTo>
                  <a:lnTo>
                    <a:pt x="1644" y="398"/>
                  </a:lnTo>
                  <a:lnTo>
                    <a:pt x="1653" y="428"/>
                  </a:lnTo>
                  <a:lnTo>
                    <a:pt x="1661" y="459"/>
                  </a:lnTo>
                  <a:lnTo>
                    <a:pt x="1667" y="490"/>
                  </a:lnTo>
                  <a:lnTo>
                    <a:pt x="1673" y="522"/>
                  </a:lnTo>
                  <a:lnTo>
                    <a:pt x="1677" y="554"/>
                  </a:lnTo>
                  <a:lnTo>
                    <a:pt x="1681" y="587"/>
                  </a:lnTo>
                  <a:lnTo>
                    <a:pt x="1683" y="619"/>
                  </a:lnTo>
                  <a:lnTo>
                    <a:pt x="1685" y="652"/>
                  </a:lnTo>
                  <a:lnTo>
                    <a:pt x="1686" y="685"/>
                  </a:lnTo>
                  <a:lnTo>
                    <a:pt x="1686" y="2137"/>
                  </a:lnTo>
                  <a:lnTo>
                    <a:pt x="1194" y="2137"/>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22" name="Freeform 9"/>
            <p:cNvSpPr>
              <a:spLocks/>
            </p:cNvSpPr>
            <p:nvPr userDrawn="1">
              <p:custDataLst>
                <p:tags r:id="rId8"/>
              </p:custDataLst>
            </p:nvPr>
          </p:nvSpPr>
          <p:spPr bwMode="gray">
            <a:xfrm>
              <a:off x="2546350" y="2568575"/>
              <a:ext cx="330200" cy="612775"/>
            </a:xfrm>
            <a:custGeom>
              <a:avLst/>
              <a:gdLst/>
              <a:ahLst/>
              <a:cxnLst>
                <a:cxn ang="0">
                  <a:pos x="895" y="2017"/>
                </a:cxn>
                <a:cxn ang="0">
                  <a:pos x="897" y="2109"/>
                </a:cxn>
                <a:cxn ang="0">
                  <a:pos x="905" y="2195"/>
                </a:cxn>
                <a:cxn ang="0">
                  <a:pos x="911" y="2236"/>
                </a:cxn>
                <a:cxn ang="0">
                  <a:pos x="921" y="2274"/>
                </a:cxn>
                <a:cxn ang="0">
                  <a:pos x="933" y="2311"/>
                </a:cxn>
                <a:cxn ang="0">
                  <a:pos x="948" y="2345"/>
                </a:cxn>
                <a:cxn ang="0">
                  <a:pos x="967" y="2375"/>
                </a:cxn>
                <a:cxn ang="0">
                  <a:pos x="990" y="2403"/>
                </a:cxn>
                <a:cxn ang="0">
                  <a:pos x="1017" y="2426"/>
                </a:cxn>
                <a:cxn ang="0">
                  <a:pos x="1049" y="2447"/>
                </a:cxn>
                <a:cxn ang="0">
                  <a:pos x="1085" y="2463"/>
                </a:cxn>
                <a:cxn ang="0">
                  <a:pos x="1126" y="2475"/>
                </a:cxn>
                <a:cxn ang="0">
                  <a:pos x="1173" y="2482"/>
                </a:cxn>
                <a:cxn ang="0">
                  <a:pos x="1226" y="2484"/>
                </a:cxn>
                <a:cxn ang="0">
                  <a:pos x="1284" y="2482"/>
                </a:cxn>
                <a:cxn ang="0">
                  <a:pos x="1342" y="2474"/>
                </a:cxn>
                <a:cxn ang="0">
                  <a:pos x="1397" y="2464"/>
                </a:cxn>
                <a:cxn ang="0">
                  <a:pos x="1452" y="2452"/>
                </a:cxn>
                <a:cxn ang="0">
                  <a:pos x="1403" y="2805"/>
                </a:cxn>
                <a:cxn ang="0">
                  <a:pos x="1304" y="2816"/>
                </a:cxn>
                <a:cxn ang="0">
                  <a:pos x="1204" y="2825"/>
                </a:cxn>
                <a:cxn ang="0">
                  <a:pos x="1105" y="2830"/>
                </a:cxn>
                <a:cxn ang="0">
                  <a:pos x="1017" y="2830"/>
                </a:cxn>
                <a:cxn ang="0">
                  <a:pos x="941" y="2827"/>
                </a:cxn>
                <a:cxn ang="0">
                  <a:pos x="871" y="2820"/>
                </a:cxn>
                <a:cxn ang="0">
                  <a:pos x="806" y="2809"/>
                </a:cxn>
                <a:cxn ang="0">
                  <a:pos x="746" y="2794"/>
                </a:cxn>
                <a:cxn ang="0">
                  <a:pos x="690" y="2774"/>
                </a:cxn>
                <a:cxn ang="0">
                  <a:pos x="640" y="2750"/>
                </a:cxn>
                <a:cxn ang="0">
                  <a:pos x="594" y="2722"/>
                </a:cxn>
                <a:cxn ang="0">
                  <a:pos x="554" y="2688"/>
                </a:cxn>
                <a:cxn ang="0">
                  <a:pos x="519" y="2649"/>
                </a:cxn>
                <a:cxn ang="0">
                  <a:pos x="488" y="2605"/>
                </a:cxn>
                <a:cxn ang="0">
                  <a:pos x="463" y="2555"/>
                </a:cxn>
                <a:cxn ang="0">
                  <a:pos x="442" y="2500"/>
                </a:cxn>
                <a:cxn ang="0">
                  <a:pos x="427" y="2439"/>
                </a:cxn>
                <a:cxn ang="0">
                  <a:pos x="417" y="2372"/>
                </a:cxn>
                <a:cxn ang="0">
                  <a:pos x="411" y="2298"/>
                </a:cxn>
                <a:cxn ang="0">
                  <a:pos x="411" y="1033"/>
                </a:cxn>
                <a:cxn ang="0">
                  <a:pos x="0" y="694"/>
                </a:cxn>
                <a:cxn ang="0">
                  <a:pos x="411" y="194"/>
                </a:cxn>
                <a:cxn ang="0">
                  <a:pos x="895" y="694"/>
                </a:cxn>
                <a:cxn ang="0">
                  <a:pos x="1516" y="1033"/>
                </a:cxn>
              </a:cxnLst>
              <a:rect l="0" t="0" r="r" b="b"/>
              <a:pathLst>
                <a:path w="1516" h="2831">
                  <a:moveTo>
                    <a:pt x="895" y="1033"/>
                  </a:moveTo>
                  <a:lnTo>
                    <a:pt x="895" y="2017"/>
                  </a:lnTo>
                  <a:lnTo>
                    <a:pt x="895" y="2064"/>
                  </a:lnTo>
                  <a:lnTo>
                    <a:pt x="897" y="2109"/>
                  </a:lnTo>
                  <a:lnTo>
                    <a:pt x="900" y="2153"/>
                  </a:lnTo>
                  <a:lnTo>
                    <a:pt x="905" y="2195"/>
                  </a:lnTo>
                  <a:lnTo>
                    <a:pt x="908" y="2216"/>
                  </a:lnTo>
                  <a:lnTo>
                    <a:pt x="911" y="2236"/>
                  </a:lnTo>
                  <a:lnTo>
                    <a:pt x="916" y="2255"/>
                  </a:lnTo>
                  <a:lnTo>
                    <a:pt x="921" y="2274"/>
                  </a:lnTo>
                  <a:lnTo>
                    <a:pt x="927" y="2294"/>
                  </a:lnTo>
                  <a:lnTo>
                    <a:pt x="933" y="2311"/>
                  </a:lnTo>
                  <a:lnTo>
                    <a:pt x="940" y="2328"/>
                  </a:lnTo>
                  <a:lnTo>
                    <a:pt x="948" y="2345"/>
                  </a:lnTo>
                  <a:lnTo>
                    <a:pt x="957" y="2360"/>
                  </a:lnTo>
                  <a:lnTo>
                    <a:pt x="967" y="2375"/>
                  </a:lnTo>
                  <a:lnTo>
                    <a:pt x="978" y="2389"/>
                  </a:lnTo>
                  <a:lnTo>
                    <a:pt x="990" y="2403"/>
                  </a:lnTo>
                  <a:lnTo>
                    <a:pt x="1002" y="2415"/>
                  </a:lnTo>
                  <a:lnTo>
                    <a:pt x="1017" y="2426"/>
                  </a:lnTo>
                  <a:lnTo>
                    <a:pt x="1032" y="2437"/>
                  </a:lnTo>
                  <a:lnTo>
                    <a:pt x="1049" y="2447"/>
                  </a:lnTo>
                  <a:lnTo>
                    <a:pt x="1066" y="2455"/>
                  </a:lnTo>
                  <a:lnTo>
                    <a:pt x="1085" y="2463"/>
                  </a:lnTo>
                  <a:lnTo>
                    <a:pt x="1105" y="2469"/>
                  </a:lnTo>
                  <a:lnTo>
                    <a:pt x="1126" y="2475"/>
                  </a:lnTo>
                  <a:lnTo>
                    <a:pt x="1149" y="2479"/>
                  </a:lnTo>
                  <a:lnTo>
                    <a:pt x="1173" y="2482"/>
                  </a:lnTo>
                  <a:lnTo>
                    <a:pt x="1198" y="2484"/>
                  </a:lnTo>
                  <a:lnTo>
                    <a:pt x="1226" y="2484"/>
                  </a:lnTo>
                  <a:lnTo>
                    <a:pt x="1255" y="2484"/>
                  </a:lnTo>
                  <a:lnTo>
                    <a:pt x="1284" y="2482"/>
                  </a:lnTo>
                  <a:lnTo>
                    <a:pt x="1314" y="2478"/>
                  </a:lnTo>
                  <a:lnTo>
                    <a:pt x="1342" y="2474"/>
                  </a:lnTo>
                  <a:lnTo>
                    <a:pt x="1370" y="2469"/>
                  </a:lnTo>
                  <a:lnTo>
                    <a:pt x="1397" y="2464"/>
                  </a:lnTo>
                  <a:lnTo>
                    <a:pt x="1424" y="2458"/>
                  </a:lnTo>
                  <a:lnTo>
                    <a:pt x="1452" y="2452"/>
                  </a:lnTo>
                  <a:lnTo>
                    <a:pt x="1452" y="2799"/>
                  </a:lnTo>
                  <a:lnTo>
                    <a:pt x="1403" y="2805"/>
                  </a:lnTo>
                  <a:lnTo>
                    <a:pt x="1354" y="2811"/>
                  </a:lnTo>
                  <a:lnTo>
                    <a:pt x="1304" y="2816"/>
                  </a:lnTo>
                  <a:lnTo>
                    <a:pt x="1254" y="2821"/>
                  </a:lnTo>
                  <a:lnTo>
                    <a:pt x="1204" y="2825"/>
                  </a:lnTo>
                  <a:lnTo>
                    <a:pt x="1154" y="2828"/>
                  </a:lnTo>
                  <a:lnTo>
                    <a:pt x="1105" y="2830"/>
                  </a:lnTo>
                  <a:lnTo>
                    <a:pt x="1057" y="2831"/>
                  </a:lnTo>
                  <a:lnTo>
                    <a:pt x="1017" y="2830"/>
                  </a:lnTo>
                  <a:lnTo>
                    <a:pt x="978" y="2829"/>
                  </a:lnTo>
                  <a:lnTo>
                    <a:pt x="941" y="2827"/>
                  </a:lnTo>
                  <a:lnTo>
                    <a:pt x="906" y="2824"/>
                  </a:lnTo>
                  <a:lnTo>
                    <a:pt x="871" y="2820"/>
                  </a:lnTo>
                  <a:lnTo>
                    <a:pt x="838" y="2815"/>
                  </a:lnTo>
                  <a:lnTo>
                    <a:pt x="806" y="2809"/>
                  </a:lnTo>
                  <a:lnTo>
                    <a:pt x="776" y="2802"/>
                  </a:lnTo>
                  <a:lnTo>
                    <a:pt x="746" y="2794"/>
                  </a:lnTo>
                  <a:lnTo>
                    <a:pt x="717" y="2784"/>
                  </a:lnTo>
                  <a:lnTo>
                    <a:pt x="690" y="2774"/>
                  </a:lnTo>
                  <a:lnTo>
                    <a:pt x="664" y="2763"/>
                  </a:lnTo>
                  <a:lnTo>
                    <a:pt x="640" y="2750"/>
                  </a:lnTo>
                  <a:lnTo>
                    <a:pt x="616" y="2736"/>
                  </a:lnTo>
                  <a:lnTo>
                    <a:pt x="594" y="2722"/>
                  </a:lnTo>
                  <a:lnTo>
                    <a:pt x="574" y="2705"/>
                  </a:lnTo>
                  <a:lnTo>
                    <a:pt x="554" y="2688"/>
                  </a:lnTo>
                  <a:lnTo>
                    <a:pt x="536" y="2669"/>
                  </a:lnTo>
                  <a:lnTo>
                    <a:pt x="519" y="2649"/>
                  </a:lnTo>
                  <a:lnTo>
                    <a:pt x="503" y="2628"/>
                  </a:lnTo>
                  <a:lnTo>
                    <a:pt x="488" y="2605"/>
                  </a:lnTo>
                  <a:lnTo>
                    <a:pt x="475" y="2581"/>
                  </a:lnTo>
                  <a:lnTo>
                    <a:pt x="463" y="2555"/>
                  </a:lnTo>
                  <a:lnTo>
                    <a:pt x="451" y="2528"/>
                  </a:lnTo>
                  <a:lnTo>
                    <a:pt x="442" y="2500"/>
                  </a:lnTo>
                  <a:lnTo>
                    <a:pt x="434" y="2470"/>
                  </a:lnTo>
                  <a:lnTo>
                    <a:pt x="427" y="2439"/>
                  </a:lnTo>
                  <a:lnTo>
                    <a:pt x="421" y="2406"/>
                  </a:lnTo>
                  <a:lnTo>
                    <a:pt x="417" y="2372"/>
                  </a:lnTo>
                  <a:lnTo>
                    <a:pt x="413" y="2336"/>
                  </a:lnTo>
                  <a:lnTo>
                    <a:pt x="411" y="2298"/>
                  </a:lnTo>
                  <a:lnTo>
                    <a:pt x="411" y="2258"/>
                  </a:lnTo>
                  <a:lnTo>
                    <a:pt x="411" y="1033"/>
                  </a:lnTo>
                  <a:lnTo>
                    <a:pt x="0" y="1033"/>
                  </a:lnTo>
                  <a:lnTo>
                    <a:pt x="0" y="694"/>
                  </a:lnTo>
                  <a:lnTo>
                    <a:pt x="411" y="694"/>
                  </a:lnTo>
                  <a:lnTo>
                    <a:pt x="411" y="194"/>
                  </a:lnTo>
                  <a:lnTo>
                    <a:pt x="895" y="0"/>
                  </a:lnTo>
                  <a:lnTo>
                    <a:pt x="895" y="694"/>
                  </a:lnTo>
                  <a:lnTo>
                    <a:pt x="1516" y="694"/>
                  </a:lnTo>
                  <a:lnTo>
                    <a:pt x="1516" y="1033"/>
                  </a:lnTo>
                  <a:lnTo>
                    <a:pt x="895" y="1033"/>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23" name="Freeform 10"/>
            <p:cNvSpPr>
              <a:spLocks/>
            </p:cNvSpPr>
            <p:nvPr userDrawn="1">
              <p:custDataLst>
                <p:tags r:id="rId9"/>
              </p:custDataLst>
            </p:nvPr>
          </p:nvSpPr>
          <p:spPr bwMode="gray">
            <a:xfrm>
              <a:off x="2921000" y="2720975"/>
              <a:ext cx="366713" cy="460375"/>
            </a:xfrm>
            <a:custGeom>
              <a:avLst/>
              <a:gdLst/>
              <a:ahLst/>
              <a:cxnLst>
                <a:cxn ang="0">
                  <a:pos x="1185" y="1702"/>
                </a:cxn>
                <a:cxn ang="0">
                  <a:pos x="1151" y="1772"/>
                </a:cxn>
                <a:cxn ang="0">
                  <a:pos x="1112" y="1838"/>
                </a:cxn>
                <a:cxn ang="0">
                  <a:pos x="1067" y="1899"/>
                </a:cxn>
                <a:cxn ang="0">
                  <a:pos x="1018" y="1953"/>
                </a:cxn>
                <a:cxn ang="0">
                  <a:pos x="964" y="2002"/>
                </a:cxn>
                <a:cxn ang="0">
                  <a:pos x="904" y="2043"/>
                </a:cxn>
                <a:cxn ang="0">
                  <a:pos x="840" y="2078"/>
                </a:cxn>
                <a:cxn ang="0">
                  <a:pos x="772" y="2105"/>
                </a:cxn>
                <a:cxn ang="0">
                  <a:pos x="698" y="2124"/>
                </a:cxn>
                <a:cxn ang="0">
                  <a:pos x="619" y="2135"/>
                </a:cxn>
                <a:cxn ang="0">
                  <a:pos x="528" y="2136"/>
                </a:cxn>
                <a:cxn ang="0">
                  <a:pos x="427" y="2122"/>
                </a:cxn>
                <a:cxn ang="0">
                  <a:pos x="337" y="2093"/>
                </a:cxn>
                <a:cxn ang="0">
                  <a:pos x="258" y="2050"/>
                </a:cxn>
                <a:cxn ang="0">
                  <a:pos x="191" y="1994"/>
                </a:cxn>
                <a:cxn ang="0">
                  <a:pos x="134" y="1928"/>
                </a:cxn>
                <a:cxn ang="0">
                  <a:pos x="87" y="1851"/>
                </a:cxn>
                <a:cxn ang="0">
                  <a:pos x="51" y="1768"/>
                </a:cxn>
                <a:cxn ang="0">
                  <a:pos x="25" y="1678"/>
                </a:cxn>
                <a:cxn ang="0">
                  <a:pos x="8" y="1583"/>
                </a:cxn>
                <a:cxn ang="0">
                  <a:pos x="0" y="1485"/>
                </a:cxn>
                <a:cxn ang="0">
                  <a:pos x="492" y="0"/>
                </a:cxn>
                <a:cxn ang="0">
                  <a:pos x="491" y="1293"/>
                </a:cxn>
                <a:cxn ang="0">
                  <a:pos x="493" y="1391"/>
                </a:cxn>
                <a:cxn ang="0">
                  <a:pos x="503" y="1490"/>
                </a:cxn>
                <a:cxn ang="0">
                  <a:pos x="520" y="1564"/>
                </a:cxn>
                <a:cxn ang="0">
                  <a:pos x="536" y="1602"/>
                </a:cxn>
                <a:cxn ang="0">
                  <a:pos x="556" y="1630"/>
                </a:cxn>
                <a:cxn ang="0">
                  <a:pos x="577" y="1651"/>
                </a:cxn>
                <a:cxn ang="0">
                  <a:pos x="600" y="1665"/>
                </a:cxn>
                <a:cxn ang="0">
                  <a:pos x="627" y="1673"/>
                </a:cxn>
                <a:cxn ang="0">
                  <a:pos x="683" y="1678"/>
                </a:cxn>
                <a:cxn ang="0">
                  <a:pos x="766" y="1672"/>
                </a:cxn>
                <a:cxn ang="0">
                  <a:pos x="852" y="1645"/>
                </a:cxn>
                <a:cxn ang="0">
                  <a:pos x="928" y="1597"/>
                </a:cxn>
                <a:cxn ang="0">
                  <a:pos x="994" y="1531"/>
                </a:cxn>
                <a:cxn ang="0">
                  <a:pos x="1049" y="1454"/>
                </a:cxn>
                <a:cxn ang="0">
                  <a:pos x="1095" y="1367"/>
                </a:cxn>
                <a:cxn ang="0">
                  <a:pos x="1131" y="1272"/>
                </a:cxn>
                <a:cxn ang="0">
                  <a:pos x="1159" y="1176"/>
                </a:cxn>
                <a:cxn ang="0">
                  <a:pos x="1178" y="1080"/>
                </a:cxn>
                <a:cxn ang="0">
                  <a:pos x="1189" y="987"/>
                </a:cxn>
                <a:cxn ang="0">
                  <a:pos x="1193" y="903"/>
                </a:cxn>
                <a:cxn ang="0">
                  <a:pos x="1685" y="2089"/>
                </a:cxn>
              </a:cxnLst>
              <a:rect l="0" t="0" r="r" b="b"/>
              <a:pathLst>
                <a:path w="1685" h="2137">
                  <a:moveTo>
                    <a:pt x="1193" y="2089"/>
                  </a:moveTo>
                  <a:lnTo>
                    <a:pt x="1193" y="1702"/>
                  </a:lnTo>
                  <a:lnTo>
                    <a:pt x="1185" y="1702"/>
                  </a:lnTo>
                  <a:lnTo>
                    <a:pt x="1174" y="1726"/>
                  </a:lnTo>
                  <a:lnTo>
                    <a:pt x="1163" y="1749"/>
                  </a:lnTo>
                  <a:lnTo>
                    <a:pt x="1151" y="1772"/>
                  </a:lnTo>
                  <a:lnTo>
                    <a:pt x="1138" y="1794"/>
                  </a:lnTo>
                  <a:lnTo>
                    <a:pt x="1125" y="1816"/>
                  </a:lnTo>
                  <a:lnTo>
                    <a:pt x="1112" y="1838"/>
                  </a:lnTo>
                  <a:lnTo>
                    <a:pt x="1097" y="1858"/>
                  </a:lnTo>
                  <a:lnTo>
                    <a:pt x="1083" y="1879"/>
                  </a:lnTo>
                  <a:lnTo>
                    <a:pt x="1067" y="1899"/>
                  </a:lnTo>
                  <a:lnTo>
                    <a:pt x="1052" y="1918"/>
                  </a:lnTo>
                  <a:lnTo>
                    <a:pt x="1035" y="1936"/>
                  </a:lnTo>
                  <a:lnTo>
                    <a:pt x="1018" y="1953"/>
                  </a:lnTo>
                  <a:lnTo>
                    <a:pt x="1001" y="1970"/>
                  </a:lnTo>
                  <a:lnTo>
                    <a:pt x="983" y="1986"/>
                  </a:lnTo>
                  <a:lnTo>
                    <a:pt x="964" y="2002"/>
                  </a:lnTo>
                  <a:lnTo>
                    <a:pt x="945" y="2016"/>
                  </a:lnTo>
                  <a:lnTo>
                    <a:pt x="924" y="2030"/>
                  </a:lnTo>
                  <a:lnTo>
                    <a:pt x="904" y="2043"/>
                  </a:lnTo>
                  <a:lnTo>
                    <a:pt x="883" y="2056"/>
                  </a:lnTo>
                  <a:lnTo>
                    <a:pt x="862" y="2067"/>
                  </a:lnTo>
                  <a:lnTo>
                    <a:pt x="840" y="2078"/>
                  </a:lnTo>
                  <a:lnTo>
                    <a:pt x="818" y="2088"/>
                  </a:lnTo>
                  <a:lnTo>
                    <a:pt x="795" y="2097"/>
                  </a:lnTo>
                  <a:lnTo>
                    <a:pt x="772" y="2105"/>
                  </a:lnTo>
                  <a:lnTo>
                    <a:pt x="748" y="2113"/>
                  </a:lnTo>
                  <a:lnTo>
                    <a:pt x="723" y="2119"/>
                  </a:lnTo>
                  <a:lnTo>
                    <a:pt x="698" y="2124"/>
                  </a:lnTo>
                  <a:lnTo>
                    <a:pt x="673" y="2129"/>
                  </a:lnTo>
                  <a:lnTo>
                    <a:pt x="646" y="2132"/>
                  </a:lnTo>
                  <a:lnTo>
                    <a:pt x="619" y="2135"/>
                  </a:lnTo>
                  <a:lnTo>
                    <a:pt x="592" y="2136"/>
                  </a:lnTo>
                  <a:lnTo>
                    <a:pt x="564" y="2137"/>
                  </a:lnTo>
                  <a:lnTo>
                    <a:pt x="528" y="2136"/>
                  </a:lnTo>
                  <a:lnTo>
                    <a:pt x="493" y="2133"/>
                  </a:lnTo>
                  <a:lnTo>
                    <a:pt x="459" y="2128"/>
                  </a:lnTo>
                  <a:lnTo>
                    <a:pt x="427" y="2122"/>
                  </a:lnTo>
                  <a:lnTo>
                    <a:pt x="396" y="2114"/>
                  </a:lnTo>
                  <a:lnTo>
                    <a:pt x="365" y="2104"/>
                  </a:lnTo>
                  <a:lnTo>
                    <a:pt x="337" y="2093"/>
                  </a:lnTo>
                  <a:lnTo>
                    <a:pt x="309" y="2080"/>
                  </a:lnTo>
                  <a:lnTo>
                    <a:pt x="283" y="2066"/>
                  </a:lnTo>
                  <a:lnTo>
                    <a:pt x="258" y="2050"/>
                  </a:lnTo>
                  <a:lnTo>
                    <a:pt x="235" y="2033"/>
                  </a:lnTo>
                  <a:lnTo>
                    <a:pt x="212" y="2014"/>
                  </a:lnTo>
                  <a:lnTo>
                    <a:pt x="191" y="1994"/>
                  </a:lnTo>
                  <a:lnTo>
                    <a:pt x="171" y="1973"/>
                  </a:lnTo>
                  <a:lnTo>
                    <a:pt x="152" y="1951"/>
                  </a:lnTo>
                  <a:lnTo>
                    <a:pt x="134" y="1928"/>
                  </a:lnTo>
                  <a:lnTo>
                    <a:pt x="118" y="1904"/>
                  </a:lnTo>
                  <a:lnTo>
                    <a:pt x="101" y="1879"/>
                  </a:lnTo>
                  <a:lnTo>
                    <a:pt x="87" y="1851"/>
                  </a:lnTo>
                  <a:lnTo>
                    <a:pt x="74" y="1824"/>
                  </a:lnTo>
                  <a:lnTo>
                    <a:pt x="62" y="1797"/>
                  </a:lnTo>
                  <a:lnTo>
                    <a:pt x="51" y="1768"/>
                  </a:lnTo>
                  <a:lnTo>
                    <a:pt x="41" y="1739"/>
                  </a:lnTo>
                  <a:lnTo>
                    <a:pt x="32" y="1709"/>
                  </a:lnTo>
                  <a:lnTo>
                    <a:pt x="25" y="1678"/>
                  </a:lnTo>
                  <a:lnTo>
                    <a:pt x="18" y="1647"/>
                  </a:lnTo>
                  <a:lnTo>
                    <a:pt x="12" y="1616"/>
                  </a:lnTo>
                  <a:lnTo>
                    <a:pt x="8" y="1583"/>
                  </a:lnTo>
                  <a:lnTo>
                    <a:pt x="4" y="1550"/>
                  </a:lnTo>
                  <a:lnTo>
                    <a:pt x="2" y="1518"/>
                  </a:lnTo>
                  <a:lnTo>
                    <a:pt x="0" y="1485"/>
                  </a:lnTo>
                  <a:lnTo>
                    <a:pt x="0" y="1452"/>
                  </a:lnTo>
                  <a:lnTo>
                    <a:pt x="0" y="0"/>
                  </a:lnTo>
                  <a:lnTo>
                    <a:pt x="492" y="0"/>
                  </a:lnTo>
                  <a:lnTo>
                    <a:pt x="492" y="1194"/>
                  </a:lnTo>
                  <a:lnTo>
                    <a:pt x="491" y="1237"/>
                  </a:lnTo>
                  <a:lnTo>
                    <a:pt x="491" y="1293"/>
                  </a:lnTo>
                  <a:lnTo>
                    <a:pt x="491" y="1325"/>
                  </a:lnTo>
                  <a:lnTo>
                    <a:pt x="492" y="1358"/>
                  </a:lnTo>
                  <a:lnTo>
                    <a:pt x="493" y="1391"/>
                  </a:lnTo>
                  <a:lnTo>
                    <a:pt x="495" y="1425"/>
                  </a:lnTo>
                  <a:lnTo>
                    <a:pt x="498" y="1458"/>
                  </a:lnTo>
                  <a:lnTo>
                    <a:pt x="503" y="1490"/>
                  </a:lnTo>
                  <a:lnTo>
                    <a:pt x="508" y="1521"/>
                  </a:lnTo>
                  <a:lnTo>
                    <a:pt x="516" y="1551"/>
                  </a:lnTo>
                  <a:lnTo>
                    <a:pt x="520" y="1564"/>
                  </a:lnTo>
                  <a:lnTo>
                    <a:pt x="525" y="1577"/>
                  </a:lnTo>
                  <a:lnTo>
                    <a:pt x="530" y="1591"/>
                  </a:lnTo>
                  <a:lnTo>
                    <a:pt x="536" y="1602"/>
                  </a:lnTo>
                  <a:lnTo>
                    <a:pt x="542" y="1612"/>
                  </a:lnTo>
                  <a:lnTo>
                    <a:pt x="549" y="1622"/>
                  </a:lnTo>
                  <a:lnTo>
                    <a:pt x="556" y="1630"/>
                  </a:lnTo>
                  <a:lnTo>
                    <a:pt x="564" y="1638"/>
                  </a:lnTo>
                  <a:lnTo>
                    <a:pt x="571" y="1645"/>
                  </a:lnTo>
                  <a:lnTo>
                    <a:pt x="577" y="1651"/>
                  </a:lnTo>
                  <a:lnTo>
                    <a:pt x="585" y="1656"/>
                  </a:lnTo>
                  <a:lnTo>
                    <a:pt x="592" y="1661"/>
                  </a:lnTo>
                  <a:lnTo>
                    <a:pt x="600" y="1665"/>
                  </a:lnTo>
                  <a:lnTo>
                    <a:pt x="609" y="1668"/>
                  </a:lnTo>
                  <a:lnTo>
                    <a:pt x="618" y="1671"/>
                  </a:lnTo>
                  <a:lnTo>
                    <a:pt x="627" y="1673"/>
                  </a:lnTo>
                  <a:lnTo>
                    <a:pt x="645" y="1676"/>
                  </a:lnTo>
                  <a:lnTo>
                    <a:pt x="665" y="1677"/>
                  </a:lnTo>
                  <a:lnTo>
                    <a:pt x="683" y="1678"/>
                  </a:lnTo>
                  <a:lnTo>
                    <a:pt x="702" y="1678"/>
                  </a:lnTo>
                  <a:lnTo>
                    <a:pt x="734" y="1676"/>
                  </a:lnTo>
                  <a:lnTo>
                    <a:pt x="766" y="1672"/>
                  </a:lnTo>
                  <a:lnTo>
                    <a:pt x="796" y="1665"/>
                  </a:lnTo>
                  <a:lnTo>
                    <a:pt x="824" y="1656"/>
                  </a:lnTo>
                  <a:lnTo>
                    <a:pt x="852" y="1645"/>
                  </a:lnTo>
                  <a:lnTo>
                    <a:pt x="878" y="1631"/>
                  </a:lnTo>
                  <a:lnTo>
                    <a:pt x="904" y="1615"/>
                  </a:lnTo>
                  <a:lnTo>
                    <a:pt x="928" y="1597"/>
                  </a:lnTo>
                  <a:lnTo>
                    <a:pt x="952" y="1576"/>
                  </a:lnTo>
                  <a:lnTo>
                    <a:pt x="973" y="1555"/>
                  </a:lnTo>
                  <a:lnTo>
                    <a:pt x="994" y="1531"/>
                  </a:lnTo>
                  <a:lnTo>
                    <a:pt x="1013" y="1507"/>
                  </a:lnTo>
                  <a:lnTo>
                    <a:pt x="1032" y="1481"/>
                  </a:lnTo>
                  <a:lnTo>
                    <a:pt x="1049" y="1454"/>
                  </a:lnTo>
                  <a:lnTo>
                    <a:pt x="1065" y="1426"/>
                  </a:lnTo>
                  <a:lnTo>
                    <a:pt x="1081" y="1397"/>
                  </a:lnTo>
                  <a:lnTo>
                    <a:pt x="1095" y="1367"/>
                  </a:lnTo>
                  <a:lnTo>
                    <a:pt x="1108" y="1336"/>
                  </a:lnTo>
                  <a:lnTo>
                    <a:pt x="1120" y="1304"/>
                  </a:lnTo>
                  <a:lnTo>
                    <a:pt x="1131" y="1272"/>
                  </a:lnTo>
                  <a:lnTo>
                    <a:pt x="1141" y="1240"/>
                  </a:lnTo>
                  <a:lnTo>
                    <a:pt x="1151" y="1208"/>
                  </a:lnTo>
                  <a:lnTo>
                    <a:pt x="1159" y="1176"/>
                  </a:lnTo>
                  <a:lnTo>
                    <a:pt x="1166" y="1143"/>
                  </a:lnTo>
                  <a:lnTo>
                    <a:pt x="1173" y="1112"/>
                  </a:lnTo>
                  <a:lnTo>
                    <a:pt x="1178" y="1080"/>
                  </a:lnTo>
                  <a:lnTo>
                    <a:pt x="1183" y="1049"/>
                  </a:lnTo>
                  <a:lnTo>
                    <a:pt x="1187" y="1017"/>
                  </a:lnTo>
                  <a:lnTo>
                    <a:pt x="1189" y="987"/>
                  </a:lnTo>
                  <a:lnTo>
                    <a:pt x="1192" y="958"/>
                  </a:lnTo>
                  <a:lnTo>
                    <a:pt x="1193" y="930"/>
                  </a:lnTo>
                  <a:lnTo>
                    <a:pt x="1193" y="903"/>
                  </a:lnTo>
                  <a:lnTo>
                    <a:pt x="1193" y="0"/>
                  </a:lnTo>
                  <a:lnTo>
                    <a:pt x="1685" y="0"/>
                  </a:lnTo>
                  <a:lnTo>
                    <a:pt x="1685" y="2089"/>
                  </a:lnTo>
                  <a:lnTo>
                    <a:pt x="1193" y="2089"/>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24" name="Freeform 11"/>
            <p:cNvSpPr>
              <a:spLocks/>
            </p:cNvSpPr>
            <p:nvPr userDrawn="1">
              <p:custDataLst>
                <p:tags r:id="rId10"/>
              </p:custDataLst>
            </p:nvPr>
          </p:nvSpPr>
          <p:spPr bwMode="gray">
            <a:xfrm>
              <a:off x="3354388" y="2708275"/>
              <a:ext cx="250825" cy="463550"/>
            </a:xfrm>
            <a:custGeom>
              <a:avLst/>
              <a:gdLst/>
              <a:ahLst/>
              <a:cxnLst>
                <a:cxn ang="0">
                  <a:pos x="484" y="2137"/>
                </a:cxn>
                <a:cxn ang="0">
                  <a:pos x="0" y="48"/>
                </a:cxn>
                <a:cxn ang="0">
                  <a:pos x="484" y="435"/>
                </a:cxn>
                <a:cxn ang="0">
                  <a:pos x="523" y="382"/>
                </a:cxn>
                <a:cxn ang="0">
                  <a:pos x="571" y="310"/>
                </a:cxn>
                <a:cxn ang="0">
                  <a:pos x="603" y="266"/>
                </a:cxn>
                <a:cxn ang="0">
                  <a:pos x="638" y="224"/>
                </a:cxn>
                <a:cxn ang="0">
                  <a:pos x="672" y="187"/>
                </a:cxn>
                <a:cxn ang="0">
                  <a:pos x="707" y="153"/>
                </a:cxn>
                <a:cxn ang="0">
                  <a:pos x="745" y="122"/>
                </a:cxn>
                <a:cxn ang="0">
                  <a:pos x="784" y="95"/>
                </a:cxn>
                <a:cxn ang="0">
                  <a:pos x="825" y="72"/>
                </a:cxn>
                <a:cxn ang="0">
                  <a:pos x="869" y="51"/>
                </a:cxn>
                <a:cxn ang="0">
                  <a:pos x="917" y="34"/>
                </a:cxn>
                <a:cxn ang="0">
                  <a:pos x="967" y="21"/>
                </a:cxn>
                <a:cxn ang="0">
                  <a:pos x="1020" y="11"/>
                </a:cxn>
                <a:cxn ang="0">
                  <a:pos x="1076" y="4"/>
                </a:cxn>
                <a:cxn ang="0">
                  <a:pos x="1137" y="0"/>
                </a:cxn>
                <a:cxn ang="0">
                  <a:pos x="1170" y="507"/>
                </a:cxn>
                <a:cxn ang="0">
                  <a:pos x="1079" y="510"/>
                </a:cxn>
                <a:cxn ang="0">
                  <a:pos x="997" y="519"/>
                </a:cxn>
                <a:cxn ang="0">
                  <a:pos x="921" y="532"/>
                </a:cxn>
                <a:cxn ang="0">
                  <a:pos x="851" y="550"/>
                </a:cxn>
                <a:cxn ang="0">
                  <a:pos x="789" y="574"/>
                </a:cxn>
                <a:cxn ang="0">
                  <a:pos x="733" y="603"/>
                </a:cxn>
                <a:cxn ang="0">
                  <a:pos x="683" y="638"/>
                </a:cxn>
                <a:cxn ang="0">
                  <a:pos x="640" y="678"/>
                </a:cxn>
                <a:cxn ang="0">
                  <a:pos x="601" y="724"/>
                </a:cxn>
                <a:cxn ang="0">
                  <a:pos x="569" y="776"/>
                </a:cxn>
                <a:cxn ang="0">
                  <a:pos x="542" y="835"/>
                </a:cxn>
                <a:cxn ang="0">
                  <a:pos x="521" y="899"/>
                </a:cxn>
                <a:cxn ang="0">
                  <a:pos x="504" y="969"/>
                </a:cxn>
                <a:cxn ang="0">
                  <a:pos x="493" y="1045"/>
                </a:cxn>
                <a:cxn ang="0">
                  <a:pos x="486" y="1129"/>
                </a:cxn>
                <a:cxn ang="0">
                  <a:pos x="484" y="1217"/>
                </a:cxn>
              </a:cxnLst>
              <a:rect l="0" t="0" r="r" b="b"/>
              <a:pathLst>
                <a:path w="1170" h="2137">
                  <a:moveTo>
                    <a:pt x="484" y="1217"/>
                  </a:moveTo>
                  <a:lnTo>
                    <a:pt x="484" y="2137"/>
                  </a:lnTo>
                  <a:lnTo>
                    <a:pt x="0" y="2137"/>
                  </a:lnTo>
                  <a:lnTo>
                    <a:pt x="0" y="48"/>
                  </a:lnTo>
                  <a:lnTo>
                    <a:pt x="484" y="48"/>
                  </a:lnTo>
                  <a:lnTo>
                    <a:pt x="484" y="435"/>
                  </a:lnTo>
                  <a:lnTo>
                    <a:pt x="492" y="435"/>
                  </a:lnTo>
                  <a:lnTo>
                    <a:pt x="523" y="382"/>
                  </a:lnTo>
                  <a:lnTo>
                    <a:pt x="555" y="333"/>
                  </a:lnTo>
                  <a:lnTo>
                    <a:pt x="571" y="310"/>
                  </a:lnTo>
                  <a:lnTo>
                    <a:pt x="587" y="287"/>
                  </a:lnTo>
                  <a:lnTo>
                    <a:pt x="603" y="266"/>
                  </a:lnTo>
                  <a:lnTo>
                    <a:pt x="621" y="245"/>
                  </a:lnTo>
                  <a:lnTo>
                    <a:pt x="638" y="224"/>
                  </a:lnTo>
                  <a:lnTo>
                    <a:pt x="655" y="205"/>
                  </a:lnTo>
                  <a:lnTo>
                    <a:pt x="672" y="187"/>
                  </a:lnTo>
                  <a:lnTo>
                    <a:pt x="690" y="170"/>
                  </a:lnTo>
                  <a:lnTo>
                    <a:pt x="707" y="153"/>
                  </a:lnTo>
                  <a:lnTo>
                    <a:pt x="726" y="137"/>
                  </a:lnTo>
                  <a:lnTo>
                    <a:pt x="745" y="122"/>
                  </a:lnTo>
                  <a:lnTo>
                    <a:pt x="764" y="108"/>
                  </a:lnTo>
                  <a:lnTo>
                    <a:pt x="784" y="95"/>
                  </a:lnTo>
                  <a:lnTo>
                    <a:pt x="804" y="83"/>
                  </a:lnTo>
                  <a:lnTo>
                    <a:pt x="825" y="72"/>
                  </a:lnTo>
                  <a:lnTo>
                    <a:pt x="847" y="61"/>
                  </a:lnTo>
                  <a:lnTo>
                    <a:pt x="869" y="51"/>
                  </a:lnTo>
                  <a:lnTo>
                    <a:pt x="893" y="42"/>
                  </a:lnTo>
                  <a:lnTo>
                    <a:pt x="917" y="34"/>
                  </a:lnTo>
                  <a:lnTo>
                    <a:pt x="941" y="27"/>
                  </a:lnTo>
                  <a:lnTo>
                    <a:pt x="967" y="21"/>
                  </a:lnTo>
                  <a:lnTo>
                    <a:pt x="993" y="15"/>
                  </a:lnTo>
                  <a:lnTo>
                    <a:pt x="1020" y="11"/>
                  </a:lnTo>
                  <a:lnTo>
                    <a:pt x="1048" y="7"/>
                  </a:lnTo>
                  <a:lnTo>
                    <a:pt x="1076" y="4"/>
                  </a:lnTo>
                  <a:lnTo>
                    <a:pt x="1106" y="2"/>
                  </a:lnTo>
                  <a:lnTo>
                    <a:pt x="1137" y="0"/>
                  </a:lnTo>
                  <a:lnTo>
                    <a:pt x="1170" y="0"/>
                  </a:lnTo>
                  <a:lnTo>
                    <a:pt x="1170" y="507"/>
                  </a:lnTo>
                  <a:lnTo>
                    <a:pt x="1123" y="508"/>
                  </a:lnTo>
                  <a:lnTo>
                    <a:pt x="1079" y="510"/>
                  </a:lnTo>
                  <a:lnTo>
                    <a:pt x="1037" y="513"/>
                  </a:lnTo>
                  <a:lnTo>
                    <a:pt x="997" y="519"/>
                  </a:lnTo>
                  <a:lnTo>
                    <a:pt x="958" y="524"/>
                  </a:lnTo>
                  <a:lnTo>
                    <a:pt x="921" y="532"/>
                  </a:lnTo>
                  <a:lnTo>
                    <a:pt x="886" y="540"/>
                  </a:lnTo>
                  <a:lnTo>
                    <a:pt x="851" y="550"/>
                  </a:lnTo>
                  <a:lnTo>
                    <a:pt x="819" y="561"/>
                  </a:lnTo>
                  <a:lnTo>
                    <a:pt x="789" y="574"/>
                  </a:lnTo>
                  <a:lnTo>
                    <a:pt x="760" y="588"/>
                  </a:lnTo>
                  <a:lnTo>
                    <a:pt x="733" y="603"/>
                  </a:lnTo>
                  <a:lnTo>
                    <a:pt x="707" y="620"/>
                  </a:lnTo>
                  <a:lnTo>
                    <a:pt x="683" y="638"/>
                  </a:lnTo>
                  <a:lnTo>
                    <a:pt x="661" y="657"/>
                  </a:lnTo>
                  <a:lnTo>
                    <a:pt x="640" y="678"/>
                  </a:lnTo>
                  <a:lnTo>
                    <a:pt x="620" y="700"/>
                  </a:lnTo>
                  <a:lnTo>
                    <a:pt x="601" y="724"/>
                  </a:lnTo>
                  <a:lnTo>
                    <a:pt x="584" y="750"/>
                  </a:lnTo>
                  <a:lnTo>
                    <a:pt x="569" y="776"/>
                  </a:lnTo>
                  <a:lnTo>
                    <a:pt x="555" y="806"/>
                  </a:lnTo>
                  <a:lnTo>
                    <a:pt x="542" y="835"/>
                  </a:lnTo>
                  <a:lnTo>
                    <a:pt x="531" y="867"/>
                  </a:lnTo>
                  <a:lnTo>
                    <a:pt x="521" y="899"/>
                  </a:lnTo>
                  <a:lnTo>
                    <a:pt x="512" y="933"/>
                  </a:lnTo>
                  <a:lnTo>
                    <a:pt x="504" y="969"/>
                  </a:lnTo>
                  <a:lnTo>
                    <a:pt x="498" y="1007"/>
                  </a:lnTo>
                  <a:lnTo>
                    <a:pt x="493" y="1045"/>
                  </a:lnTo>
                  <a:lnTo>
                    <a:pt x="489" y="1087"/>
                  </a:lnTo>
                  <a:lnTo>
                    <a:pt x="486" y="1129"/>
                  </a:lnTo>
                  <a:lnTo>
                    <a:pt x="484" y="1172"/>
                  </a:lnTo>
                  <a:lnTo>
                    <a:pt x="484" y="1217"/>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25" name="Freeform 12"/>
            <p:cNvSpPr>
              <a:spLocks noEditPoints="1"/>
            </p:cNvSpPr>
            <p:nvPr userDrawn="1">
              <p:custDataLst>
                <p:tags r:id="rId11"/>
              </p:custDataLst>
            </p:nvPr>
          </p:nvSpPr>
          <p:spPr bwMode="gray">
            <a:xfrm>
              <a:off x="3627438" y="2708275"/>
              <a:ext cx="365125" cy="473075"/>
            </a:xfrm>
            <a:custGeom>
              <a:avLst/>
              <a:gdLst/>
              <a:ahLst/>
              <a:cxnLst>
                <a:cxn ang="0">
                  <a:pos x="475" y="631"/>
                </a:cxn>
                <a:cxn ang="0">
                  <a:pos x="496" y="558"/>
                </a:cxn>
                <a:cxn ang="0">
                  <a:pos x="528" y="492"/>
                </a:cxn>
                <a:cxn ang="0">
                  <a:pos x="571" y="434"/>
                </a:cxn>
                <a:cxn ang="0">
                  <a:pos x="623" y="386"/>
                </a:cxn>
                <a:cxn ang="0">
                  <a:pos x="683" y="348"/>
                </a:cxn>
                <a:cxn ang="0">
                  <a:pos x="751" y="322"/>
                </a:cxn>
                <a:cxn ang="0">
                  <a:pos x="825" y="308"/>
                </a:cxn>
                <a:cxn ang="0">
                  <a:pos x="904" y="308"/>
                </a:cxn>
                <a:cxn ang="0">
                  <a:pos x="981" y="320"/>
                </a:cxn>
                <a:cxn ang="0">
                  <a:pos x="1050" y="345"/>
                </a:cxn>
                <a:cxn ang="0">
                  <a:pos x="1108" y="381"/>
                </a:cxn>
                <a:cxn ang="0">
                  <a:pos x="1156" y="427"/>
                </a:cxn>
                <a:cxn ang="0">
                  <a:pos x="1193" y="484"/>
                </a:cxn>
                <a:cxn ang="0">
                  <a:pos x="1219" y="552"/>
                </a:cxn>
                <a:cxn ang="0">
                  <a:pos x="1232" y="628"/>
                </a:cxn>
                <a:cxn ang="0">
                  <a:pos x="1694" y="847"/>
                </a:cxn>
                <a:cxn ang="0">
                  <a:pos x="1682" y="664"/>
                </a:cxn>
                <a:cxn ang="0">
                  <a:pos x="1646" y="499"/>
                </a:cxn>
                <a:cxn ang="0">
                  <a:pos x="1585" y="355"/>
                </a:cxn>
                <a:cxn ang="0">
                  <a:pos x="1498" y="232"/>
                </a:cxn>
                <a:cxn ang="0">
                  <a:pos x="1388" y="133"/>
                </a:cxn>
                <a:cxn ang="0">
                  <a:pos x="1251" y="61"/>
                </a:cxn>
                <a:cxn ang="0">
                  <a:pos x="1091" y="15"/>
                </a:cxn>
                <a:cxn ang="0">
                  <a:pos x="903" y="0"/>
                </a:cxn>
                <a:cxn ang="0">
                  <a:pos x="684" y="18"/>
                </a:cxn>
                <a:cxn ang="0">
                  <a:pos x="497" y="70"/>
                </a:cxn>
                <a:cxn ang="0">
                  <a:pos x="341" y="153"/>
                </a:cxn>
                <a:cxn ang="0">
                  <a:pos x="216" y="268"/>
                </a:cxn>
                <a:cxn ang="0">
                  <a:pos x="120" y="410"/>
                </a:cxn>
                <a:cxn ang="0">
                  <a:pos x="53" y="578"/>
                </a:cxn>
                <a:cxn ang="0">
                  <a:pos x="13" y="770"/>
                </a:cxn>
                <a:cxn ang="0">
                  <a:pos x="0" y="983"/>
                </a:cxn>
                <a:cxn ang="0">
                  <a:pos x="15" y="1232"/>
                </a:cxn>
                <a:cxn ang="0">
                  <a:pos x="61" y="1461"/>
                </a:cxn>
                <a:cxn ang="0">
                  <a:pos x="139" y="1666"/>
                </a:cxn>
                <a:cxn ang="0">
                  <a:pos x="250" y="1841"/>
                </a:cxn>
                <a:cxn ang="0">
                  <a:pos x="396" y="1986"/>
                </a:cxn>
                <a:cxn ang="0">
                  <a:pos x="579" y="2094"/>
                </a:cxn>
                <a:cxn ang="0">
                  <a:pos x="799" y="2161"/>
                </a:cxn>
                <a:cxn ang="0">
                  <a:pos x="1057" y="2185"/>
                </a:cxn>
                <a:cxn ang="0">
                  <a:pos x="1206" y="2180"/>
                </a:cxn>
                <a:cxn ang="0">
                  <a:pos x="1354" y="2166"/>
                </a:cxn>
                <a:cxn ang="0">
                  <a:pos x="1500" y="2141"/>
                </a:cxn>
                <a:cxn ang="0">
                  <a:pos x="1646" y="2105"/>
                </a:cxn>
                <a:cxn ang="0">
                  <a:pos x="1495" y="1807"/>
                </a:cxn>
                <a:cxn ang="0">
                  <a:pos x="1367" y="1830"/>
                </a:cxn>
                <a:cxn ang="0">
                  <a:pos x="1266" y="1838"/>
                </a:cxn>
                <a:cxn ang="0">
                  <a:pos x="1113" y="1827"/>
                </a:cxn>
                <a:cxn ang="0">
                  <a:pos x="954" y="1781"/>
                </a:cxn>
                <a:cxn ang="0">
                  <a:pos x="815" y="1704"/>
                </a:cxn>
                <a:cxn ang="0">
                  <a:pos x="695" y="1599"/>
                </a:cxn>
                <a:cxn ang="0">
                  <a:pos x="597" y="1473"/>
                </a:cxn>
                <a:cxn ang="0">
                  <a:pos x="523" y="1328"/>
                </a:cxn>
                <a:cxn ang="0">
                  <a:pos x="475" y="1173"/>
                </a:cxn>
                <a:cxn ang="0">
                  <a:pos x="453" y="1009"/>
                </a:cxn>
              </a:cxnLst>
              <a:rect l="0" t="0" r="r" b="b"/>
              <a:pathLst>
                <a:path w="1694" h="2185">
                  <a:moveTo>
                    <a:pt x="1234" y="669"/>
                  </a:moveTo>
                  <a:lnTo>
                    <a:pt x="469" y="669"/>
                  </a:lnTo>
                  <a:lnTo>
                    <a:pt x="471" y="650"/>
                  </a:lnTo>
                  <a:lnTo>
                    <a:pt x="475" y="631"/>
                  </a:lnTo>
                  <a:lnTo>
                    <a:pt x="479" y="612"/>
                  </a:lnTo>
                  <a:lnTo>
                    <a:pt x="484" y="593"/>
                  </a:lnTo>
                  <a:lnTo>
                    <a:pt x="489" y="576"/>
                  </a:lnTo>
                  <a:lnTo>
                    <a:pt x="496" y="558"/>
                  </a:lnTo>
                  <a:lnTo>
                    <a:pt x="503" y="541"/>
                  </a:lnTo>
                  <a:lnTo>
                    <a:pt x="511" y="524"/>
                  </a:lnTo>
                  <a:lnTo>
                    <a:pt x="519" y="507"/>
                  </a:lnTo>
                  <a:lnTo>
                    <a:pt x="528" y="492"/>
                  </a:lnTo>
                  <a:lnTo>
                    <a:pt x="538" y="476"/>
                  </a:lnTo>
                  <a:lnTo>
                    <a:pt x="549" y="462"/>
                  </a:lnTo>
                  <a:lnTo>
                    <a:pt x="560" y="448"/>
                  </a:lnTo>
                  <a:lnTo>
                    <a:pt x="571" y="434"/>
                  </a:lnTo>
                  <a:lnTo>
                    <a:pt x="583" y="421"/>
                  </a:lnTo>
                  <a:lnTo>
                    <a:pt x="596" y="409"/>
                  </a:lnTo>
                  <a:lnTo>
                    <a:pt x="609" y="397"/>
                  </a:lnTo>
                  <a:lnTo>
                    <a:pt x="623" y="386"/>
                  </a:lnTo>
                  <a:lnTo>
                    <a:pt x="637" y="376"/>
                  </a:lnTo>
                  <a:lnTo>
                    <a:pt x="652" y="366"/>
                  </a:lnTo>
                  <a:lnTo>
                    <a:pt x="667" y="357"/>
                  </a:lnTo>
                  <a:lnTo>
                    <a:pt x="683" y="348"/>
                  </a:lnTo>
                  <a:lnTo>
                    <a:pt x="699" y="341"/>
                  </a:lnTo>
                  <a:lnTo>
                    <a:pt x="716" y="333"/>
                  </a:lnTo>
                  <a:lnTo>
                    <a:pt x="734" y="327"/>
                  </a:lnTo>
                  <a:lnTo>
                    <a:pt x="751" y="322"/>
                  </a:lnTo>
                  <a:lnTo>
                    <a:pt x="769" y="317"/>
                  </a:lnTo>
                  <a:lnTo>
                    <a:pt x="787" y="313"/>
                  </a:lnTo>
                  <a:lnTo>
                    <a:pt x="806" y="310"/>
                  </a:lnTo>
                  <a:lnTo>
                    <a:pt x="825" y="308"/>
                  </a:lnTo>
                  <a:lnTo>
                    <a:pt x="844" y="307"/>
                  </a:lnTo>
                  <a:lnTo>
                    <a:pt x="863" y="306"/>
                  </a:lnTo>
                  <a:lnTo>
                    <a:pt x="884" y="307"/>
                  </a:lnTo>
                  <a:lnTo>
                    <a:pt x="904" y="308"/>
                  </a:lnTo>
                  <a:lnTo>
                    <a:pt x="924" y="310"/>
                  </a:lnTo>
                  <a:lnTo>
                    <a:pt x="944" y="313"/>
                  </a:lnTo>
                  <a:lnTo>
                    <a:pt x="963" y="316"/>
                  </a:lnTo>
                  <a:lnTo>
                    <a:pt x="981" y="320"/>
                  </a:lnTo>
                  <a:lnTo>
                    <a:pt x="999" y="326"/>
                  </a:lnTo>
                  <a:lnTo>
                    <a:pt x="1017" y="331"/>
                  </a:lnTo>
                  <a:lnTo>
                    <a:pt x="1034" y="338"/>
                  </a:lnTo>
                  <a:lnTo>
                    <a:pt x="1050" y="345"/>
                  </a:lnTo>
                  <a:lnTo>
                    <a:pt x="1065" y="353"/>
                  </a:lnTo>
                  <a:lnTo>
                    <a:pt x="1080" y="361"/>
                  </a:lnTo>
                  <a:lnTo>
                    <a:pt x="1094" y="371"/>
                  </a:lnTo>
                  <a:lnTo>
                    <a:pt x="1108" y="381"/>
                  </a:lnTo>
                  <a:lnTo>
                    <a:pt x="1121" y="391"/>
                  </a:lnTo>
                  <a:lnTo>
                    <a:pt x="1133" y="403"/>
                  </a:lnTo>
                  <a:lnTo>
                    <a:pt x="1145" y="415"/>
                  </a:lnTo>
                  <a:lnTo>
                    <a:pt x="1156" y="427"/>
                  </a:lnTo>
                  <a:lnTo>
                    <a:pt x="1167" y="441"/>
                  </a:lnTo>
                  <a:lnTo>
                    <a:pt x="1176" y="455"/>
                  </a:lnTo>
                  <a:lnTo>
                    <a:pt x="1185" y="469"/>
                  </a:lnTo>
                  <a:lnTo>
                    <a:pt x="1193" y="484"/>
                  </a:lnTo>
                  <a:lnTo>
                    <a:pt x="1201" y="500"/>
                  </a:lnTo>
                  <a:lnTo>
                    <a:pt x="1208" y="517"/>
                  </a:lnTo>
                  <a:lnTo>
                    <a:pt x="1214" y="535"/>
                  </a:lnTo>
                  <a:lnTo>
                    <a:pt x="1219" y="552"/>
                  </a:lnTo>
                  <a:lnTo>
                    <a:pt x="1224" y="570"/>
                  </a:lnTo>
                  <a:lnTo>
                    <a:pt x="1227" y="589"/>
                  </a:lnTo>
                  <a:lnTo>
                    <a:pt x="1230" y="608"/>
                  </a:lnTo>
                  <a:lnTo>
                    <a:pt x="1232" y="628"/>
                  </a:lnTo>
                  <a:lnTo>
                    <a:pt x="1233" y="648"/>
                  </a:lnTo>
                  <a:lnTo>
                    <a:pt x="1234" y="669"/>
                  </a:lnTo>
                  <a:close/>
                  <a:moveTo>
                    <a:pt x="1694" y="967"/>
                  </a:moveTo>
                  <a:lnTo>
                    <a:pt x="1694" y="847"/>
                  </a:lnTo>
                  <a:lnTo>
                    <a:pt x="1693" y="800"/>
                  </a:lnTo>
                  <a:lnTo>
                    <a:pt x="1691" y="753"/>
                  </a:lnTo>
                  <a:lnTo>
                    <a:pt x="1687" y="708"/>
                  </a:lnTo>
                  <a:lnTo>
                    <a:pt x="1682" y="664"/>
                  </a:lnTo>
                  <a:lnTo>
                    <a:pt x="1675" y="622"/>
                  </a:lnTo>
                  <a:lnTo>
                    <a:pt x="1667" y="580"/>
                  </a:lnTo>
                  <a:lnTo>
                    <a:pt x="1657" y="540"/>
                  </a:lnTo>
                  <a:lnTo>
                    <a:pt x="1646" y="499"/>
                  </a:lnTo>
                  <a:lnTo>
                    <a:pt x="1633" y="461"/>
                  </a:lnTo>
                  <a:lnTo>
                    <a:pt x="1618" y="425"/>
                  </a:lnTo>
                  <a:lnTo>
                    <a:pt x="1602" y="389"/>
                  </a:lnTo>
                  <a:lnTo>
                    <a:pt x="1585" y="355"/>
                  </a:lnTo>
                  <a:lnTo>
                    <a:pt x="1566" y="323"/>
                  </a:lnTo>
                  <a:lnTo>
                    <a:pt x="1544" y="291"/>
                  </a:lnTo>
                  <a:lnTo>
                    <a:pt x="1522" y="262"/>
                  </a:lnTo>
                  <a:lnTo>
                    <a:pt x="1498" y="232"/>
                  </a:lnTo>
                  <a:lnTo>
                    <a:pt x="1473" y="205"/>
                  </a:lnTo>
                  <a:lnTo>
                    <a:pt x="1446" y="180"/>
                  </a:lnTo>
                  <a:lnTo>
                    <a:pt x="1418" y="156"/>
                  </a:lnTo>
                  <a:lnTo>
                    <a:pt x="1388" y="133"/>
                  </a:lnTo>
                  <a:lnTo>
                    <a:pt x="1356" y="113"/>
                  </a:lnTo>
                  <a:lnTo>
                    <a:pt x="1323" y="94"/>
                  </a:lnTo>
                  <a:lnTo>
                    <a:pt x="1288" y="76"/>
                  </a:lnTo>
                  <a:lnTo>
                    <a:pt x="1251" y="61"/>
                  </a:lnTo>
                  <a:lnTo>
                    <a:pt x="1213" y="47"/>
                  </a:lnTo>
                  <a:lnTo>
                    <a:pt x="1174" y="34"/>
                  </a:lnTo>
                  <a:lnTo>
                    <a:pt x="1133" y="24"/>
                  </a:lnTo>
                  <a:lnTo>
                    <a:pt x="1091" y="15"/>
                  </a:lnTo>
                  <a:lnTo>
                    <a:pt x="1046" y="9"/>
                  </a:lnTo>
                  <a:lnTo>
                    <a:pt x="1000" y="4"/>
                  </a:lnTo>
                  <a:lnTo>
                    <a:pt x="952" y="1"/>
                  </a:lnTo>
                  <a:lnTo>
                    <a:pt x="903" y="0"/>
                  </a:lnTo>
                  <a:lnTo>
                    <a:pt x="846" y="1"/>
                  </a:lnTo>
                  <a:lnTo>
                    <a:pt x="790" y="4"/>
                  </a:lnTo>
                  <a:lnTo>
                    <a:pt x="736" y="10"/>
                  </a:lnTo>
                  <a:lnTo>
                    <a:pt x="684" y="18"/>
                  </a:lnTo>
                  <a:lnTo>
                    <a:pt x="634" y="28"/>
                  </a:lnTo>
                  <a:lnTo>
                    <a:pt x="587" y="39"/>
                  </a:lnTo>
                  <a:lnTo>
                    <a:pt x="541" y="54"/>
                  </a:lnTo>
                  <a:lnTo>
                    <a:pt x="497" y="70"/>
                  </a:lnTo>
                  <a:lnTo>
                    <a:pt x="456" y="88"/>
                  </a:lnTo>
                  <a:lnTo>
                    <a:pt x="415" y="108"/>
                  </a:lnTo>
                  <a:lnTo>
                    <a:pt x="377" y="130"/>
                  </a:lnTo>
                  <a:lnTo>
                    <a:pt x="341" y="153"/>
                  </a:lnTo>
                  <a:lnTo>
                    <a:pt x="307" y="179"/>
                  </a:lnTo>
                  <a:lnTo>
                    <a:pt x="275" y="207"/>
                  </a:lnTo>
                  <a:lnTo>
                    <a:pt x="245" y="236"/>
                  </a:lnTo>
                  <a:lnTo>
                    <a:pt x="216" y="268"/>
                  </a:lnTo>
                  <a:lnTo>
                    <a:pt x="190" y="301"/>
                  </a:lnTo>
                  <a:lnTo>
                    <a:pt x="164" y="336"/>
                  </a:lnTo>
                  <a:lnTo>
                    <a:pt x="141" y="372"/>
                  </a:lnTo>
                  <a:lnTo>
                    <a:pt x="120" y="410"/>
                  </a:lnTo>
                  <a:lnTo>
                    <a:pt x="100" y="449"/>
                  </a:lnTo>
                  <a:lnTo>
                    <a:pt x="83" y="491"/>
                  </a:lnTo>
                  <a:lnTo>
                    <a:pt x="67" y="534"/>
                  </a:lnTo>
                  <a:lnTo>
                    <a:pt x="53" y="578"/>
                  </a:lnTo>
                  <a:lnTo>
                    <a:pt x="40" y="624"/>
                  </a:lnTo>
                  <a:lnTo>
                    <a:pt x="30" y="671"/>
                  </a:lnTo>
                  <a:lnTo>
                    <a:pt x="21" y="720"/>
                  </a:lnTo>
                  <a:lnTo>
                    <a:pt x="13" y="770"/>
                  </a:lnTo>
                  <a:lnTo>
                    <a:pt x="8" y="822"/>
                  </a:lnTo>
                  <a:lnTo>
                    <a:pt x="4" y="874"/>
                  </a:lnTo>
                  <a:lnTo>
                    <a:pt x="1" y="928"/>
                  </a:lnTo>
                  <a:lnTo>
                    <a:pt x="0" y="983"/>
                  </a:lnTo>
                  <a:lnTo>
                    <a:pt x="1" y="1047"/>
                  </a:lnTo>
                  <a:lnTo>
                    <a:pt x="4" y="1110"/>
                  </a:lnTo>
                  <a:lnTo>
                    <a:pt x="9" y="1172"/>
                  </a:lnTo>
                  <a:lnTo>
                    <a:pt x="15" y="1232"/>
                  </a:lnTo>
                  <a:lnTo>
                    <a:pt x="24" y="1291"/>
                  </a:lnTo>
                  <a:lnTo>
                    <a:pt x="34" y="1349"/>
                  </a:lnTo>
                  <a:lnTo>
                    <a:pt x="47" y="1406"/>
                  </a:lnTo>
                  <a:lnTo>
                    <a:pt x="61" y="1461"/>
                  </a:lnTo>
                  <a:lnTo>
                    <a:pt x="77" y="1514"/>
                  </a:lnTo>
                  <a:lnTo>
                    <a:pt x="96" y="1566"/>
                  </a:lnTo>
                  <a:lnTo>
                    <a:pt x="116" y="1616"/>
                  </a:lnTo>
                  <a:lnTo>
                    <a:pt x="139" y="1666"/>
                  </a:lnTo>
                  <a:lnTo>
                    <a:pt x="163" y="1712"/>
                  </a:lnTo>
                  <a:lnTo>
                    <a:pt x="191" y="1757"/>
                  </a:lnTo>
                  <a:lnTo>
                    <a:pt x="220" y="1800"/>
                  </a:lnTo>
                  <a:lnTo>
                    <a:pt x="250" y="1841"/>
                  </a:lnTo>
                  <a:lnTo>
                    <a:pt x="284" y="1881"/>
                  </a:lnTo>
                  <a:lnTo>
                    <a:pt x="319" y="1919"/>
                  </a:lnTo>
                  <a:lnTo>
                    <a:pt x="356" y="1953"/>
                  </a:lnTo>
                  <a:lnTo>
                    <a:pt x="396" y="1986"/>
                  </a:lnTo>
                  <a:lnTo>
                    <a:pt x="438" y="2017"/>
                  </a:lnTo>
                  <a:lnTo>
                    <a:pt x="483" y="2045"/>
                  </a:lnTo>
                  <a:lnTo>
                    <a:pt x="530" y="2071"/>
                  </a:lnTo>
                  <a:lnTo>
                    <a:pt x="579" y="2094"/>
                  </a:lnTo>
                  <a:lnTo>
                    <a:pt x="630" y="2115"/>
                  </a:lnTo>
                  <a:lnTo>
                    <a:pt x="683" y="2133"/>
                  </a:lnTo>
                  <a:lnTo>
                    <a:pt x="740" y="2149"/>
                  </a:lnTo>
                  <a:lnTo>
                    <a:pt x="799" y="2161"/>
                  </a:lnTo>
                  <a:lnTo>
                    <a:pt x="859" y="2172"/>
                  </a:lnTo>
                  <a:lnTo>
                    <a:pt x="922" y="2179"/>
                  </a:lnTo>
                  <a:lnTo>
                    <a:pt x="988" y="2183"/>
                  </a:lnTo>
                  <a:lnTo>
                    <a:pt x="1057" y="2185"/>
                  </a:lnTo>
                  <a:lnTo>
                    <a:pt x="1095" y="2185"/>
                  </a:lnTo>
                  <a:lnTo>
                    <a:pt x="1132" y="2184"/>
                  </a:lnTo>
                  <a:lnTo>
                    <a:pt x="1169" y="2182"/>
                  </a:lnTo>
                  <a:lnTo>
                    <a:pt x="1206" y="2180"/>
                  </a:lnTo>
                  <a:lnTo>
                    <a:pt x="1243" y="2178"/>
                  </a:lnTo>
                  <a:lnTo>
                    <a:pt x="1281" y="2174"/>
                  </a:lnTo>
                  <a:lnTo>
                    <a:pt x="1318" y="2170"/>
                  </a:lnTo>
                  <a:lnTo>
                    <a:pt x="1354" y="2166"/>
                  </a:lnTo>
                  <a:lnTo>
                    <a:pt x="1391" y="2161"/>
                  </a:lnTo>
                  <a:lnTo>
                    <a:pt x="1427" y="2155"/>
                  </a:lnTo>
                  <a:lnTo>
                    <a:pt x="1464" y="2148"/>
                  </a:lnTo>
                  <a:lnTo>
                    <a:pt x="1500" y="2141"/>
                  </a:lnTo>
                  <a:lnTo>
                    <a:pt x="1536" y="2133"/>
                  </a:lnTo>
                  <a:lnTo>
                    <a:pt x="1573" y="2124"/>
                  </a:lnTo>
                  <a:lnTo>
                    <a:pt x="1610" y="2115"/>
                  </a:lnTo>
                  <a:lnTo>
                    <a:pt x="1646" y="2105"/>
                  </a:lnTo>
                  <a:lnTo>
                    <a:pt x="1646" y="1766"/>
                  </a:lnTo>
                  <a:lnTo>
                    <a:pt x="1597" y="1781"/>
                  </a:lnTo>
                  <a:lnTo>
                    <a:pt x="1546" y="1794"/>
                  </a:lnTo>
                  <a:lnTo>
                    <a:pt x="1495" y="1807"/>
                  </a:lnTo>
                  <a:lnTo>
                    <a:pt x="1444" y="1817"/>
                  </a:lnTo>
                  <a:lnTo>
                    <a:pt x="1418" y="1822"/>
                  </a:lnTo>
                  <a:lnTo>
                    <a:pt x="1393" y="1826"/>
                  </a:lnTo>
                  <a:lnTo>
                    <a:pt x="1367" y="1830"/>
                  </a:lnTo>
                  <a:lnTo>
                    <a:pt x="1342" y="1833"/>
                  </a:lnTo>
                  <a:lnTo>
                    <a:pt x="1317" y="1835"/>
                  </a:lnTo>
                  <a:lnTo>
                    <a:pt x="1292" y="1837"/>
                  </a:lnTo>
                  <a:lnTo>
                    <a:pt x="1266" y="1838"/>
                  </a:lnTo>
                  <a:lnTo>
                    <a:pt x="1242" y="1838"/>
                  </a:lnTo>
                  <a:lnTo>
                    <a:pt x="1198" y="1837"/>
                  </a:lnTo>
                  <a:lnTo>
                    <a:pt x="1155" y="1833"/>
                  </a:lnTo>
                  <a:lnTo>
                    <a:pt x="1113" y="1827"/>
                  </a:lnTo>
                  <a:lnTo>
                    <a:pt x="1072" y="1819"/>
                  </a:lnTo>
                  <a:lnTo>
                    <a:pt x="1032" y="1809"/>
                  </a:lnTo>
                  <a:lnTo>
                    <a:pt x="992" y="1796"/>
                  </a:lnTo>
                  <a:lnTo>
                    <a:pt x="954" y="1781"/>
                  </a:lnTo>
                  <a:lnTo>
                    <a:pt x="918" y="1765"/>
                  </a:lnTo>
                  <a:lnTo>
                    <a:pt x="882" y="1746"/>
                  </a:lnTo>
                  <a:lnTo>
                    <a:pt x="848" y="1726"/>
                  </a:lnTo>
                  <a:lnTo>
                    <a:pt x="815" y="1704"/>
                  </a:lnTo>
                  <a:lnTo>
                    <a:pt x="783" y="1680"/>
                  </a:lnTo>
                  <a:lnTo>
                    <a:pt x="753" y="1655"/>
                  </a:lnTo>
                  <a:lnTo>
                    <a:pt x="723" y="1627"/>
                  </a:lnTo>
                  <a:lnTo>
                    <a:pt x="695" y="1599"/>
                  </a:lnTo>
                  <a:lnTo>
                    <a:pt x="668" y="1569"/>
                  </a:lnTo>
                  <a:lnTo>
                    <a:pt x="643" y="1538"/>
                  </a:lnTo>
                  <a:lnTo>
                    <a:pt x="620" y="1506"/>
                  </a:lnTo>
                  <a:lnTo>
                    <a:pt x="597" y="1473"/>
                  </a:lnTo>
                  <a:lnTo>
                    <a:pt x="577" y="1438"/>
                  </a:lnTo>
                  <a:lnTo>
                    <a:pt x="557" y="1403"/>
                  </a:lnTo>
                  <a:lnTo>
                    <a:pt x="539" y="1367"/>
                  </a:lnTo>
                  <a:lnTo>
                    <a:pt x="523" y="1328"/>
                  </a:lnTo>
                  <a:lnTo>
                    <a:pt x="509" y="1290"/>
                  </a:lnTo>
                  <a:lnTo>
                    <a:pt x="496" y="1252"/>
                  </a:lnTo>
                  <a:lnTo>
                    <a:pt x="484" y="1213"/>
                  </a:lnTo>
                  <a:lnTo>
                    <a:pt x="475" y="1173"/>
                  </a:lnTo>
                  <a:lnTo>
                    <a:pt x="467" y="1133"/>
                  </a:lnTo>
                  <a:lnTo>
                    <a:pt x="461" y="1092"/>
                  </a:lnTo>
                  <a:lnTo>
                    <a:pt x="456" y="1050"/>
                  </a:lnTo>
                  <a:lnTo>
                    <a:pt x="453" y="1009"/>
                  </a:lnTo>
                  <a:lnTo>
                    <a:pt x="452" y="967"/>
                  </a:lnTo>
                  <a:lnTo>
                    <a:pt x="1694" y="967"/>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26" name="Freeform 13"/>
            <p:cNvSpPr>
              <a:spLocks/>
            </p:cNvSpPr>
            <p:nvPr userDrawn="1">
              <p:custDataLst>
                <p:tags r:id="rId12"/>
              </p:custDataLst>
            </p:nvPr>
          </p:nvSpPr>
          <p:spPr bwMode="gray">
            <a:xfrm>
              <a:off x="2546350" y="2187575"/>
              <a:ext cx="330200" cy="336550"/>
            </a:xfrm>
            <a:custGeom>
              <a:avLst/>
              <a:gdLst/>
              <a:ahLst/>
              <a:cxnLst>
                <a:cxn ang="0">
                  <a:pos x="0" y="0"/>
                </a:cxn>
                <a:cxn ang="0">
                  <a:pos x="0" y="347"/>
                </a:cxn>
                <a:cxn ang="0">
                  <a:pos x="11" y="351"/>
                </a:cxn>
                <a:cxn ang="0">
                  <a:pos x="42" y="363"/>
                </a:cxn>
                <a:cxn ang="0">
                  <a:pos x="91" y="382"/>
                </a:cxn>
                <a:cxn ang="0">
                  <a:pos x="154" y="407"/>
                </a:cxn>
                <a:cxn ang="0">
                  <a:pos x="231" y="437"/>
                </a:cxn>
                <a:cxn ang="0">
                  <a:pos x="316" y="470"/>
                </a:cxn>
                <a:cxn ang="0">
                  <a:pos x="409" y="506"/>
                </a:cxn>
                <a:cxn ang="0">
                  <a:pos x="506" y="543"/>
                </a:cxn>
                <a:cxn ang="0">
                  <a:pos x="605" y="582"/>
                </a:cxn>
                <a:cxn ang="0">
                  <a:pos x="702" y="620"/>
                </a:cxn>
                <a:cxn ang="0">
                  <a:pos x="797" y="656"/>
                </a:cxn>
                <a:cxn ang="0">
                  <a:pos x="884" y="690"/>
                </a:cxn>
                <a:cxn ang="0">
                  <a:pos x="963" y="722"/>
                </a:cxn>
                <a:cxn ang="0">
                  <a:pos x="1031" y="748"/>
                </a:cxn>
                <a:cxn ang="0">
                  <a:pos x="1085" y="768"/>
                </a:cxn>
                <a:cxn ang="0">
                  <a:pos x="1121" y="783"/>
                </a:cxn>
                <a:cxn ang="0">
                  <a:pos x="1085" y="795"/>
                </a:cxn>
                <a:cxn ang="0">
                  <a:pos x="1031" y="815"/>
                </a:cxn>
                <a:cxn ang="0">
                  <a:pos x="963" y="840"/>
                </a:cxn>
                <a:cxn ang="0">
                  <a:pos x="884" y="869"/>
                </a:cxn>
                <a:cxn ang="0">
                  <a:pos x="797" y="903"/>
                </a:cxn>
                <a:cxn ang="0">
                  <a:pos x="702" y="939"/>
                </a:cxn>
                <a:cxn ang="0">
                  <a:pos x="605" y="976"/>
                </a:cxn>
                <a:cxn ang="0">
                  <a:pos x="506" y="1015"/>
                </a:cxn>
                <a:cxn ang="0">
                  <a:pos x="409" y="1052"/>
                </a:cxn>
                <a:cxn ang="0">
                  <a:pos x="316" y="1087"/>
                </a:cxn>
                <a:cxn ang="0">
                  <a:pos x="231" y="1120"/>
                </a:cxn>
                <a:cxn ang="0">
                  <a:pos x="154" y="1150"/>
                </a:cxn>
                <a:cxn ang="0">
                  <a:pos x="91" y="1174"/>
                </a:cxn>
                <a:cxn ang="0">
                  <a:pos x="42" y="1193"/>
                </a:cxn>
                <a:cxn ang="0">
                  <a:pos x="11" y="1205"/>
                </a:cxn>
                <a:cxn ang="0">
                  <a:pos x="0" y="1209"/>
                </a:cxn>
                <a:cxn ang="0">
                  <a:pos x="0" y="1549"/>
                </a:cxn>
                <a:cxn ang="0">
                  <a:pos x="1516" y="935"/>
                </a:cxn>
                <a:cxn ang="0">
                  <a:pos x="1516" y="621"/>
                </a:cxn>
                <a:cxn ang="0">
                  <a:pos x="0" y="0"/>
                </a:cxn>
              </a:cxnLst>
              <a:rect l="0" t="0" r="r" b="b"/>
              <a:pathLst>
                <a:path w="1516" h="1549">
                  <a:moveTo>
                    <a:pt x="0" y="0"/>
                  </a:moveTo>
                  <a:lnTo>
                    <a:pt x="0" y="347"/>
                  </a:lnTo>
                  <a:lnTo>
                    <a:pt x="11" y="351"/>
                  </a:lnTo>
                  <a:lnTo>
                    <a:pt x="42" y="363"/>
                  </a:lnTo>
                  <a:lnTo>
                    <a:pt x="91" y="382"/>
                  </a:lnTo>
                  <a:lnTo>
                    <a:pt x="154" y="407"/>
                  </a:lnTo>
                  <a:lnTo>
                    <a:pt x="231" y="437"/>
                  </a:lnTo>
                  <a:lnTo>
                    <a:pt x="316" y="470"/>
                  </a:lnTo>
                  <a:lnTo>
                    <a:pt x="409" y="506"/>
                  </a:lnTo>
                  <a:lnTo>
                    <a:pt x="506" y="543"/>
                  </a:lnTo>
                  <a:lnTo>
                    <a:pt x="605" y="582"/>
                  </a:lnTo>
                  <a:lnTo>
                    <a:pt x="702" y="620"/>
                  </a:lnTo>
                  <a:lnTo>
                    <a:pt x="797" y="656"/>
                  </a:lnTo>
                  <a:lnTo>
                    <a:pt x="884" y="690"/>
                  </a:lnTo>
                  <a:lnTo>
                    <a:pt x="963" y="722"/>
                  </a:lnTo>
                  <a:lnTo>
                    <a:pt x="1031" y="748"/>
                  </a:lnTo>
                  <a:lnTo>
                    <a:pt x="1085" y="768"/>
                  </a:lnTo>
                  <a:lnTo>
                    <a:pt x="1121" y="783"/>
                  </a:lnTo>
                  <a:lnTo>
                    <a:pt x="1085" y="795"/>
                  </a:lnTo>
                  <a:lnTo>
                    <a:pt x="1031" y="815"/>
                  </a:lnTo>
                  <a:lnTo>
                    <a:pt x="963" y="840"/>
                  </a:lnTo>
                  <a:lnTo>
                    <a:pt x="884" y="869"/>
                  </a:lnTo>
                  <a:lnTo>
                    <a:pt x="797" y="903"/>
                  </a:lnTo>
                  <a:lnTo>
                    <a:pt x="702" y="939"/>
                  </a:lnTo>
                  <a:lnTo>
                    <a:pt x="605" y="976"/>
                  </a:lnTo>
                  <a:lnTo>
                    <a:pt x="506" y="1015"/>
                  </a:lnTo>
                  <a:lnTo>
                    <a:pt x="409" y="1052"/>
                  </a:lnTo>
                  <a:lnTo>
                    <a:pt x="316" y="1087"/>
                  </a:lnTo>
                  <a:lnTo>
                    <a:pt x="231" y="1120"/>
                  </a:lnTo>
                  <a:lnTo>
                    <a:pt x="154" y="1150"/>
                  </a:lnTo>
                  <a:lnTo>
                    <a:pt x="91" y="1174"/>
                  </a:lnTo>
                  <a:lnTo>
                    <a:pt x="42" y="1193"/>
                  </a:lnTo>
                  <a:lnTo>
                    <a:pt x="11" y="1205"/>
                  </a:lnTo>
                  <a:lnTo>
                    <a:pt x="0" y="1209"/>
                  </a:lnTo>
                  <a:lnTo>
                    <a:pt x="0" y="1549"/>
                  </a:lnTo>
                  <a:lnTo>
                    <a:pt x="1516" y="935"/>
                  </a:lnTo>
                  <a:lnTo>
                    <a:pt x="1516" y="621"/>
                  </a:lnTo>
                  <a:lnTo>
                    <a:pt x="0" y="0"/>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27" name="Freeform 14"/>
            <p:cNvSpPr>
              <a:spLocks/>
            </p:cNvSpPr>
            <p:nvPr userDrawn="1">
              <p:custDataLst>
                <p:tags r:id="rId13"/>
              </p:custDataLst>
            </p:nvPr>
          </p:nvSpPr>
          <p:spPr bwMode="gray">
            <a:xfrm>
              <a:off x="522288" y="3679825"/>
              <a:ext cx="200025" cy="241300"/>
            </a:xfrm>
            <a:custGeom>
              <a:avLst/>
              <a:gdLst/>
              <a:ahLst/>
              <a:cxnLst>
                <a:cxn ang="0">
                  <a:pos x="710" y="1121"/>
                </a:cxn>
                <a:cxn ang="0">
                  <a:pos x="589" y="1121"/>
                </a:cxn>
                <a:cxn ang="0">
                  <a:pos x="685" y="589"/>
                </a:cxn>
                <a:cxn ang="0">
                  <a:pos x="226" y="589"/>
                </a:cxn>
                <a:cxn ang="0">
                  <a:pos x="121" y="1121"/>
                </a:cxn>
                <a:cxn ang="0">
                  <a:pos x="0" y="1121"/>
                </a:cxn>
                <a:cxn ang="0">
                  <a:pos x="218" y="0"/>
                </a:cxn>
                <a:cxn ang="0">
                  <a:pos x="339" y="0"/>
                </a:cxn>
                <a:cxn ang="0">
                  <a:pos x="242" y="484"/>
                </a:cxn>
                <a:cxn ang="0">
                  <a:pos x="710" y="484"/>
                </a:cxn>
                <a:cxn ang="0">
                  <a:pos x="799" y="0"/>
                </a:cxn>
                <a:cxn ang="0">
                  <a:pos x="927" y="0"/>
                </a:cxn>
                <a:cxn ang="0">
                  <a:pos x="710" y="1121"/>
                </a:cxn>
              </a:cxnLst>
              <a:rect l="0" t="0" r="r" b="b"/>
              <a:pathLst>
                <a:path w="927" h="1121">
                  <a:moveTo>
                    <a:pt x="710" y="1121"/>
                  </a:moveTo>
                  <a:lnTo>
                    <a:pt x="589" y="1121"/>
                  </a:lnTo>
                  <a:lnTo>
                    <a:pt x="685" y="589"/>
                  </a:lnTo>
                  <a:lnTo>
                    <a:pt x="226" y="589"/>
                  </a:lnTo>
                  <a:lnTo>
                    <a:pt x="121" y="1121"/>
                  </a:lnTo>
                  <a:lnTo>
                    <a:pt x="0" y="1121"/>
                  </a:lnTo>
                  <a:lnTo>
                    <a:pt x="218" y="0"/>
                  </a:lnTo>
                  <a:lnTo>
                    <a:pt x="339" y="0"/>
                  </a:lnTo>
                  <a:lnTo>
                    <a:pt x="242" y="484"/>
                  </a:lnTo>
                  <a:lnTo>
                    <a:pt x="710" y="484"/>
                  </a:lnTo>
                  <a:lnTo>
                    <a:pt x="799" y="0"/>
                  </a:lnTo>
                  <a:lnTo>
                    <a:pt x="927" y="0"/>
                  </a:lnTo>
                  <a:lnTo>
                    <a:pt x="710" y="1121"/>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28" name="Freeform 15"/>
            <p:cNvSpPr>
              <a:spLocks noEditPoints="1"/>
            </p:cNvSpPr>
            <p:nvPr userDrawn="1">
              <p:custDataLst>
                <p:tags r:id="rId14"/>
              </p:custDataLst>
            </p:nvPr>
          </p:nvSpPr>
          <p:spPr bwMode="gray">
            <a:xfrm>
              <a:off x="712788" y="3679825"/>
              <a:ext cx="76200" cy="241300"/>
            </a:xfrm>
            <a:custGeom>
              <a:avLst/>
              <a:gdLst/>
              <a:ahLst/>
              <a:cxnLst>
                <a:cxn ang="0">
                  <a:pos x="322" y="145"/>
                </a:cxn>
                <a:cxn ang="0">
                  <a:pos x="178" y="145"/>
                </a:cxn>
                <a:cxn ang="0">
                  <a:pos x="202" y="0"/>
                </a:cxn>
                <a:cxn ang="0">
                  <a:pos x="347" y="0"/>
                </a:cxn>
                <a:cxn ang="0">
                  <a:pos x="322" y="145"/>
                </a:cxn>
                <a:cxn ang="0">
                  <a:pos x="122" y="1121"/>
                </a:cxn>
                <a:cxn ang="0">
                  <a:pos x="0" y="1121"/>
                </a:cxn>
                <a:cxn ang="0">
                  <a:pos x="154" y="347"/>
                </a:cxn>
                <a:cxn ang="0">
                  <a:pos x="266" y="347"/>
                </a:cxn>
                <a:cxn ang="0">
                  <a:pos x="122" y="1121"/>
                </a:cxn>
              </a:cxnLst>
              <a:rect l="0" t="0" r="r" b="b"/>
              <a:pathLst>
                <a:path w="347" h="1121">
                  <a:moveTo>
                    <a:pt x="322" y="145"/>
                  </a:moveTo>
                  <a:lnTo>
                    <a:pt x="178" y="145"/>
                  </a:lnTo>
                  <a:lnTo>
                    <a:pt x="202" y="0"/>
                  </a:lnTo>
                  <a:lnTo>
                    <a:pt x="347" y="0"/>
                  </a:lnTo>
                  <a:lnTo>
                    <a:pt x="322" y="145"/>
                  </a:lnTo>
                  <a:close/>
                  <a:moveTo>
                    <a:pt x="122" y="1121"/>
                  </a:moveTo>
                  <a:lnTo>
                    <a:pt x="0" y="1121"/>
                  </a:lnTo>
                  <a:lnTo>
                    <a:pt x="154" y="347"/>
                  </a:lnTo>
                  <a:lnTo>
                    <a:pt x="266" y="347"/>
                  </a:lnTo>
                  <a:lnTo>
                    <a:pt x="122" y="1121"/>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29" name="Freeform 16"/>
            <p:cNvSpPr>
              <a:spLocks noEditPoints="1"/>
            </p:cNvSpPr>
            <p:nvPr userDrawn="1">
              <p:custDataLst>
                <p:tags r:id="rId15"/>
              </p:custDataLst>
            </p:nvPr>
          </p:nvSpPr>
          <p:spPr bwMode="gray">
            <a:xfrm>
              <a:off x="760413" y="3751263"/>
              <a:ext cx="161925" cy="239712"/>
            </a:xfrm>
            <a:custGeom>
              <a:avLst/>
              <a:gdLst/>
              <a:ahLst/>
              <a:cxnLst>
                <a:cxn ang="0">
                  <a:pos x="551" y="417"/>
                </a:cxn>
                <a:cxn ang="0">
                  <a:pos x="514" y="532"/>
                </a:cxn>
                <a:cxn ang="0">
                  <a:pos x="474" y="604"/>
                </a:cxn>
                <a:cxn ang="0">
                  <a:pos x="420" y="660"/>
                </a:cxn>
                <a:cxn ang="0">
                  <a:pos x="353" y="690"/>
                </a:cxn>
                <a:cxn ang="0">
                  <a:pos x="297" y="690"/>
                </a:cxn>
                <a:cxn ang="0">
                  <a:pos x="264" y="674"/>
                </a:cxn>
                <a:cxn ang="0">
                  <a:pos x="237" y="641"/>
                </a:cxn>
                <a:cxn ang="0">
                  <a:pos x="214" y="568"/>
                </a:cxn>
                <a:cxn ang="0">
                  <a:pos x="211" y="484"/>
                </a:cxn>
                <a:cxn ang="0">
                  <a:pos x="236" y="322"/>
                </a:cxn>
                <a:cxn ang="0">
                  <a:pos x="279" y="205"/>
                </a:cxn>
                <a:cxn ang="0">
                  <a:pos x="325" y="137"/>
                </a:cxn>
                <a:cxn ang="0">
                  <a:pos x="384" y="96"/>
                </a:cxn>
                <a:cxn ang="0">
                  <a:pos x="447" y="90"/>
                </a:cxn>
                <a:cxn ang="0">
                  <a:pos x="486" y="104"/>
                </a:cxn>
                <a:cxn ang="0">
                  <a:pos x="517" y="131"/>
                </a:cxn>
                <a:cxn ang="0">
                  <a:pos x="554" y="211"/>
                </a:cxn>
                <a:cxn ang="0">
                  <a:pos x="564" y="298"/>
                </a:cxn>
                <a:cxn ang="0">
                  <a:pos x="600" y="122"/>
                </a:cxn>
                <a:cxn ang="0">
                  <a:pos x="559" y="58"/>
                </a:cxn>
                <a:cxn ang="0">
                  <a:pos x="497" y="15"/>
                </a:cxn>
                <a:cxn ang="0">
                  <a:pos x="420" y="0"/>
                </a:cxn>
                <a:cxn ang="0">
                  <a:pos x="316" y="22"/>
                </a:cxn>
                <a:cxn ang="0">
                  <a:pos x="234" y="80"/>
                </a:cxn>
                <a:cxn ang="0">
                  <a:pos x="170" y="166"/>
                </a:cxn>
                <a:cxn ang="0">
                  <a:pos x="124" y="268"/>
                </a:cxn>
                <a:cxn ang="0">
                  <a:pos x="95" y="375"/>
                </a:cxn>
                <a:cxn ang="0">
                  <a:pos x="81" y="479"/>
                </a:cxn>
                <a:cxn ang="0">
                  <a:pos x="86" y="586"/>
                </a:cxn>
                <a:cxn ang="0">
                  <a:pos x="112" y="677"/>
                </a:cxn>
                <a:cxn ang="0">
                  <a:pos x="142" y="727"/>
                </a:cxn>
                <a:cxn ang="0">
                  <a:pos x="183" y="765"/>
                </a:cxn>
                <a:cxn ang="0">
                  <a:pos x="236" y="787"/>
                </a:cxn>
                <a:cxn ang="0">
                  <a:pos x="312" y="788"/>
                </a:cxn>
                <a:cxn ang="0">
                  <a:pos x="394" y="761"/>
                </a:cxn>
                <a:cxn ang="0">
                  <a:pos x="463" y="708"/>
                </a:cxn>
                <a:cxn ang="0">
                  <a:pos x="494" y="731"/>
                </a:cxn>
                <a:cxn ang="0">
                  <a:pos x="453" y="888"/>
                </a:cxn>
                <a:cxn ang="0">
                  <a:pos x="414" y="944"/>
                </a:cxn>
                <a:cxn ang="0">
                  <a:pos x="356" y="983"/>
                </a:cxn>
                <a:cxn ang="0">
                  <a:pos x="270" y="1005"/>
                </a:cxn>
                <a:cxn ang="0">
                  <a:pos x="155" y="1006"/>
                </a:cxn>
                <a:cxn ang="0">
                  <a:pos x="45" y="976"/>
                </a:cxn>
                <a:cxn ang="0">
                  <a:pos x="78" y="1092"/>
                </a:cxn>
                <a:cxn ang="0">
                  <a:pos x="202" y="1105"/>
                </a:cxn>
                <a:cxn ang="0">
                  <a:pos x="303" y="1098"/>
                </a:cxn>
                <a:cxn ang="0">
                  <a:pos x="388" y="1078"/>
                </a:cxn>
                <a:cxn ang="0">
                  <a:pos x="460" y="1042"/>
                </a:cxn>
                <a:cxn ang="0">
                  <a:pos x="516" y="989"/>
                </a:cxn>
                <a:cxn ang="0">
                  <a:pos x="558" y="919"/>
                </a:cxn>
                <a:cxn ang="0">
                  <a:pos x="588" y="831"/>
                </a:cxn>
              </a:cxnLst>
              <a:rect l="0" t="0" r="r" b="b"/>
              <a:pathLst>
                <a:path w="750" h="1105">
                  <a:moveTo>
                    <a:pt x="564" y="298"/>
                  </a:moveTo>
                  <a:lnTo>
                    <a:pt x="564" y="325"/>
                  </a:lnTo>
                  <a:lnTo>
                    <a:pt x="561" y="354"/>
                  </a:lnTo>
                  <a:lnTo>
                    <a:pt x="557" y="385"/>
                  </a:lnTo>
                  <a:lnTo>
                    <a:pt x="551" y="417"/>
                  </a:lnTo>
                  <a:lnTo>
                    <a:pt x="543" y="451"/>
                  </a:lnTo>
                  <a:lnTo>
                    <a:pt x="533" y="484"/>
                  </a:lnTo>
                  <a:lnTo>
                    <a:pt x="527" y="500"/>
                  </a:lnTo>
                  <a:lnTo>
                    <a:pt x="521" y="516"/>
                  </a:lnTo>
                  <a:lnTo>
                    <a:pt x="514" y="532"/>
                  </a:lnTo>
                  <a:lnTo>
                    <a:pt x="507" y="547"/>
                  </a:lnTo>
                  <a:lnTo>
                    <a:pt x="500" y="562"/>
                  </a:lnTo>
                  <a:lnTo>
                    <a:pt x="491" y="577"/>
                  </a:lnTo>
                  <a:lnTo>
                    <a:pt x="483" y="591"/>
                  </a:lnTo>
                  <a:lnTo>
                    <a:pt x="474" y="604"/>
                  </a:lnTo>
                  <a:lnTo>
                    <a:pt x="464" y="617"/>
                  </a:lnTo>
                  <a:lnTo>
                    <a:pt x="454" y="629"/>
                  </a:lnTo>
                  <a:lnTo>
                    <a:pt x="443" y="640"/>
                  </a:lnTo>
                  <a:lnTo>
                    <a:pt x="432" y="651"/>
                  </a:lnTo>
                  <a:lnTo>
                    <a:pt x="420" y="660"/>
                  </a:lnTo>
                  <a:lnTo>
                    <a:pt x="407" y="668"/>
                  </a:lnTo>
                  <a:lnTo>
                    <a:pt x="394" y="676"/>
                  </a:lnTo>
                  <a:lnTo>
                    <a:pt x="381" y="682"/>
                  </a:lnTo>
                  <a:lnTo>
                    <a:pt x="367" y="687"/>
                  </a:lnTo>
                  <a:lnTo>
                    <a:pt x="353" y="690"/>
                  </a:lnTo>
                  <a:lnTo>
                    <a:pt x="338" y="692"/>
                  </a:lnTo>
                  <a:lnTo>
                    <a:pt x="322" y="693"/>
                  </a:lnTo>
                  <a:lnTo>
                    <a:pt x="314" y="693"/>
                  </a:lnTo>
                  <a:lnTo>
                    <a:pt x="305" y="692"/>
                  </a:lnTo>
                  <a:lnTo>
                    <a:pt x="297" y="690"/>
                  </a:lnTo>
                  <a:lnTo>
                    <a:pt x="290" y="688"/>
                  </a:lnTo>
                  <a:lnTo>
                    <a:pt x="283" y="685"/>
                  </a:lnTo>
                  <a:lnTo>
                    <a:pt x="276" y="682"/>
                  </a:lnTo>
                  <a:lnTo>
                    <a:pt x="270" y="678"/>
                  </a:lnTo>
                  <a:lnTo>
                    <a:pt x="264" y="674"/>
                  </a:lnTo>
                  <a:lnTo>
                    <a:pt x="259" y="670"/>
                  </a:lnTo>
                  <a:lnTo>
                    <a:pt x="254" y="665"/>
                  </a:lnTo>
                  <a:lnTo>
                    <a:pt x="249" y="659"/>
                  </a:lnTo>
                  <a:lnTo>
                    <a:pt x="244" y="654"/>
                  </a:lnTo>
                  <a:lnTo>
                    <a:pt x="237" y="641"/>
                  </a:lnTo>
                  <a:lnTo>
                    <a:pt x="230" y="628"/>
                  </a:lnTo>
                  <a:lnTo>
                    <a:pt x="224" y="613"/>
                  </a:lnTo>
                  <a:lnTo>
                    <a:pt x="220" y="598"/>
                  </a:lnTo>
                  <a:lnTo>
                    <a:pt x="217" y="583"/>
                  </a:lnTo>
                  <a:lnTo>
                    <a:pt x="214" y="568"/>
                  </a:lnTo>
                  <a:lnTo>
                    <a:pt x="212" y="552"/>
                  </a:lnTo>
                  <a:lnTo>
                    <a:pt x="211" y="537"/>
                  </a:lnTo>
                  <a:lnTo>
                    <a:pt x="210" y="522"/>
                  </a:lnTo>
                  <a:lnTo>
                    <a:pt x="210" y="508"/>
                  </a:lnTo>
                  <a:lnTo>
                    <a:pt x="211" y="484"/>
                  </a:lnTo>
                  <a:lnTo>
                    <a:pt x="213" y="456"/>
                  </a:lnTo>
                  <a:lnTo>
                    <a:pt x="216" y="424"/>
                  </a:lnTo>
                  <a:lnTo>
                    <a:pt x="221" y="391"/>
                  </a:lnTo>
                  <a:lnTo>
                    <a:pt x="228" y="357"/>
                  </a:lnTo>
                  <a:lnTo>
                    <a:pt x="236" y="322"/>
                  </a:lnTo>
                  <a:lnTo>
                    <a:pt x="246" y="287"/>
                  </a:lnTo>
                  <a:lnTo>
                    <a:pt x="258" y="253"/>
                  </a:lnTo>
                  <a:lnTo>
                    <a:pt x="265" y="236"/>
                  </a:lnTo>
                  <a:lnTo>
                    <a:pt x="272" y="220"/>
                  </a:lnTo>
                  <a:lnTo>
                    <a:pt x="279" y="205"/>
                  </a:lnTo>
                  <a:lnTo>
                    <a:pt x="288" y="190"/>
                  </a:lnTo>
                  <a:lnTo>
                    <a:pt x="296" y="175"/>
                  </a:lnTo>
                  <a:lnTo>
                    <a:pt x="305" y="162"/>
                  </a:lnTo>
                  <a:lnTo>
                    <a:pt x="315" y="148"/>
                  </a:lnTo>
                  <a:lnTo>
                    <a:pt x="325" y="137"/>
                  </a:lnTo>
                  <a:lnTo>
                    <a:pt x="336" y="126"/>
                  </a:lnTo>
                  <a:lnTo>
                    <a:pt x="347" y="117"/>
                  </a:lnTo>
                  <a:lnTo>
                    <a:pt x="359" y="108"/>
                  </a:lnTo>
                  <a:lnTo>
                    <a:pt x="371" y="101"/>
                  </a:lnTo>
                  <a:lnTo>
                    <a:pt x="384" y="96"/>
                  </a:lnTo>
                  <a:lnTo>
                    <a:pt x="398" y="92"/>
                  </a:lnTo>
                  <a:lnTo>
                    <a:pt x="412" y="89"/>
                  </a:lnTo>
                  <a:lnTo>
                    <a:pt x="428" y="88"/>
                  </a:lnTo>
                  <a:lnTo>
                    <a:pt x="437" y="89"/>
                  </a:lnTo>
                  <a:lnTo>
                    <a:pt x="447" y="90"/>
                  </a:lnTo>
                  <a:lnTo>
                    <a:pt x="455" y="91"/>
                  </a:lnTo>
                  <a:lnTo>
                    <a:pt x="464" y="94"/>
                  </a:lnTo>
                  <a:lnTo>
                    <a:pt x="472" y="97"/>
                  </a:lnTo>
                  <a:lnTo>
                    <a:pt x="479" y="100"/>
                  </a:lnTo>
                  <a:lnTo>
                    <a:pt x="486" y="104"/>
                  </a:lnTo>
                  <a:lnTo>
                    <a:pt x="493" y="108"/>
                  </a:lnTo>
                  <a:lnTo>
                    <a:pt x="500" y="114"/>
                  </a:lnTo>
                  <a:lnTo>
                    <a:pt x="506" y="119"/>
                  </a:lnTo>
                  <a:lnTo>
                    <a:pt x="512" y="125"/>
                  </a:lnTo>
                  <a:lnTo>
                    <a:pt x="517" y="131"/>
                  </a:lnTo>
                  <a:lnTo>
                    <a:pt x="527" y="145"/>
                  </a:lnTo>
                  <a:lnTo>
                    <a:pt x="535" y="161"/>
                  </a:lnTo>
                  <a:lnTo>
                    <a:pt x="543" y="177"/>
                  </a:lnTo>
                  <a:lnTo>
                    <a:pt x="549" y="193"/>
                  </a:lnTo>
                  <a:lnTo>
                    <a:pt x="554" y="211"/>
                  </a:lnTo>
                  <a:lnTo>
                    <a:pt x="558" y="228"/>
                  </a:lnTo>
                  <a:lnTo>
                    <a:pt x="561" y="246"/>
                  </a:lnTo>
                  <a:lnTo>
                    <a:pt x="563" y="264"/>
                  </a:lnTo>
                  <a:lnTo>
                    <a:pt x="564" y="281"/>
                  </a:lnTo>
                  <a:lnTo>
                    <a:pt x="564" y="298"/>
                  </a:lnTo>
                  <a:close/>
                  <a:moveTo>
                    <a:pt x="750" y="16"/>
                  </a:moveTo>
                  <a:lnTo>
                    <a:pt x="629" y="16"/>
                  </a:lnTo>
                  <a:lnTo>
                    <a:pt x="613" y="136"/>
                  </a:lnTo>
                  <a:lnTo>
                    <a:pt x="605" y="136"/>
                  </a:lnTo>
                  <a:lnTo>
                    <a:pt x="600" y="122"/>
                  </a:lnTo>
                  <a:lnTo>
                    <a:pt x="593" y="108"/>
                  </a:lnTo>
                  <a:lnTo>
                    <a:pt x="586" y="94"/>
                  </a:lnTo>
                  <a:lnTo>
                    <a:pt x="578" y="81"/>
                  </a:lnTo>
                  <a:lnTo>
                    <a:pt x="569" y="69"/>
                  </a:lnTo>
                  <a:lnTo>
                    <a:pt x="559" y="58"/>
                  </a:lnTo>
                  <a:lnTo>
                    <a:pt x="548" y="48"/>
                  </a:lnTo>
                  <a:lnTo>
                    <a:pt x="536" y="38"/>
                  </a:lnTo>
                  <a:lnTo>
                    <a:pt x="524" y="30"/>
                  </a:lnTo>
                  <a:lnTo>
                    <a:pt x="511" y="22"/>
                  </a:lnTo>
                  <a:lnTo>
                    <a:pt x="497" y="15"/>
                  </a:lnTo>
                  <a:lnTo>
                    <a:pt x="483" y="10"/>
                  </a:lnTo>
                  <a:lnTo>
                    <a:pt x="468" y="6"/>
                  </a:lnTo>
                  <a:lnTo>
                    <a:pt x="452" y="2"/>
                  </a:lnTo>
                  <a:lnTo>
                    <a:pt x="436" y="1"/>
                  </a:lnTo>
                  <a:lnTo>
                    <a:pt x="420" y="0"/>
                  </a:lnTo>
                  <a:lnTo>
                    <a:pt x="397" y="1"/>
                  </a:lnTo>
                  <a:lnTo>
                    <a:pt x="375" y="4"/>
                  </a:lnTo>
                  <a:lnTo>
                    <a:pt x="355" y="8"/>
                  </a:lnTo>
                  <a:lnTo>
                    <a:pt x="335" y="14"/>
                  </a:lnTo>
                  <a:lnTo>
                    <a:pt x="316" y="22"/>
                  </a:lnTo>
                  <a:lnTo>
                    <a:pt x="298" y="31"/>
                  </a:lnTo>
                  <a:lnTo>
                    <a:pt x="281" y="41"/>
                  </a:lnTo>
                  <a:lnTo>
                    <a:pt x="264" y="53"/>
                  </a:lnTo>
                  <a:lnTo>
                    <a:pt x="249" y="66"/>
                  </a:lnTo>
                  <a:lnTo>
                    <a:pt x="234" y="80"/>
                  </a:lnTo>
                  <a:lnTo>
                    <a:pt x="219" y="96"/>
                  </a:lnTo>
                  <a:lnTo>
                    <a:pt x="206" y="112"/>
                  </a:lnTo>
                  <a:lnTo>
                    <a:pt x="193" y="129"/>
                  </a:lnTo>
                  <a:lnTo>
                    <a:pt x="181" y="147"/>
                  </a:lnTo>
                  <a:lnTo>
                    <a:pt x="170" y="166"/>
                  </a:lnTo>
                  <a:lnTo>
                    <a:pt x="160" y="186"/>
                  </a:lnTo>
                  <a:lnTo>
                    <a:pt x="150" y="206"/>
                  </a:lnTo>
                  <a:lnTo>
                    <a:pt x="140" y="226"/>
                  </a:lnTo>
                  <a:lnTo>
                    <a:pt x="131" y="247"/>
                  </a:lnTo>
                  <a:lnTo>
                    <a:pt x="124" y="268"/>
                  </a:lnTo>
                  <a:lnTo>
                    <a:pt x="116" y="289"/>
                  </a:lnTo>
                  <a:lnTo>
                    <a:pt x="110" y="310"/>
                  </a:lnTo>
                  <a:lnTo>
                    <a:pt x="104" y="332"/>
                  </a:lnTo>
                  <a:lnTo>
                    <a:pt x="99" y="353"/>
                  </a:lnTo>
                  <a:lnTo>
                    <a:pt x="95" y="375"/>
                  </a:lnTo>
                  <a:lnTo>
                    <a:pt x="91" y="396"/>
                  </a:lnTo>
                  <a:lnTo>
                    <a:pt x="87" y="417"/>
                  </a:lnTo>
                  <a:lnTo>
                    <a:pt x="85" y="438"/>
                  </a:lnTo>
                  <a:lnTo>
                    <a:pt x="83" y="459"/>
                  </a:lnTo>
                  <a:lnTo>
                    <a:pt x="81" y="479"/>
                  </a:lnTo>
                  <a:lnTo>
                    <a:pt x="81" y="498"/>
                  </a:lnTo>
                  <a:lnTo>
                    <a:pt x="80" y="516"/>
                  </a:lnTo>
                  <a:lnTo>
                    <a:pt x="81" y="539"/>
                  </a:lnTo>
                  <a:lnTo>
                    <a:pt x="83" y="563"/>
                  </a:lnTo>
                  <a:lnTo>
                    <a:pt x="86" y="586"/>
                  </a:lnTo>
                  <a:lnTo>
                    <a:pt x="90" y="610"/>
                  </a:lnTo>
                  <a:lnTo>
                    <a:pt x="96" y="633"/>
                  </a:lnTo>
                  <a:lnTo>
                    <a:pt x="103" y="656"/>
                  </a:lnTo>
                  <a:lnTo>
                    <a:pt x="107" y="667"/>
                  </a:lnTo>
                  <a:lnTo>
                    <a:pt x="112" y="677"/>
                  </a:lnTo>
                  <a:lnTo>
                    <a:pt x="117" y="688"/>
                  </a:lnTo>
                  <a:lnTo>
                    <a:pt x="122" y="698"/>
                  </a:lnTo>
                  <a:lnTo>
                    <a:pt x="128" y="708"/>
                  </a:lnTo>
                  <a:lnTo>
                    <a:pt x="135" y="717"/>
                  </a:lnTo>
                  <a:lnTo>
                    <a:pt x="142" y="727"/>
                  </a:lnTo>
                  <a:lnTo>
                    <a:pt x="150" y="736"/>
                  </a:lnTo>
                  <a:lnTo>
                    <a:pt x="157" y="744"/>
                  </a:lnTo>
                  <a:lnTo>
                    <a:pt x="165" y="751"/>
                  </a:lnTo>
                  <a:lnTo>
                    <a:pt x="174" y="758"/>
                  </a:lnTo>
                  <a:lnTo>
                    <a:pt x="183" y="765"/>
                  </a:lnTo>
                  <a:lnTo>
                    <a:pt x="193" y="770"/>
                  </a:lnTo>
                  <a:lnTo>
                    <a:pt x="203" y="776"/>
                  </a:lnTo>
                  <a:lnTo>
                    <a:pt x="213" y="780"/>
                  </a:lnTo>
                  <a:lnTo>
                    <a:pt x="224" y="784"/>
                  </a:lnTo>
                  <a:lnTo>
                    <a:pt x="236" y="787"/>
                  </a:lnTo>
                  <a:lnTo>
                    <a:pt x="248" y="789"/>
                  </a:lnTo>
                  <a:lnTo>
                    <a:pt x="261" y="790"/>
                  </a:lnTo>
                  <a:lnTo>
                    <a:pt x="274" y="790"/>
                  </a:lnTo>
                  <a:lnTo>
                    <a:pt x="293" y="790"/>
                  </a:lnTo>
                  <a:lnTo>
                    <a:pt x="312" y="788"/>
                  </a:lnTo>
                  <a:lnTo>
                    <a:pt x="330" y="785"/>
                  </a:lnTo>
                  <a:lnTo>
                    <a:pt x="347" y="780"/>
                  </a:lnTo>
                  <a:lnTo>
                    <a:pt x="363" y="775"/>
                  </a:lnTo>
                  <a:lnTo>
                    <a:pt x="379" y="768"/>
                  </a:lnTo>
                  <a:lnTo>
                    <a:pt x="394" y="761"/>
                  </a:lnTo>
                  <a:lnTo>
                    <a:pt x="409" y="752"/>
                  </a:lnTo>
                  <a:lnTo>
                    <a:pt x="424" y="743"/>
                  </a:lnTo>
                  <a:lnTo>
                    <a:pt x="437" y="732"/>
                  </a:lnTo>
                  <a:lnTo>
                    <a:pt x="450" y="721"/>
                  </a:lnTo>
                  <a:lnTo>
                    <a:pt x="463" y="708"/>
                  </a:lnTo>
                  <a:lnTo>
                    <a:pt x="475" y="695"/>
                  </a:lnTo>
                  <a:lnTo>
                    <a:pt x="486" y="682"/>
                  </a:lnTo>
                  <a:lnTo>
                    <a:pt x="497" y="668"/>
                  </a:lnTo>
                  <a:lnTo>
                    <a:pt x="508" y="653"/>
                  </a:lnTo>
                  <a:lnTo>
                    <a:pt x="494" y="731"/>
                  </a:lnTo>
                  <a:lnTo>
                    <a:pt x="481" y="801"/>
                  </a:lnTo>
                  <a:lnTo>
                    <a:pt x="473" y="832"/>
                  </a:lnTo>
                  <a:lnTo>
                    <a:pt x="464" y="861"/>
                  </a:lnTo>
                  <a:lnTo>
                    <a:pt x="459" y="875"/>
                  </a:lnTo>
                  <a:lnTo>
                    <a:pt x="453" y="888"/>
                  </a:lnTo>
                  <a:lnTo>
                    <a:pt x="447" y="900"/>
                  </a:lnTo>
                  <a:lnTo>
                    <a:pt x="440" y="912"/>
                  </a:lnTo>
                  <a:lnTo>
                    <a:pt x="432" y="923"/>
                  </a:lnTo>
                  <a:lnTo>
                    <a:pt x="424" y="934"/>
                  </a:lnTo>
                  <a:lnTo>
                    <a:pt x="414" y="944"/>
                  </a:lnTo>
                  <a:lnTo>
                    <a:pt x="404" y="953"/>
                  </a:lnTo>
                  <a:lnTo>
                    <a:pt x="394" y="961"/>
                  </a:lnTo>
                  <a:lnTo>
                    <a:pt x="382" y="969"/>
                  </a:lnTo>
                  <a:lnTo>
                    <a:pt x="369" y="976"/>
                  </a:lnTo>
                  <a:lnTo>
                    <a:pt x="356" y="983"/>
                  </a:lnTo>
                  <a:lnTo>
                    <a:pt x="341" y="988"/>
                  </a:lnTo>
                  <a:lnTo>
                    <a:pt x="325" y="993"/>
                  </a:lnTo>
                  <a:lnTo>
                    <a:pt x="308" y="999"/>
                  </a:lnTo>
                  <a:lnTo>
                    <a:pt x="289" y="1002"/>
                  </a:lnTo>
                  <a:lnTo>
                    <a:pt x="270" y="1005"/>
                  </a:lnTo>
                  <a:lnTo>
                    <a:pt x="248" y="1007"/>
                  </a:lnTo>
                  <a:lnTo>
                    <a:pt x="226" y="1008"/>
                  </a:lnTo>
                  <a:lnTo>
                    <a:pt x="202" y="1008"/>
                  </a:lnTo>
                  <a:lnTo>
                    <a:pt x="178" y="1008"/>
                  </a:lnTo>
                  <a:lnTo>
                    <a:pt x="155" y="1006"/>
                  </a:lnTo>
                  <a:lnTo>
                    <a:pt x="131" y="1002"/>
                  </a:lnTo>
                  <a:lnTo>
                    <a:pt x="109" y="996"/>
                  </a:lnTo>
                  <a:lnTo>
                    <a:pt x="88" y="991"/>
                  </a:lnTo>
                  <a:lnTo>
                    <a:pt x="66" y="984"/>
                  </a:lnTo>
                  <a:lnTo>
                    <a:pt x="45" y="976"/>
                  </a:lnTo>
                  <a:lnTo>
                    <a:pt x="24" y="967"/>
                  </a:lnTo>
                  <a:lnTo>
                    <a:pt x="0" y="1081"/>
                  </a:lnTo>
                  <a:lnTo>
                    <a:pt x="27" y="1084"/>
                  </a:lnTo>
                  <a:lnTo>
                    <a:pt x="53" y="1088"/>
                  </a:lnTo>
                  <a:lnTo>
                    <a:pt x="78" y="1092"/>
                  </a:lnTo>
                  <a:lnTo>
                    <a:pt x="103" y="1096"/>
                  </a:lnTo>
                  <a:lnTo>
                    <a:pt x="128" y="1099"/>
                  </a:lnTo>
                  <a:lnTo>
                    <a:pt x="154" y="1102"/>
                  </a:lnTo>
                  <a:lnTo>
                    <a:pt x="178" y="1104"/>
                  </a:lnTo>
                  <a:lnTo>
                    <a:pt x="202" y="1105"/>
                  </a:lnTo>
                  <a:lnTo>
                    <a:pt x="223" y="1105"/>
                  </a:lnTo>
                  <a:lnTo>
                    <a:pt x="244" y="1104"/>
                  </a:lnTo>
                  <a:lnTo>
                    <a:pt x="264" y="1103"/>
                  </a:lnTo>
                  <a:lnTo>
                    <a:pt x="284" y="1101"/>
                  </a:lnTo>
                  <a:lnTo>
                    <a:pt x="303" y="1098"/>
                  </a:lnTo>
                  <a:lnTo>
                    <a:pt x="321" y="1095"/>
                  </a:lnTo>
                  <a:lnTo>
                    <a:pt x="339" y="1092"/>
                  </a:lnTo>
                  <a:lnTo>
                    <a:pt x="356" y="1088"/>
                  </a:lnTo>
                  <a:lnTo>
                    <a:pt x="372" y="1083"/>
                  </a:lnTo>
                  <a:lnTo>
                    <a:pt x="388" y="1078"/>
                  </a:lnTo>
                  <a:lnTo>
                    <a:pt x="404" y="1072"/>
                  </a:lnTo>
                  <a:lnTo>
                    <a:pt x="419" y="1065"/>
                  </a:lnTo>
                  <a:lnTo>
                    <a:pt x="433" y="1058"/>
                  </a:lnTo>
                  <a:lnTo>
                    <a:pt x="447" y="1050"/>
                  </a:lnTo>
                  <a:lnTo>
                    <a:pt x="460" y="1042"/>
                  </a:lnTo>
                  <a:lnTo>
                    <a:pt x="472" y="1033"/>
                  </a:lnTo>
                  <a:lnTo>
                    <a:pt x="484" y="1023"/>
                  </a:lnTo>
                  <a:lnTo>
                    <a:pt x="495" y="1012"/>
                  </a:lnTo>
                  <a:lnTo>
                    <a:pt x="506" y="1001"/>
                  </a:lnTo>
                  <a:lnTo>
                    <a:pt x="516" y="989"/>
                  </a:lnTo>
                  <a:lnTo>
                    <a:pt x="525" y="976"/>
                  </a:lnTo>
                  <a:lnTo>
                    <a:pt x="534" y="963"/>
                  </a:lnTo>
                  <a:lnTo>
                    <a:pt x="543" y="949"/>
                  </a:lnTo>
                  <a:lnTo>
                    <a:pt x="551" y="934"/>
                  </a:lnTo>
                  <a:lnTo>
                    <a:pt x="558" y="919"/>
                  </a:lnTo>
                  <a:lnTo>
                    <a:pt x="565" y="903"/>
                  </a:lnTo>
                  <a:lnTo>
                    <a:pt x="572" y="886"/>
                  </a:lnTo>
                  <a:lnTo>
                    <a:pt x="578" y="869"/>
                  </a:lnTo>
                  <a:lnTo>
                    <a:pt x="583" y="850"/>
                  </a:lnTo>
                  <a:lnTo>
                    <a:pt x="588" y="831"/>
                  </a:lnTo>
                  <a:lnTo>
                    <a:pt x="593" y="811"/>
                  </a:lnTo>
                  <a:lnTo>
                    <a:pt x="597" y="790"/>
                  </a:lnTo>
                  <a:lnTo>
                    <a:pt x="750" y="16"/>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30" name="Freeform 17"/>
            <p:cNvSpPr>
              <a:spLocks/>
            </p:cNvSpPr>
            <p:nvPr userDrawn="1">
              <p:custDataLst>
                <p:tags r:id="rId16"/>
              </p:custDataLst>
            </p:nvPr>
          </p:nvSpPr>
          <p:spPr bwMode="gray">
            <a:xfrm>
              <a:off x="923925" y="3679825"/>
              <a:ext cx="142875" cy="241300"/>
            </a:xfrm>
            <a:custGeom>
              <a:avLst/>
              <a:gdLst/>
              <a:ahLst/>
              <a:cxnLst>
                <a:cxn ang="0">
                  <a:pos x="549" y="1121"/>
                </a:cxn>
                <a:cxn ang="0">
                  <a:pos x="525" y="661"/>
                </a:cxn>
                <a:cxn ang="0">
                  <a:pos x="536" y="594"/>
                </a:cxn>
                <a:cxn ang="0">
                  <a:pos x="539" y="563"/>
                </a:cxn>
                <a:cxn ang="0">
                  <a:pos x="541" y="533"/>
                </a:cxn>
                <a:cxn ang="0">
                  <a:pos x="539" y="513"/>
                </a:cxn>
                <a:cxn ang="0">
                  <a:pos x="535" y="494"/>
                </a:cxn>
                <a:cxn ang="0">
                  <a:pos x="528" y="477"/>
                </a:cxn>
                <a:cxn ang="0">
                  <a:pos x="518" y="462"/>
                </a:cxn>
                <a:cxn ang="0">
                  <a:pos x="505" y="451"/>
                </a:cxn>
                <a:cxn ang="0">
                  <a:pos x="489" y="442"/>
                </a:cxn>
                <a:cxn ang="0">
                  <a:pos x="471" y="437"/>
                </a:cxn>
                <a:cxn ang="0">
                  <a:pos x="451" y="435"/>
                </a:cxn>
                <a:cxn ang="0">
                  <a:pos x="419" y="439"/>
                </a:cxn>
                <a:cxn ang="0">
                  <a:pos x="389" y="448"/>
                </a:cxn>
                <a:cxn ang="0">
                  <a:pos x="361" y="463"/>
                </a:cxn>
                <a:cxn ang="0">
                  <a:pos x="335" y="483"/>
                </a:cxn>
                <a:cxn ang="0">
                  <a:pos x="311" y="507"/>
                </a:cxn>
                <a:cxn ang="0">
                  <a:pos x="288" y="535"/>
                </a:cxn>
                <a:cxn ang="0">
                  <a:pos x="268" y="565"/>
                </a:cxn>
                <a:cxn ang="0">
                  <a:pos x="249" y="597"/>
                </a:cxn>
                <a:cxn ang="0">
                  <a:pos x="218" y="666"/>
                </a:cxn>
                <a:cxn ang="0">
                  <a:pos x="192" y="735"/>
                </a:cxn>
                <a:cxn ang="0">
                  <a:pos x="173" y="800"/>
                </a:cxn>
                <a:cxn ang="0">
                  <a:pos x="161" y="855"/>
                </a:cxn>
                <a:cxn ang="0">
                  <a:pos x="0" y="1121"/>
                </a:cxn>
                <a:cxn ang="0">
                  <a:pos x="331" y="0"/>
                </a:cxn>
                <a:cxn ang="0">
                  <a:pos x="234" y="509"/>
                </a:cxn>
                <a:cxn ang="0">
                  <a:pos x="261" y="470"/>
                </a:cxn>
                <a:cxn ang="0">
                  <a:pos x="288" y="436"/>
                </a:cxn>
                <a:cxn ang="0">
                  <a:pos x="317" y="406"/>
                </a:cxn>
                <a:cxn ang="0">
                  <a:pos x="347" y="380"/>
                </a:cxn>
                <a:cxn ang="0">
                  <a:pos x="380" y="359"/>
                </a:cxn>
                <a:cxn ang="0">
                  <a:pos x="417" y="344"/>
                </a:cxn>
                <a:cxn ang="0">
                  <a:pos x="460" y="334"/>
                </a:cxn>
                <a:cxn ang="0">
                  <a:pos x="509" y="331"/>
                </a:cxn>
                <a:cxn ang="0">
                  <a:pos x="543" y="334"/>
                </a:cxn>
                <a:cxn ang="0">
                  <a:pos x="573" y="345"/>
                </a:cxn>
                <a:cxn ang="0">
                  <a:pos x="599" y="361"/>
                </a:cxn>
                <a:cxn ang="0">
                  <a:pos x="621" y="382"/>
                </a:cxn>
                <a:cxn ang="0">
                  <a:pos x="638" y="407"/>
                </a:cxn>
                <a:cxn ang="0">
                  <a:pos x="651" y="436"/>
                </a:cxn>
                <a:cxn ang="0">
                  <a:pos x="659" y="467"/>
                </a:cxn>
                <a:cxn ang="0">
                  <a:pos x="661" y="501"/>
                </a:cxn>
                <a:cxn ang="0">
                  <a:pos x="660" y="531"/>
                </a:cxn>
                <a:cxn ang="0">
                  <a:pos x="656" y="561"/>
                </a:cxn>
                <a:cxn ang="0">
                  <a:pos x="645" y="621"/>
                </a:cxn>
              </a:cxnLst>
              <a:rect l="0" t="0" r="r" b="b"/>
              <a:pathLst>
                <a:path w="661" h="1121">
                  <a:moveTo>
                    <a:pt x="645" y="621"/>
                  </a:moveTo>
                  <a:lnTo>
                    <a:pt x="549" y="1121"/>
                  </a:lnTo>
                  <a:lnTo>
                    <a:pt x="435" y="1121"/>
                  </a:lnTo>
                  <a:lnTo>
                    <a:pt x="525" y="661"/>
                  </a:lnTo>
                  <a:lnTo>
                    <a:pt x="531" y="627"/>
                  </a:lnTo>
                  <a:lnTo>
                    <a:pt x="536" y="594"/>
                  </a:lnTo>
                  <a:lnTo>
                    <a:pt x="538" y="578"/>
                  </a:lnTo>
                  <a:lnTo>
                    <a:pt x="539" y="563"/>
                  </a:lnTo>
                  <a:lnTo>
                    <a:pt x="540" y="548"/>
                  </a:lnTo>
                  <a:lnTo>
                    <a:pt x="541" y="533"/>
                  </a:lnTo>
                  <a:lnTo>
                    <a:pt x="540" y="522"/>
                  </a:lnTo>
                  <a:lnTo>
                    <a:pt x="539" y="513"/>
                  </a:lnTo>
                  <a:lnTo>
                    <a:pt x="537" y="503"/>
                  </a:lnTo>
                  <a:lnTo>
                    <a:pt x="535" y="494"/>
                  </a:lnTo>
                  <a:lnTo>
                    <a:pt x="532" y="485"/>
                  </a:lnTo>
                  <a:lnTo>
                    <a:pt x="528" y="477"/>
                  </a:lnTo>
                  <a:lnTo>
                    <a:pt x="523" y="469"/>
                  </a:lnTo>
                  <a:lnTo>
                    <a:pt x="518" y="462"/>
                  </a:lnTo>
                  <a:lnTo>
                    <a:pt x="512" y="456"/>
                  </a:lnTo>
                  <a:lnTo>
                    <a:pt x="505" y="451"/>
                  </a:lnTo>
                  <a:lnTo>
                    <a:pt x="498" y="446"/>
                  </a:lnTo>
                  <a:lnTo>
                    <a:pt x="489" y="442"/>
                  </a:lnTo>
                  <a:lnTo>
                    <a:pt x="480" y="439"/>
                  </a:lnTo>
                  <a:lnTo>
                    <a:pt x="471" y="437"/>
                  </a:lnTo>
                  <a:lnTo>
                    <a:pt x="462" y="436"/>
                  </a:lnTo>
                  <a:lnTo>
                    <a:pt x="451" y="435"/>
                  </a:lnTo>
                  <a:lnTo>
                    <a:pt x="435" y="436"/>
                  </a:lnTo>
                  <a:lnTo>
                    <a:pt x="419" y="439"/>
                  </a:lnTo>
                  <a:lnTo>
                    <a:pt x="404" y="443"/>
                  </a:lnTo>
                  <a:lnTo>
                    <a:pt x="389" y="448"/>
                  </a:lnTo>
                  <a:lnTo>
                    <a:pt x="375" y="455"/>
                  </a:lnTo>
                  <a:lnTo>
                    <a:pt x="361" y="463"/>
                  </a:lnTo>
                  <a:lnTo>
                    <a:pt x="348" y="472"/>
                  </a:lnTo>
                  <a:lnTo>
                    <a:pt x="335" y="483"/>
                  </a:lnTo>
                  <a:lnTo>
                    <a:pt x="323" y="495"/>
                  </a:lnTo>
                  <a:lnTo>
                    <a:pt x="311" y="507"/>
                  </a:lnTo>
                  <a:lnTo>
                    <a:pt x="299" y="521"/>
                  </a:lnTo>
                  <a:lnTo>
                    <a:pt x="288" y="535"/>
                  </a:lnTo>
                  <a:lnTo>
                    <a:pt x="278" y="549"/>
                  </a:lnTo>
                  <a:lnTo>
                    <a:pt x="268" y="565"/>
                  </a:lnTo>
                  <a:lnTo>
                    <a:pt x="259" y="581"/>
                  </a:lnTo>
                  <a:lnTo>
                    <a:pt x="249" y="597"/>
                  </a:lnTo>
                  <a:lnTo>
                    <a:pt x="233" y="631"/>
                  </a:lnTo>
                  <a:lnTo>
                    <a:pt x="218" y="666"/>
                  </a:lnTo>
                  <a:lnTo>
                    <a:pt x="203" y="700"/>
                  </a:lnTo>
                  <a:lnTo>
                    <a:pt x="192" y="735"/>
                  </a:lnTo>
                  <a:lnTo>
                    <a:pt x="182" y="768"/>
                  </a:lnTo>
                  <a:lnTo>
                    <a:pt x="173" y="800"/>
                  </a:lnTo>
                  <a:lnTo>
                    <a:pt x="166" y="829"/>
                  </a:lnTo>
                  <a:lnTo>
                    <a:pt x="161" y="855"/>
                  </a:lnTo>
                  <a:lnTo>
                    <a:pt x="113" y="1121"/>
                  </a:lnTo>
                  <a:lnTo>
                    <a:pt x="0" y="1121"/>
                  </a:lnTo>
                  <a:lnTo>
                    <a:pt x="218" y="0"/>
                  </a:lnTo>
                  <a:lnTo>
                    <a:pt x="331" y="0"/>
                  </a:lnTo>
                  <a:lnTo>
                    <a:pt x="234" y="501"/>
                  </a:lnTo>
                  <a:lnTo>
                    <a:pt x="234" y="509"/>
                  </a:lnTo>
                  <a:lnTo>
                    <a:pt x="248" y="488"/>
                  </a:lnTo>
                  <a:lnTo>
                    <a:pt x="261" y="470"/>
                  </a:lnTo>
                  <a:lnTo>
                    <a:pt x="275" y="453"/>
                  </a:lnTo>
                  <a:lnTo>
                    <a:pt x="288" y="436"/>
                  </a:lnTo>
                  <a:lnTo>
                    <a:pt x="302" y="420"/>
                  </a:lnTo>
                  <a:lnTo>
                    <a:pt x="317" y="406"/>
                  </a:lnTo>
                  <a:lnTo>
                    <a:pt x="331" y="392"/>
                  </a:lnTo>
                  <a:lnTo>
                    <a:pt x="347" y="380"/>
                  </a:lnTo>
                  <a:lnTo>
                    <a:pt x="363" y="369"/>
                  </a:lnTo>
                  <a:lnTo>
                    <a:pt x="380" y="359"/>
                  </a:lnTo>
                  <a:lnTo>
                    <a:pt x="398" y="351"/>
                  </a:lnTo>
                  <a:lnTo>
                    <a:pt x="417" y="344"/>
                  </a:lnTo>
                  <a:lnTo>
                    <a:pt x="438" y="338"/>
                  </a:lnTo>
                  <a:lnTo>
                    <a:pt x="460" y="334"/>
                  </a:lnTo>
                  <a:lnTo>
                    <a:pt x="483" y="332"/>
                  </a:lnTo>
                  <a:lnTo>
                    <a:pt x="509" y="331"/>
                  </a:lnTo>
                  <a:lnTo>
                    <a:pt x="526" y="332"/>
                  </a:lnTo>
                  <a:lnTo>
                    <a:pt x="543" y="334"/>
                  </a:lnTo>
                  <a:lnTo>
                    <a:pt x="558" y="339"/>
                  </a:lnTo>
                  <a:lnTo>
                    <a:pt x="573" y="345"/>
                  </a:lnTo>
                  <a:lnTo>
                    <a:pt x="587" y="352"/>
                  </a:lnTo>
                  <a:lnTo>
                    <a:pt x="599" y="361"/>
                  </a:lnTo>
                  <a:lnTo>
                    <a:pt x="611" y="371"/>
                  </a:lnTo>
                  <a:lnTo>
                    <a:pt x="621" y="382"/>
                  </a:lnTo>
                  <a:lnTo>
                    <a:pt x="630" y="394"/>
                  </a:lnTo>
                  <a:lnTo>
                    <a:pt x="638" y="407"/>
                  </a:lnTo>
                  <a:lnTo>
                    <a:pt x="645" y="421"/>
                  </a:lnTo>
                  <a:lnTo>
                    <a:pt x="651" y="436"/>
                  </a:lnTo>
                  <a:lnTo>
                    <a:pt x="655" y="451"/>
                  </a:lnTo>
                  <a:lnTo>
                    <a:pt x="659" y="467"/>
                  </a:lnTo>
                  <a:lnTo>
                    <a:pt x="661" y="483"/>
                  </a:lnTo>
                  <a:lnTo>
                    <a:pt x="661" y="501"/>
                  </a:lnTo>
                  <a:lnTo>
                    <a:pt x="661" y="516"/>
                  </a:lnTo>
                  <a:lnTo>
                    <a:pt x="660" y="531"/>
                  </a:lnTo>
                  <a:lnTo>
                    <a:pt x="658" y="546"/>
                  </a:lnTo>
                  <a:lnTo>
                    <a:pt x="656" y="561"/>
                  </a:lnTo>
                  <a:lnTo>
                    <a:pt x="651" y="591"/>
                  </a:lnTo>
                  <a:lnTo>
                    <a:pt x="645" y="621"/>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31" name="Freeform 18"/>
            <p:cNvSpPr>
              <a:spLocks noEditPoints="1"/>
            </p:cNvSpPr>
            <p:nvPr userDrawn="1">
              <p:custDataLst>
                <p:tags r:id="rId17"/>
              </p:custDataLst>
            </p:nvPr>
          </p:nvSpPr>
          <p:spPr bwMode="gray">
            <a:xfrm>
              <a:off x="1116013" y="3751263"/>
              <a:ext cx="158750" cy="246062"/>
            </a:xfrm>
            <a:custGeom>
              <a:avLst/>
              <a:gdLst/>
              <a:ahLst/>
              <a:cxnLst>
                <a:cxn ang="0">
                  <a:pos x="602" y="337"/>
                </a:cxn>
                <a:cxn ang="0">
                  <a:pos x="587" y="438"/>
                </a:cxn>
                <a:cxn ang="0">
                  <a:pos x="557" y="544"/>
                </a:cxn>
                <a:cxn ang="0">
                  <a:pos x="535" y="593"/>
                </a:cxn>
                <a:cxn ang="0">
                  <a:pos x="510" y="636"/>
                </a:cxn>
                <a:cxn ang="0">
                  <a:pos x="479" y="671"/>
                </a:cxn>
                <a:cxn ang="0">
                  <a:pos x="443" y="696"/>
                </a:cxn>
                <a:cxn ang="0">
                  <a:pos x="402" y="708"/>
                </a:cxn>
                <a:cxn ang="0">
                  <a:pos x="368" y="708"/>
                </a:cxn>
                <a:cxn ang="0">
                  <a:pos x="343" y="701"/>
                </a:cxn>
                <a:cxn ang="0">
                  <a:pos x="322" y="690"/>
                </a:cxn>
                <a:cxn ang="0">
                  <a:pos x="303" y="675"/>
                </a:cxn>
                <a:cxn ang="0">
                  <a:pos x="280" y="642"/>
                </a:cxn>
                <a:cxn ang="0">
                  <a:pos x="261" y="594"/>
                </a:cxn>
                <a:cxn ang="0">
                  <a:pos x="252" y="542"/>
                </a:cxn>
                <a:cxn ang="0">
                  <a:pos x="251" y="481"/>
                </a:cxn>
                <a:cxn ang="0">
                  <a:pos x="263" y="384"/>
                </a:cxn>
                <a:cxn ang="0">
                  <a:pos x="285" y="298"/>
                </a:cxn>
                <a:cxn ang="0">
                  <a:pos x="304" y="247"/>
                </a:cxn>
                <a:cxn ang="0">
                  <a:pos x="327" y="200"/>
                </a:cxn>
                <a:cxn ang="0">
                  <a:pos x="355" y="158"/>
                </a:cxn>
                <a:cxn ang="0">
                  <a:pos x="387" y="124"/>
                </a:cxn>
                <a:cxn ang="0">
                  <a:pos x="425" y="101"/>
                </a:cxn>
                <a:cxn ang="0">
                  <a:pos x="469" y="89"/>
                </a:cxn>
                <a:cxn ang="0">
                  <a:pos x="504" y="90"/>
                </a:cxn>
                <a:cxn ang="0">
                  <a:pos x="530" y="96"/>
                </a:cxn>
                <a:cxn ang="0">
                  <a:pos x="551" y="107"/>
                </a:cxn>
                <a:cxn ang="0">
                  <a:pos x="567" y="122"/>
                </a:cxn>
                <a:cxn ang="0">
                  <a:pos x="587" y="155"/>
                </a:cxn>
                <a:cxn ang="0">
                  <a:pos x="600" y="202"/>
                </a:cxn>
                <a:cxn ang="0">
                  <a:pos x="605" y="282"/>
                </a:cxn>
                <a:cxn ang="0">
                  <a:pos x="732" y="215"/>
                </a:cxn>
                <a:cxn ang="0">
                  <a:pos x="718" y="143"/>
                </a:cxn>
                <a:cxn ang="0">
                  <a:pos x="701" y="100"/>
                </a:cxn>
                <a:cxn ang="0">
                  <a:pos x="683" y="72"/>
                </a:cxn>
                <a:cxn ang="0">
                  <a:pos x="661" y="48"/>
                </a:cxn>
                <a:cxn ang="0">
                  <a:pos x="635" y="28"/>
                </a:cxn>
                <a:cxn ang="0">
                  <a:pos x="604" y="13"/>
                </a:cxn>
                <a:cxn ang="0">
                  <a:pos x="567" y="3"/>
                </a:cxn>
                <a:cxn ang="0">
                  <a:pos x="525" y="0"/>
                </a:cxn>
                <a:cxn ang="0">
                  <a:pos x="471" y="6"/>
                </a:cxn>
                <a:cxn ang="0">
                  <a:pos x="424" y="22"/>
                </a:cxn>
                <a:cxn ang="0">
                  <a:pos x="386" y="49"/>
                </a:cxn>
                <a:cxn ang="0">
                  <a:pos x="353" y="85"/>
                </a:cxn>
                <a:cxn ang="0">
                  <a:pos x="324" y="128"/>
                </a:cxn>
                <a:cxn ang="0">
                  <a:pos x="331" y="16"/>
                </a:cxn>
                <a:cxn ang="0">
                  <a:pos x="113" y="1137"/>
                </a:cxn>
                <a:cxn ang="0">
                  <a:pos x="215" y="684"/>
                </a:cxn>
                <a:cxn ang="0">
                  <a:pos x="237" y="725"/>
                </a:cxn>
                <a:cxn ang="0">
                  <a:pos x="267" y="759"/>
                </a:cxn>
                <a:cxn ang="0">
                  <a:pos x="304" y="785"/>
                </a:cxn>
                <a:cxn ang="0">
                  <a:pos x="347" y="801"/>
                </a:cxn>
                <a:cxn ang="0">
                  <a:pos x="395" y="806"/>
                </a:cxn>
                <a:cxn ang="0">
                  <a:pos x="462" y="798"/>
                </a:cxn>
                <a:cxn ang="0">
                  <a:pos x="520" y="773"/>
                </a:cxn>
                <a:cxn ang="0">
                  <a:pos x="570" y="736"/>
                </a:cxn>
                <a:cxn ang="0">
                  <a:pos x="612" y="686"/>
                </a:cxn>
                <a:cxn ang="0">
                  <a:pos x="648" y="629"/>
                </a:cxn>
                <a:cxn ang="0">
                  <a:pos x="677" y="566"/>
                </a:cxn>
                <a:cxn ang="0">
                  <a:pos x="699" y="500"/>
                </a:cxn>
                <a:cxn ang="0">
                  <a:pos x="717" y="432"/>
                </a:cxn>
                <a:cxn ang="0">
                  <a:pos x="728" y="366"/>
                </a:cxn>
                <a:cxn ang="0">
                  <a:pos x="735" y="266"/>
                </a:cxn>
              </a:cxnLst>
              <a:rect l="0" t="0" r="r" b="b"/>
              <a:pathLst>
                <a:path w="735" h="1137">
                  <a:moveTo>
                    <a:pt x="605" y="282"/>
                  </a:moveTo>
                  <a:lnTo>
                    <a:pt x="604" y="308"/>
                  </a:lnTo>
                  <a:lnTo>
                    <a:pt x="602" y="337"/>
                  </a:lnTo>
                  <a:lnTo>
                    <a:pt x="599" y="369"/>
                  </a:lnTo>
                  <a:lnTo>
                    <a:pt x="594" y="403"/>
                  </a:lnTo>
                  <a:lnTo>
                    <a:pt x="587" y="438"/>
                  </a:lnTo>
                  <a:lnTo>
                    <a:pt x="579" y="474"/>
                  </a:lnTo>
                  <a:lnTo>
                    <a:pt x="569" y="510"/>
                  </a:lnTo>
                  <a:lnTo>
                    <a:pt x="557" y="544"/>
                  </a:lnTo>
                  <a:lnTo>
                    <a:pt x="550" y="561"/>
                  </a:lnTo>
                  <a:lnTo>
                    <a:pt x="543" y="577"/>
                  </a:lnTo>
                  <a:lnTo>
                    <a:pt x="535" y="593"/>
                  </a:lnTo>
                  <a:lnTo>
                    <a:pt x="527" y="608"/>
                  </a:lnTo>
                  <a:lnTo>
                    <a:pt x="519" y="623"/>
                  </a:lnTo>
                  <a:lnTo>
                    <a:pt x="510" y="636"/>
                  </a:lnTo>
                  <a:lnTo>
                    <a:pt x="500" y="649"/>
                  </a:lnTo>
                  <a:lnTo>
                    <a:pt x="490" y="661"/>
                  </a:lnTo>
                  <a:lnTo>
                    <a:pt x="479" y="671"/>
                  </a:lnTo>
                  <a:lnTo>
                    <a:pt x="468" y="681"/>
                  </a:lnTo>
                  <a:lnTo>
                    <a:pt x="456" y="689"/>
                  </a:lnTo>
                  <a:lnTo>
                    <a:pt x="443" y="696"/>
                  </a:lnTo>
                  <a:lnTo>
                    <a:pt x="429" y="702"/>
                  </a:lnTo>
                  <a:lnTo>
                    <a:pt x="416" y="706"/>
                  </a:lnTo>
                  <a:lnTo>
                    <a:pt x="402" y="708"/>
                  </a:lnTo>
                  <a:lnTo>
                    <a:pt x="387" y="709"/>
                  </a:lnTo>
                  <a:lnTo>
                    <a:pt x="377" y="709"/>
                  </a:lnTo>
                  <a:lnTo>
                    <a:pt x="368" y="708"/>
                  </a:lnTo>
                  <a:lnTo>
                    <a:pt x="360" y="706"/>
                  </a:lnTo>
                  <a:lnTo>
                    <a:pt x="351" y="704"/>
                  </a:lnTo>
                  <a:lnTo>
                    <a:pt x="343" y="701"/>
                  </a:lnTo>
                  <a:lnTo>
                    <a:pt x="336" y="698"/>
                  </a:lnTo>
                  <a:lnTo>
                    <a:pt x="328" y="694"/>
                  </a:lnTo>
                  <a:lnTo>
                    <a:pt x="322" y="690"/>
                  </a:lnTo>
                  <a:lnTo>
                    <a:pt x="315" y="685"/>
                  </a:lnTo>
                  <a:lnTo>
                    <a:pt x="309" y="680"/>
                  </a:lnTo>
                  <a:lnTo>
                    <a:pt x="303" y="675"/>
                  </a:lnTo>
                  <a:lnTo>
                    <a:pt x="298" y="669"/>
                  </a:lnTo>
                  <a:lnTo>
                    <a:pt x="288" y="656"/>
                  </a:lnTo>
                  <a:lnTo>
                    <a:pt x="280" y="642"/>
                  </a:lnTo>
                  <a:lnTo>
                    <a:pt x="272" y="627"/>
                  </a:lnTo>
                  <a:lnTo>
                    <a:pt x="266" y="611"/>
                  </a:lnTo>
                  <a:lnTo>
                    <a:pt x="261" y="594"/>
                  </a:lnTo>
                  <a:lnTo>
                    <a:pt x="257" y="577"/>
                  </a:lnTo>
                  <a:lnTo>
                    <a:pt x="254" y="560"/>
                  </a:lnTo>
                  <a:lnTo>
                    <a:pt x="252" y="542"/>
                  </a:lnTo>
                  <a:lnTo>
                    <a:pt x="251" y="525"/>
                  </a:lnTo>
                  <a:lnTo>
                    <a:pt x="250" y="508"/>
                  </a:lnTo>
                  <a:lnTo>
                    <a:pt x="251" y="481"/>
                  </a:lnTo>
                  <a:lnTo>
                    <a:pt x="254" y="451"/>
                  </a:lnTo>
                  <a:lnTo>
                    <a:pt x="257" y="418"/>
                  </a:lnTo>
                  <a:lnTo>
                    <a:pt x="263" y="384"/>
                  </a:lnTo>
                  <a:lnTo>
                    <a:pt x="270" y="350"/>
                  </a:lnTo>
                  <a:lnTo>
                    <a:pt x="280" y="315"/>
                  </a:lnTo>
                  <a:lnTo>
                    <a:pt x="285" y="298"/>
                  </a:lnTo>
                  <a:lnTo>
                    <a:pt x="291" y="280"/>
                  </a:lnTo>
                  <a:lnTo>
                    <a:pt x="297" y="264"/>
                  </a:lnTo>
                  <a:lnTo>
                    <a:pt x="304" y="247"/>
                  </a:lnTo>
                  <a:lnTo>
                    <a:pt x="311" y="231"/>
                  </a:lnTo>
                  <a:lnTo>
                    <a:pt x="319" y="215"/>
                  </a:lnTo>
                  <a:lnTo>
                    <a:pt x="327" y="200"/>
                  </a:lnTo>
                  <a:lnTo>
                    <a:pt x="336" y="185"/>
                  </a:lnTo>
                  <a:lnTo>
                    <a:pt x="345" y="172"/>
                  </a:lnTo>
                  <a:lnTo>
                    <a:pt x="355" y="158"/>
                  </a:lnTo>
                  <a:lnTo>
                    <a:pt x="365" y="146"/>
                  </a:lnTo>
                  <a:lnTo>
                    <a:pt x="376" y="134"/>
                  </a:lnTo>
                  <a:lnTo>
                    <a:pt x="387" y="124"/>
                  </a:lnTo>
                  <a:lnTo>
                    <a:pt x="399" y="115"/>
                  </a:lnTo>
                  <a:lnTo>
                    <a:pt x="412" y="107"/>
                  </a:lnTo>
                  <a:lnTo>
                    <a:pt x="425" y="101"/>
                  </a:lnTo>
                  <a:lnTo>
                    <a:pt x="440" y="95"/>
                  </a:lnTo>
                  <a:lnTo>
                    <a:pt x="454" y="91"/>
                  </a:lnTo>
                  <a:lnTo>
                    <a:pt x="469" y="89"/>
                  </a:lnTo>
                  <a:lnTo>
                    <a:pt x="485" y="88"/>
                  </a:lnTo>
                  <a:lnTo>
                    <a:pt x="495" y="89"/>
                  </a:lnTo>
                  <a:lnTo>
                    <a:pt x="504" y="90"/>
                  </a:lnTo>
                  <a:lnTo>
                    <a:pt x="513" y="91"/>
                  </a:lnTo>
                  <a:lnTo>
                    <a:pt x="522" y="93"/>
                  </a:lnTo>
                  <a:lnTo>
                    <a:pt x="530" y="96"/>
                  </a:lnTo>
                  <a:lnTo>
                    <a:pt x="537" y="99"/>
                  </a:lnTo>
                  <a:lnTo>
                    <a:pt x="544" y="103"/>
                  </a:lnTo>
                  <a:lnTo>
                    <a:pt x="551" y="107"/>
                  </a:lnTo>
                  <a:lnTo>
                    <a:pt x="557" y="112"/>
                  </a:lnTo>
                  <a:lnTo>
                    <a:pt x="562" y="117"/>
                  </a:lnTo>
                  <a:lnTo>
                    <a:pt x="567" y="122"/>
                  </a:lnTo>
                  <a:lnTo>
                    <a:pt x="572" y="128"/>
                  </a:lnTo>
                  <a:lnTo>
                    <a:pt x="580" y="141"/>
                  </a:lnTo>
                  <a:lnTo>
                    <a:pt x="587" y="155"/>
                  </a:lnTo>
                  <a:lnTo>
                    <a:pt x="592" y="170"/>
                  </a:lnTo>
                  <a:lnTo>
                    <a:pt x="597" y="186"/>
                  </a:lnTo>
                  <a:lnTo>
                    <a:pt x="600" y="202"/>
                  </a:lnTo>
                  <a:lnTo>
                    <a:pt x="602" y="218"/>
                  </a:lnTo>
                  <a:lnTo>
                    <a:pt x="604" y="251"/>
                  </a:lnTo>
                  <a:lnTo>
                    <a:pt x="605" y="282"/>
                  </a:lnTo>
                  <a:close/>
                  <a:moveTo>
                    <a:pt x="735" y="266"/>
                  </a:moveTo>
                  <a:lnTo>
                    <a:pt x="734" y="241"/>
                  </a:lnTo>
                  <a:lnTo>
                    <a:pt x="732" y="215"/>
                  </a:lnTo>
                  <a:lnTo>
                    <a:pt x="729" y="191"/>
                  </a:lnTo>
                  <a:lnTo>
                    <a:pt x="725" y="167"/>
                  </a:lnTo>
                  <a:lnTo>
                    <a:pt x="718" y="143"/>
                  </a:lnTo>
                  <a:lnTo>
                    <a:pt x="710" y="121"/>
                  </a:lnTo>
                  <a:lnTo>
                    <a:pt x="705" y="111"/>
                  </a:lnTo>
                  <a:lnTo>
                    <a:pt x="701" y="100"/>
                  </a:lnTo>
                  <a:lnTo>
                    <a:pt x="695" y="91"/>
                  </a:lnTo>
                  <a:lnTo>
                    <a:pt x="689" y="81"/>
                  </a:lnTo>
                  <a:lnTo>
                    <a:pt x="683" y="72"/>
                  </a:lnTo>
                  <a:lnTo>
                    <a:pt x="676" y="64"/>
                  </a:lnTo>
                  <a:lnTo>
                    <a:pt x="669" y="55"/>
                  </a:lnTo>
                  <a:lnTo>
                    <a:pt x="661" y="48"/>
                  </a:lnTo>
                  <a:lnTo>
                    <a:pt x="653" y="41"/>
                  </a:lnTo>
                  <a:lnTo>
                    <a:pt x="644" y="34"/>
                  </a:lnTo>
                  <a:lnTo>
                    <a:pt x="635" y="28"/>
                  </a:lnTo>
                  <a:lnTo>
                    <a:pt x="625" y="22"/>
                  </a:lnTo>
                  <a:lnTo>
                    <a:pt x="615" y="17"/>
                  </a:lnTo>
                  <a:lnTo>
                    <a:pt x="604" y="13"/>
                  </a:lnTo>
                  <a:lnTo>
                    <a:pt x="592" y="9"/>
                  </a:lnTo>
                  <a:lnTo>
                    <a:pt x="580" y="6"/>
                  </a:lnTo>
                  <a:lnTo>
                    <a:pt x="567" y="3"/>
                  </a:lnTo>
                  <a:lnTo>
                    <a:pt x="553" y="1"/>
                  </a:lnTo>
                  <a:lnTo>
                    <a:pt x="539" y="0"/>
                  </a:lnTo>
                  <a:lnTo>
                    <a:pt x="525" y="0"/>
                  </a:lnTo>
                  <a:lnTo>
                    <a:pt x="506" y="1"/>
                  </a:lnTo>
                  <a:lnTo>
                    <a:pt x="488" y="2"/>
                  </a:lnTo>
                  <a:lnTo>
                    <a:pt x="471" y="6"/>
                  </a:lnTo>
                  <a:lnTo>
                    <a:pt x="455" y="10"/>
                  </a:lnTo>
                  <a:lnTo>
                    <a:pt x="440" y="16"/>
                  </a:lnTo>
                  <a:lnTo>
                    <a:pt x="424" y="22"/>
                  </a:lnTo>
                  <a:lnTo>
                    <a:pt x="411" y="30"/>
                  </a:lnTo>
                  <a:lnTo>
                    <a:pt x="398" y="39"/>
                  </a:lnTo>
                  <a:lnTo>
                    <a:pt x="386" y="49"/>
                  </a:lnTo>
                  <a:lnTo>
                    <a:pt x="374" y="60"/>
                  </a:lnTo>
                  <a:lnTo>
                    <a:pt x="363" y="72"/>
                  </a:lnTo>
                  <a:lnTo>
                    <a:pt x="353" y="85"/>
                  </a:lnTo>
                  <a:lnTo>
                    <a:pt x="343" y="98"/>
                  </a:lnTo>
                  <a:lnTo>
                    <a:pt x="333" y="113"/>
                  </a:lnTo>
                  <a:lnTo>
                    <a:pt x="324" y="128"/>
                  </a:lnTo>
                  <a:lnTo>
                    <a:pt x="315" y="144"/>
                  </a:lnTo>
                  <a:lnTo>
                    <a:pt x="307" y="144"/>
                  </a:lnTo>
                  <a:lnTo>
                    <a:pt x="331" y="16"/>
                  </a:lnTo>
                  <a:lnTo>
                    <a:pt x="218" y="16"/>
                  </a:lnTo>
                  <a:lnTo>
                    <a:pt x="0" y="1137"/>
                  </a:lnTo>
                  <a:lnTo>
                    <a:pt x="113" y="1137"/>
                  </a:lnTo>
                  <a:lnTo>
                    <a:pt x="202" y="669"/>
                  </a:lnTo>
                  <a:lnTo>
                    <a:pt x="210" y="669"/>
                  </a:lnTo>
                  <a:lnTo>
                    <a:pt x="215" y="684"/>
                  </a:lnTo>
                  <a:lnTo>
                    <a:pt x="221" y="698"/>
                  </a:lnTo>
                  <a:lnTo>
                    <a:pt x="229" y="711"/>
                  </a:lnTo>
                  <a:lnTo>
                    <a:pt x="237" y="725"/>
                  </a:lnTo>
                  <a:lnTo>
                    <a:pt x="246" y="737"/>
                  </a:lnTo>
                  <a:lnTo>
                    <a:pt x="256" y="748"/>
                  </a:lnTo>
                  <a:lnTo>
                    <a:pt x="267" y="759"/>
                  </a:lnTo>
                  <a:lnTo>
                    <a:pt x="279" y="768"/>
                  </a:lnTo>
                  <a:lnTo>
                    <a:pt x="291" y="777"/>
                  </a:lnTo>
                  <a:lnTo>
                    <a:pt x="304" y="785"/>
                  </a:lnTo>
                  <a:lnTo>
                    <a:pt x="318" y="791"/>
                  </a:lnTo>
                  <a:lnTo>
                    <a:pt x="332" y="796"/>
                  </a:lnTo>
                  <a:lnTo>
                    <a:pt x="347" y="801"/>
                  </a:lnTo>
                  <a:lnTo>
                    <a:pt x="363" y="804"/>
                  </a:lnTo>
                  <a:lnTo>
                    <a:pt x="379" y="806"/>
                  </a:lnTo>
                  <a:lnTo>
                    <a:pt x="395" y="806"/>
                  </a:lnTo>
                  <a:lnTo>
                    <a:pt x="418" y="806"/>
                  </a:lnTo>
                  <a:lnTo>
                    <a:pt x="441" y="803"/>
                  </a:lnTo>
                  <a:lnTo>
                    <a:pt x="462" y="798"/>
                  </a:lnTo>
                  <a:lnTo>
                    <a:pt x="482" y="791"/>
                  </a:lnTo>
                  <a:lnTo>
                    <a:pt x="501" y="783"/>
                  </a:lnTo>
                  <a:lnTo>
                    <a:pt x="520" y="773"/>
                  </a:lnTo>
                  <a:lnTo>
                    <a:pt x="537" y="762"/>
                  </a:lnTo>
                  <a:lnTo>
                    <a:pt x="554" y="750"/>
                  </a:lnTo>
                  <a:lnTo>
                    <a:pt x="570" y="736"/>
                  </a:lnTo>
                  <a:lnTo>
                    <a:pt x="585" y="721"/>
                  </a:lnTo>
                  <a:lnTo>
                    <a:pt x="599" y="703"/>
                  </a:lnTo>
                  <a:lnTo>
                    <a:pt x="612" y="686"/>
                  </a:lnTo>
                  <a:lnTo>
                    <a:pt x="625" y="668"/>
                  </a:lnTo>
                  <a:lnTo>
                    <a:pt x="637" y="649"/>
                  </a:lnTo>
                  <a:lnTo>
                    <a:pt x="648" y="629"/>
                  </a:lnTo>
                  <a:lnTo>
                    <a:pt x="658" y="609"/>
                  </a:lnTo>
                  <a:lnTo>
                    <a:pt x="668" y="588"/>
                  </a:lnTo>
                  <a:lnTo>
                    <a:pt x="677" y="566"/>
                  </a:lnTo>
                  <a:lnTo>
                    <a:pt x="685" y="544"/>
                  </a:lnTo>
                  <a:lnTo>
                    <a:pt x="692" y="522"/>
                  </a:lnTo>
                  <a:lnTo>
                    <a:pt x="699" y="500"/>
                  </a:lnTo>
                  <a:lnTo>
                    <a:pt x="705" y="477"/>
                  </a:lnTo>
                  <a:lnTo>
                    <a:pt x="712" y="455"/>
                  </a:lnTo>
                  <a:lnTo>
                    <a:pt x="717" y="432"/>
                  </a:lnTo>
                  <a:lnTo>
                    <a:pt x="721" y="409"/>
                  </a:lnTo>
                  <a:lnTo>
                    <a:pt x="725" y="387"/>
                  </a:lnTo>
                  <a:lnTo>
                    <a:pt x="728" y="366"/>
                  </a:lnTo>
                  <a:lnTo>
                    <a:pt x="730" y="345"/>
                  </a:lnTo>
                  <a:lnTo>
                    <a:pt x="734" y="304"/>
                  </a:lnTo>
                  <a:lnTo>
                    <a:pt x="735" y="266"/>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32" name="Freeform 19"/>
            <p:cNvSpPr>
              <a:spLocks noEditPoints="1"/>
            </p:cNvSpPr>
            <p:nvPr userDrawn="1">
              <p:custDataLst>
                <p:tags r:id="rId18"/>
              </p:custDataLst>
            </p:nvPr>
          </p:nvSpPr>
          <p:spPr bwMode="gray">
            <a:xfrm>
              <a:off x="1287463" y="3751263"/>
              <a:ext cx="133350" cy="173037"/>
            </a:xfrm>
            <a:custGeom>
              <a:avLst/>
              <a:gdLst/>
              <a:ahLst/>
              <a:cxnLst>
                <a:cxn ang="0">
                  <a:pos x="492" y="229"/>
                </a:cxn>
                <a:cxn ang="0">
                  <a:pos x="169" y="242"/>
                </a:cxn>
                <a:cxn ang="0">
                  <a:pos x="190" y="195"/>
                </a:cxn>
                <a:cxn ang="0">
                  <a:pos x="217" y="154"/>
                </a:cxn>
                <a:cxn ang="0">
                  <a:pos x="251" y="122"/>
                </a:cxn>
                <a:cxn ang="0">
                  <a:pos x="293" y="100"/>
                </a:cxn>
                <a:cxn ang="0">
                  <a:pos x="343" y="89"/>
                </a:cxn>
                <a:cxn ang="0">
                  <a:pos x="389" y="90"/>
                </a:cxn>
                <a:cxn ang="0">
                  <a:pos x="424" y="102"/>
                </a:cxn>
                <a:cxn ang="0">
                  <a:pos x="454" y="121"/>
                </a:cxn>
                <a:cxn ang="0">
                  <a:pos x="477" y="149"/>
                </a:cxn>
                <a:cxn ang="0">
                  <a:pos x="490" y="184"/>
                </a:cxn>
                <a:cxn ang="0">
                  <a:pos x="605" y="218"/>
                </a:cxn>
                <a:cxn ang="0">
                  <a:pos x="602" y="181"/>
                </a:cxn>
                <a:cxn ang="0">
                  <a:pos x="594" y="146"/>
                </a:cxn>
                <a:cxn ang="0">
                  <a:pos x="582" y="116"/>
                </a:cxn>
                <a:cxn ang="0">
                  <a:pos x="565" y="88"/>
                </a:cxn>
                <a:cxn ang="0">
                  <a:pos x="544" y="64"/>
                </a:cxn>
                <a:cxn ang="0">
                  <a:pos x="520" y="44"/>
                </a:cxn>
                <a:cxn ang="0">
                  <a:pos x="483" y="23"/>
                </a:cxn>
                <a:cxn ang="0">
                  <a:pos x="417" y="4"/>
                </a:cxn>
                <a:cxn ang="0">
                  <a:pos x="346" y="1"/>
                </a:cxn>
                <a:cxn ang="0">
                  <a:pos x="279" y="11"/>
                </a:cxn>
                <a:cxn ang="0">
                  <a:pos x="219" y="34"/>
                </a:cxn>
                <a:cxn ang="0">
                  <a:pos x="166" y="66"/>
                </a:cxn>
                <a:cxn ang="0">
                  <a:pos x="122" y="108"/>
                </a:cxn>
                <a:cxn ang="0">
                  <a:pos x="85" y="157"/>
                </a:cxn>
                <a:cxn ang="0">
                  <a:pos x="55" y="212"/>
                </a:cxn>
                <a:cxn ang="0">
                  <a:pos x="32" y="272"/>
                </a:cxn>
                <a:cxn ang="0">
                  <a:pos x="15" y="334"/>
                </a:cxn>
                <a:cxn ang="0">
                  <a:pos x="5" y="398"/>
                </a:cxn>
                <a:cxn ang="0">
                  <a:pos x="0" y="463"/>
                </a:cxn>
                <a:cxn ang="0">
                  <a:pos x="1" y="523"/>
                </a:cxn>
                <a:cxn ang="0">
                  <a:pos x="8" y="578"/>
                </a:cxn>
                <a:cxn ang="0">
                  <a:pos x="21" y="626"/>
                </a:cxn>
                <a:cxn ang="0">
                  <a:pos x="39" y="668"/>
                </a:cxn>
                <a:cxn ang="0">
                  <a:pos x="63" y="705"/>
                </a:cxn>
                <a:cxn ang="0">
                  <a:pos x="93" y="737"/>
                </a:cxn>
                <a:cxn ang="0">
                  <a:pos x="128" y="762"/>
                </a:cxn>
                <a:cxn ang="0">
                  <a:pos x="168" y="782"/>
                </a:cxn>
                <a:cxn ang="0">
                  <a:pos x="215" y="795"/>
                </a:cxn>
                <a:cxn ang="0">
                  <a:pos x="266" y="804"/>
                </a:cxn>
                <a:cxn ang="0">
                  <a:pos x="322" y="806"/>
                </a:cxn>
                <a:cxn ang="0">
                  <a:pos x="386" y="803"/>
                </a:cxn>
                <a:cxn ang="0">
                  <a:pos x="449" y="793"/>
                </a:cxn>
                <a:cxn ang="0">
                  <a:pos x="508" y="693"/>
                </a:cxn>
                <a:cxn ang="0">
                  <a:pos x="430" y="706"/>
                </a:cxn>
                <a:cxn ang="0">
                  <a:pos x="379" y="709"/>
                </a:cxn>
                <a:cxn ang="0">
                  <a:pos x="333" y="707"/>
                </a:cxn>
                <a:cxn ang="0">
                  <a:pos x="293" y="701"/>
                </a:cxn>
                <a:cxn ang="0">
                  <a:pos x="257" y="690"/>
                </a:cxn>
                <a:cxn ang="0">
                  <a:pos x="226" y="674"/>
                </a:cxn>
                <a:cxn ang="0">
                  <a:pos x="199" y="654"/>
                </a:cxn>
                <a:cxn ang="0">
                  <a:pos x="175" y="630"/>
                </a:cxn>
                <a:cxn ang="0">
                  <a:pos x="157" y="601"/>
                </a:cxn>
                <a:cxn ang="0">
                  <a:pos x="144" y="567"/>
                </a:cxn>
                <a:cxn ang="0">
                  <a:pos x="134" y="528"/>
                </a:cxn>
                <a:cxn ang="0">
                  <a:pos x="129" y="484"/>
                </a:cxn>
                <a:cxn ang="0">
                  <a:pos x="129" y="436"/>
                </a:cxn>
                <a:cxn ang="0">
                  <a:pos x="133" y="391"/>
                </a:cxn>
                <a:cxn ang="0">
                  <a:pos x="589" y="330"/>
                </a:cxn>
                <a:cxn ang="0">
                  <a:pos x="602" y="263"/>
                </a:cxn>
                <a:cxn ang="0">
                  <a:pos x="605" y="218"/>
                </a:cxn>
              </a:cxnLst>
              <a:rect l="0" t="0" r="r" b="b"/>
              <a:pathLst>
                <a:path w="605" h="806">
                  <a:moveTo>
                    <a:pt x="492" y="210"/>
                  </a:moveTo>
                  <a:lnTo>
                    <a:pt x="492" y="221"/>
                  </a:lnTo>
                  <a:lnTo>
                    <a:pt x="492" y="229"/>
                  </a:lnTo>
                  <a:lnTo>
                    <a:pt x="492" y="236"/>
                  </a:lnTo>
                  <a:lnTo>
                    <a:pt x="492" y="242"/>
                  </a:lnTo>
                  <a:lnTo>
                    <a:pt x="169" y="242"/>
                  </a:lnTo>
                  <a:lnTo>
                    <a:pt x="175" y="226"/>
                  </a:lnTo>
                  <a:lnTo>
                    <a:pt x="182" y="210"/>
                  </a:lnTo>
                  <a:lnTo>
                    <a:pt x="190" y="195"/>
                  </a:lnTo>
                  <a:lnTo>
                    <a:pt x="199" y="181"/>
                  </a:lnTo>
                  <a:lnTo>
                    <a:pt x="208" y="167"/>
                  </a:lnTo>
                  <a:lnTo>
                    <a:pt x="217" y="154"/>
                  </a:lnTo>
                  <a:lnTo>
                    <a:pt x="228" y="142"/>
                  </a:lnTo>
                  <a:lnTo>
                    <a:pt x="239" y="131"/>
                  </a:lnTo>
                  <a:lnTo>
                    <a:pt x="251" y="122"/>
                  </a:lnTo>
                  <a:lnTo>
                    <a:pt x="264" y="113"/>
                  </a:lnTo>
                  <a:lnTo>
                    <a:pt x="278" y="106"/>
                  </a:lnTo>
                  <a:lnTo>
                    <a:pt x="293" y="100"/>
                  </a:lnTo>
                  <a:lnTo>
                    <a:pt x="309" y="95"/>
                  </a:lnTo>
                  <a:lnTo>
                    <a:pt x="326" y="91"/>
                  </a:lnTo>
                  <a:lnTo>
                    <a:pt x="343" y="89"/>
                  </a:lnTo>
                  <a:lnTo>
                    <a:pt x="363" y="88"/>
                  </a:lnTo>
                  <a:lnTo>
                    <a:pt x="376" y="89"/>
                  </a:lnTo>
                  <a:lnTo>
                    <a:pt x="389" y="90"/>
                  </a:lnTo>
                  <a:lnTo>
                    <a:pt x="401" y="93"/>
                  </a:lnTo>
                  <a:lnTo>
                    <a:pt x="413" y="97"/>
                  </a:lnTo>
                  <a:lnTo>
                    <a:pt x="424" y="102"/>
                  </a:lnTo>
                  <a:lnTo>
                    <a:pt x="435" y="107"/>
                  </a:lnTo>
                  <a:lnTo>
                    <a:pt x="445" y="114"/>
                  </a:lnTo>
                  <a:lnTo>
                    <a:pt x="454" y="121"/>
                  </a:lnTo>
                  <a:lnTo>
                    <a:pt x="462" y="130"/>
                  </a:lnTo>
                  <a:lnTo>
                    <a:pt x="470" y="139"/>
                  </a:lnTo>
                  <a:lnTo>
                    <a:pt x="477" y="149"/>
                  </a:lnTo>
                  <a:lnTo>
                    <a:pt x="482" y="159"/>
                  </a:lnTo>
                  <a:lnTo>
                    <a:pt x="486" y="172"/>
                  </a:lnTo>
                  <a:lnTo>
                    <a:pt x="490" y="184"/>
                  </a:lnTo>
                  <a:lnTo>
                    <a:pt x="491" y="197"/>
                  </a:lnTo>
                  <a:lnTo>
                    <a:pt x="492" y="210"/>
                  </a:lnTo>
                  <a:close/>
                  <a:moveTo>
                    <a:pt x="605" y="218"/>
                  </a:moveTo>
                  <a:lnTo>
                    <a:pt x="604" y="205"/>
                  </a:lnTo>
                  <a:lnTo>
                    <a:pt x="603" y="193"/>
                  </a:lnTo>
                  <a:lnTo>
                    <a:pt x="602" y="181"/>
                  </a:lnTo>
                  <a:lnTo>
                    <a:pt x="600" y="169"/>
                  </a:lnTo>
                  <a:lnTo>
                    <a:pt x="597" y="157"/>
                  </a:lnTo>
                  <a:lnTo>
                    <a:pt x="594" y="146"/>
                  </a:lnTo>
                  <a:lnTo>
                    <a:pt x="590" y="136"/>
                  </a:lnTo>
                  <a:lnTo>
                    <a:pt x="586" y="125"/>
                  </a:lnTo>
                  <a:lnTo>
                    <a:pt x="582" y="116"/>
                  </a:lnTo>
                  <a:lnTo>
                    <a:pt x="576" y="106"/>
                  </a:lnTo>
                  <a:lnTo>
                    <a:pt x="571" y="97"/>
                  </a:lnTo>
                  <a:lnTo>
                    <a:pt x="565" y="88"/>
                  </a:lnTo>
                  <a:lnTo>
                    <a:pt x="558" y="80"/>
                  </a:lnTo>
                  <a:lnTo>
                    <a:pt x="551" y="72"/>
                  </a:lnTo>
                  <a:lnTo>
                    <a:pt x="544" y="64"/>
                  </a:lnTo>
                  <a:lnTo>
                    <a:pt x="536" y="57"/>
                  </a:lnTo>
                  <a:lnTo>
                    <a:pt x="528" y="50"/>
                  </a:lnTo>
                  <a:lnTo>
                    <a:pt x="520" y="44"/>
                  </a:lnTo>
                  <a:lnTo>
                    <a:pt x="511" y="38"/>
                  </a:lnTo>
                  <a:lnTo>
                    <a:pt x="502" y="33"/>
                  </a:lnTo>
                  <a:lnTo>
                    <a:pt x="483" y="23"/>
                  </a:lnTo>
                  <a:lnTo>
                    <a:pt x="461" y="15"/>
                  </a:lnTo>
                  <a:lnTo>
                    <a:pt x="440" y="8"/>
                  </a:lnTo>
                  <a:lnTo>
                    <a:pt x="417" y="4"/>
                  </a:lnTo>
                  <a:lnTo>
                    <a:pt x="394" y="1"/>
                  </a:lnTo>
                  <a:lnTo>
                    <a:pt x="371" y="0"/>
                  </a:lnTo>
                  <a:lnTo>
                    <a:pt x="346" y="1"/>
                  </a:lnTo>
                  <a:lnTo>
                    <a:pt x="323" y="3"/>
                  </a:lnTo>
                  <a:lnTo>
                    <a:pt x="300" y="6"/>
                  </a:lnTo>
                  <a:lnTo>
                    <a:pt x="279" y="11"/>
                  </a:lnTo>
                  <a:lnTo>
                    <a:pt x="258" y="18"/>
                  </a:lnTo>
                  <a:lnTo>
                    <a:pt x="238" y="25"/>
                  </a:lnTo>
                  <a:lnTo>
                    <a:pt x="219" y="34"/>
                  </a:lnTo>
                  <a:lnTo>
                    <a:pt x="201" y="44"/>
                  </a:lnTo>
                  <a:lnTo>
                    <a:pt x="183" y="55"/>
                  </a:lnTo>
                  <a:lnTo>
                    <a:pt x="166" y="66"/>
                  </a:lnTo>
                  <a:lnTo>
                    <a:pt x="151" y="79"/>
                  </a:lnTo>
                  <a:lnTo>
                    <a:pt x="136" y="93"/>
                  </a:lnTo>
                  <a:lnTo>
                    <a:pt x="122" y="108"/>
                  </a:lnTo>
                  <a:lnTo>
                    <a:pt x="109" y="123"/>
                  </a:lnTo>
                  <a:lnTo>
                    <a:pt x="97" y="140"/>
                  </a:lnTo>
                  <a:lnTo>
                    <a:pt x="85" y="157"/>
                  </a:lnTo>
                  <a:lnTo>
                    <a:pt x="75" y="175"/>
                  </a:lnTo>
                  <a:lnTo>
                    <a:pt x="65" y="193"/>
                  </a:lnTo>
                  <a:lnTo>
                    <a:pt x="55" y="212"/>
                  </a:lnTo>
                  <a:lnTo>
                    <a:pt x="47" y="232"/>
                  </a:lnTo>
                  <a:lnTo>
                    <a:pt x="39" y="251"/>
                  </a:lnTo>
                  <a:lnTo>
                    <a:pt x="32" y="272"/>
                  </a:lnTo>
                  <a:lnTo>
                    <a:pt x="26" y="292"/>
                  </a:lnTo>
                  <a:lnTo>
                    <a:pt x="20" y="313"/>
                  </a:lnTo>
                  <a:lnTo>
                    <a:pt x="15" y="334"/>
                  </a:lnTo>
                  <a:lnTo>
                    <a:pt x="11" y="355"/>
                  </a:lnTo>
                  <a:lnTo>
                    <a:pt x="8" y="376"/>
                  </a:lnTo>
                  <a:lnTo>
                    <a:pt x="5" y="398"/>
                  </a:lnTo>
                  <a:lnTo>
                    <a:pt x="3" y="419"/>
                  </a:lnTo>
                  <a:lnTo>
                    <a:pt x="1" y="442"/>
                  </a:lnTo>
                  <a:lnTo>
                    <a:pt x="0" y="463"/>
                  </a:lnTo>
                  <a:lnTo>
                    <a:pt x="0" y="484"/>
                  </a:lnTo>
                  <a:lnTo>
                    <a:pt x="0" y="504"/>
                  </a:lnTo>
                  <a:lnTo>
                    <a:pt x="1" y="523"/>
                  </a:lnTo>
                  <a:lnTo>
                    <a:pt x="3" y="542"/>
                  </a:lnTo>
                  <a:lnTo>
                    <a:pt x="5" y="560"/>
                  </a:lnTo>
                  <a:lnTo>
                    <a:pt x="8" y="578"/>
                  </a:lnTo>
                  <a:lnTo>
                    <a:pt x="12" y="594"/>
                  </a:lnTo>
                  <a:lnTo>
                    <a:pt x="16" y="610"/>
                  </a:lnTo>
                  <a:lnTo>
                    <a:pt x="21" y="626"/>
                  </a:lnTo>
                  <a:lnTo>
                    <a:pt x="26" y="641"/>
                  </a:lnTo>
                  <a:lnTo>
                    <a:pt x="32" y="655"/>
                  </a:lnTo>
                  <a:lnTo>
                    <a:pt x="39" y="668"/>
                  </a:lnTo>
                  <a:lnTo>
                    <a:pt x="46" y="681"/>
                  </a:lnTo>
                  <a:lnTo>
                    <a:pt x="54" y="693"/>
                  </a:lnTo>
                  <a:lnTo>
                    <a:pt x="63" y="705"/>
                  </a:lnTo>
                  <a:lnTo>
                    <a:pt x="72" y="716"/>
                  </a:lnTo>
                  <a:lnTo>
                    <a:pt x="82" y="727"/>
                  </a:lnTo>
                  <a:lnTo>
                    <a:pt x="93" y="737"/>
                  </a:lnTo>
                  <a:lnTo>
                    <a:pt x="104" y="746"/>
                  </a:lnTo>
                  <a:lnTo>
                    <a:pt x="115" y="754"/>
                  </a:lnTo>
                  <a:lnTo>
                    <a:pt x="128" y="762"/>
                  </a:lnTo>
                  <a:lnTo>
                    <a:pt x="141" y="769"/>
                  </a:lnTo>
                  <a:lnTo>
                    <a:pt x="154" y="776"/>
                  </a:lnTo>
                  <a:lnTo>
                    <a:pt x="168" y="782"/>
                  </a:lnTo>
                  <a:lnTo>
                    <a:pt x="183" y="787"/>
                  </a:lnTo>
                  <a:lnTo>
                    <a:pt x="199" y="791"/>
                  </a:lnTo>
                  <a:lnTo>
                    <a:pt x="215" y="795"/>
                  </a:lnTo>
                  <a:lnTo>
                    <a:pt x="231" y="799"/>
                  </a:lnTo>
                  <a:lnTo>
                    <a:pt x="249" y="802"/>
                  </a:lnTo>
                  <a:lnTo>
                    <a:pt x="266" y="804"/>
                  </a:lnTo>
                  <a:lnTo>
                    <a:pt x="284" y="805"/>
                  </a:lnTo>
                  <a:lnTo>
                    <a:pt x="303" y="806"/>
                  </a:lnTo>
                  <a:lnTo>
                    <a:pt x="322" y="806"/>
                  </a:lnTo>
                  <a:lnTo>
                    <a:pt x="343" y="806"/>
                  </a:lnTo>
                  <a:lnTo>
                    <a:pt x="365" y="805"/>
                  </a:lnTo>
                  <a:lnTo>
                    <a:pt x="386" y="803"/>
                  </a:lnTo>
                  <a:lnTo>
                    <a:pt x="407" y="800"/>
                  </a:lnTo>
                  <a:lnTo>
                    <a:pt x="428" y="797"/>
                  </a:lnTo>
                  <a:lnTo>
                    <a:pt x="449" y="793"/>
                  </a:lnTo>
                  <a:lnTo>
                    <a:pt x="471" y="788"/>
                  </a:lnTo>
                  <a:lnTo>
                    <a:pt x="492" y="782"/>
                  </a:lnTo>
                  <a:lnTo>
                    <a:pt x="508" y="693"/>
                  </a:lnTo>
                  <a:lnTo>
                    <a:pt x="478" y="699"/>
                  </a:lnTo>
                  <a:lnTo>
                    <a:pt x="446" y="704"/>
                  </a:lnTo>
                  <a:lnTo>
                    <a:pt x="430" y="706"/>
                  </a:lnTo>
                  <a:lnTo>
                    <a:pt x="413" y="708"/>
                  </a:lnTo>
                  <a:lnTo>
                    <a:pt x="396" y="709"/>
                  </a:lnTo>
                  <a:lnTo>
                    <a:pt x="379" y="709"/>
                  </a:lnTo>
                  <a:lnTo>
                    <a:pt x="363" y="709"/>
                  </a:lnTo>
                  <a:lnTo>
                    <a:pt x="348" y="708"/>
                  </a:lnTo>
                  <a:lnTo>
                    <a:pt x="333" y="707"/>
                  </a:lnTo>
                  <a:lnTo>
                    <a:pt x="319" y="705"/>
                  </a:lnTo>
                  <a:lnTo>
                    <a:pt x="306" y="703"/>
                  </a:lnTo>
                  <a:lnTo>
                    <a:pt x="293" y="701"/>
                  </a:lnTo>
                  <a:lnTo>
                    <a:pt x="280" y="697"/>
                  </a:lnTo>
                  <a:lnTo>
                    <a:pt x="268" y="694"/>
                  </a:lnTo>
                  <a:lnTo>
                    <a:pt x="257" y="690"/>
                  </a:lnTo>
                  <a:lnTo>
                    <a:pt x="246" y="685"/>
                  </a:lnTo>
                  <a:lnTo>
                    <a:pt x="235" y="680"/>
                  </a:lnTo>
                  <a:lnTo>
                    <a:pt x="226" y="674"/>
                  </a:lnTo>
                  <a:lnTo>
                    <a:pt x="216" y="668"/>
                  </a:lnTo>
                  <a:lnTo>
                    <a:pt x="207" y="662"/>
                  </a:lnTo>
                  <a:lnTo>
                    <a:pt x="199" y="654"/>
                  </a:lnTo>
                  <a:lnTo>
                    <a:pt x="191" y="647"/>
                  </a:lnTo>
                  <a:lnTo>
                    <a:pt x="182" y="639"/>
                  </a:lnTo>
                  <a:lnTo>
                    <a:pt x="175" y="630"/>
                  </a:lnTo>
                  <a:lnTo>
                    <a:pt x="169" y="621"/>
                  </a:lnTo>
                  <a:lnTo>
                    <a:pt x="163" y="611"/>
                  </a:lnTo>
                  <a:lnTo>
                    <a:pt x="157" y="601"/>
                  </a:lnTo>
                  <a:lnTo>
                    <a:pt x="152" y="590"/>
                  </a:lnTo>
                  <a:lnTo>
                    <a:pt x="148" y="579"/>
                  </a:lnTo>
                  <a:lnTo>
                    <a:pt x="144" y="567"/>
                  </a:lnTo>
                  <a:lnTo>
                    <a:pt x="140" y="554"/>
                  </a:lnTo>
                  <a:lnTo>
                    <a:pt x="137" y="541"/>
                  </a:lnTo>
                  <a:lnTo>
                    <a:pt x="134" y="528"/>
                  </a:lnTo>
                  <a:lnTo>
                    <a:pt x="132" y="514"/>
                  </a:lnTo>
                  <a:lnTo>
                    <a:pt x="131" y="499"/>
                  </a:lnTo>
                  <a:lnTo>
                    <a:pt x="129" y="484"/>
                  </a:lnTo>
                  <a:lnTo>
                    <a:pt x="129" y="468"/>
                  </a:lnTo>
                  <a:lnTo>
                    <a:pt x="128" y="452"/>
                  </a:lnTo>
                  <a:lnTo>
                    <a:pt x="129" y="436"/>
                  </a:lnTo>
                  <a:lnTo>
                    <a:pt x="130" y="421"/>
                  </a:lnTo>
                  <a:lnTo>
                    <a:pt x="131" y="406"/>
                  </a:lnTo>
                  <a:lnTo>
                    <a:pt x="133" y="391"/>
                  </a:lnTo>
                  <a:lnTo>
                    <a:pt x="139" y="361"/>
                  </a:lnTo>
                  <a:lnTo>
                    <a:pt x="145" y="330"/>
                  </a:lnTo>
                  <a:lnTo>
                    <a:pt x="589" y="330"/>
                  </a:lnTo>
                  <a:lnTo>
                    <a:pt x="594" y="305"/>
                  </a:lnTo>
                  <a:lnTo>
                    <a:pt x="600" y="277"/>
                  </a:lnTo>
                  <a:lnTo>
                    <a:pt x="602" y="263"/>
                  </a:lnTo>
                  <a:lnTo>
                    <a:pt x="603" y="248"/>
                  </a:lnTo>
                  <a:lnTo>
                    <a:pt x="604" y="233"/>
                  </a:lnTo>
                  <a:lnTo>
                    <a:pt x="605" y="218"/>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33" name="Freeform 20"/>
            <p:cNvSpPr>
              <a:spLocks/>
            </p:cNvSpPr>
            <p:nvPr userDrawn="1">
              <p:custDataLst>
                <p:tags r:id="rId19"/>
              </p:custDataLst>
            </p:nvPr>
          </p:nvSpPr>
          <p:spPr bwMode="gray">
            <a:xfrm>
              <a:off x="1423988" y="3751263"/>
              <a:ext cx="111125" cy="169862"/>
            </a:xfrm>
            <a:custGeom>
              <a:avLst/>
              <a:gdLst/>
              <a:ahLst/>
              <a:cxnLst>
                <a:cxn ang="0">
                  <a:pos x="500" y="120"/>
                </a:cxn>
                <a:cxn ang="0">
                  <a:pos x="479" y="121"/>
                </a:cxn>
                <a:cxn ang="0">
                  <a:pos x="459" y="123"/>
                </a:cxn>
                <a:cxn ang="0">
                  <a:pos x="441" y="125"/>
                </a:cxn>
                <a:cxn ang="0">
                  <a:pos x="422" y="129"/>
                </a:cxn>
                <a:cxn ang="0">
                  <a:pos x="405" y="134"/>
                </a:cxn>
                <a:cxn ang="0">
                  <a:pos x="388" y="139"/>
                </a:cxn>
                <a:cxn ang="0">
                  <a:pos x="372" y="146"/>
                </a:cxn>
                <a:cxn ang="0">
                  <a:pos x="357" y="153"/>
                </a:cxn>
                <a:cxn ang="0">
                  <a:pos x="343" y="163"/>
                </a:cxn>
                <a:cxn ang="0">
                  <a:pos x="329" y="172"/>
                </a:cxn>
                <a:cxn ang="0">
                  <a:pos x="316" y="182"/>
                </a:cxn>
                <a:cxn ang="0">
                  <a:pos x="304" y="192"/>
                </a:cxn>
                <a:cxn ang="0">
                  <a:pos x="293" y="203"/>
                </a:cxn>
                <a:cxn ang="0">
                  <a:pos x="282" y="215"/>
                </a:cxn>
                <a:cxn ang="0">
                  <a:pos x="272" y="228"/>
                </a:cxn>
                <a:cxn ang="0">
                  <a:pos x="262" y="241"/>
                </a:cxn>
                <a:cxn ang="0">
                  <a:pos x="253" y="255"/>
                </a:cxn>
                <a:cxn ang="0">
                  <a:pos x="244" y="269"/>
                </a:cxn>
                <a:cxn ang="0">
                  <a:pos x="236" y="283"/>
                </a:cxn>
                <a:cxn ang="0">
                  <a:pos x="228" y="298"/>
                </a:cxn>
                <a:cxn ang="0">
                  <a:pos x="221" y="314"/>
                </a:cxn>
                <a:cxn ang="0">
                  <a:pos x="215" y="330"/>
                </a:cxn>
                <a:cxn ang="0">
                  <a:pos x="209" y="346"/>
                </a:cxn>
                <a:cxn ang="0">
                  <a:pos x="203" y="362"/>
                </a:cxn>
                <a:cxn ang="0">
                  <a:pos x="192" y="396"/>
                </a:cxn>
                <a:cxn ang="0">
                  <a:pos x="184" y="430"/>
                </a:cxn>
                <a:cxn ang="0">
                  <a:pos x="176" y="465"/>
                </a:cxn>
                <a:cxn ang="0">
                  <a:pos x="169" y="500"/>
                </a:cxn>
                <a:cxn ang="0">
                  <a:pos x="112" y="790"/>
                </a:cxn>
                <a:cxn ang="0">
                  <a:pos x="0" y="790"/>
                </a:cxn>
                <a:cxn ang="0">
                  <a:pos x="145" y="16"/>
                </a:cxn>
                <a:cxn ang="0">
                  <a:pos x="266" y="16"/>
                </a:cxn>
                <a:cxn ang="0">
                  <a:pos x="234" y="170"/>
                </a:cxn>
                <a:cxn ang="0">
                  <a:pos x="245" y="147"/>
                </a:cxn>
                <a:cxn ang="0">
                  <a:pos x="257" y="127"/>
                </a:cxn>
                <a:cxn ang="0">
                  <a:pos x="270" y="108"/>
                </a:cxn>
                <a:cxn ang="0">
                  <a:pos x="283" y="91"/>
                </a:cxn>
                <a:cxn ang="0">
                  <a:pos x="298" y="76"/>
                </a:cxn>
                <a:cxn ang="0">
                  <a:pos x="314" y="62"/>
                </a:cxn>
                <a:cxn ang="0">
                  <a:pos x="331" y="50"/>
                </a:cxn>
                <a:cxn ang="0">
                  <a:pos x="348" y="39"/>
                </a:cxn>
                <a:cxn ang="0">
                  <a:pos x="367" y="30"/>
                </a:cxn>
                <a:cxn ang="0">
                  <a:pos x="386" y="22"/>
                </a:cxn>
                <a:cxn ang="0">
                  <a:pos x="408" y="15"/>
                </a:cxn>
                <a:cxn ang="0">
                  <a:pos x="429" y="9"/>
                </a:cxn>
                <a:cxn ang="0">
                  <a:pos x="451" y="5"/>
                </a:cxn>
                <a:cxn ang="0">
                  <a:pos x="475" y="2"/>
                </a:cxn>
                <a:cxn ang="0">
                  <a:pos x="499" y="0"/>
                </a:cxn>
                <a:cxn ang="0">
                  <a:pos x="524" y="0"/>
                </a:cxn>
                <a:cxn ang="0">
                  <a:pos x="500" y="120"/>
                </a:cxn>
              </a:cxnLst>
              <a:rect l="0" t="0" r="r" b="b"/>
              <a:pathLst>
                <a:path w="524" h="790">
                  <a:moveTo>
                    <a:pt x="500" y="120"/>
                  </a:moveTo>
                  <a:lnTo>
                    <a:pt x="479" y="121"/>
                  </a:lnTo>
                  <a:lnTo>
                    <a:pt x="459" y="123"/>
                  </a:lnTo>
                  <a:lnTo>
                    <a:pt x="441" y="125"/>
                  </a:lnTo>
                  <a:lnTo>
                    <a:pt x="422" y="129"/>
                  </a:lnTo>
                  <a:lnTo>
                    <a:pt x="405" y="134"/>
                  </a:lnTo>
                  <a:lnTo>
                    <a:pt x="388" y="139"/>
                  </a:lnTo>
                  <a:lnTo>
                    <a:pt x="372" y="146"/>
                  </a:lnTo>
                  <a:lnTo>
                    <a:pt x="357" y="153"/>
                  </a:lnTo>
                  <a:lnTo>
                    <a:pt x="343" y="163"/>
                  </a:lnTo>
                  <a:lnTo>
                    <a:pt x="329" y="172"/>
                  </a:lnTo>
                  <a:lnTo>
                    <a:pt x="316" y="182"/>
                  </a:lnTo>
                  <a:lnTo>
                    <a:pt x="304" y="192"/>
                  </a:lnTo>
                  <a:lnTo>
                    <a:pt x="293" y="203"/>
                  </a:lnTo>
                  <a:lnTo>
                    <a:pt x="282" y="215"/>
                  </a:lnTo>
                  <a:lnTo>
                    <a:pt x="272" y="228"/>
                  </a:lnTo>
                  <a:lnTo>
                    <a:pt x="262" y="241"/>
                  </a:lnTo>
                  <a:lnTo>
                    <a:pt x="253" y="255"/>
                  </a:lnTo>
                  <a:lnTo>
                    <a:pt x="244" y="269"/>
                  </a:lnTo>
                  <a:lnTo>
                    <a:pt x="236" y="283"/>
                  </a:lnTo>
                  <a:lnTo>
                    <a:pt x="228" y="298"/>
                  </a:lnTo>
                  <a:lnTo>
                    <a:pt x="221" y="314"/>
                  </a:lnTo>
                  <a:lnTo>
                    <a:pt x="215" y="330"/>
                  </a:lnTo>
                  <a:lnTo>
                    <a:pt x="209" y="346"/>
                  </a:lnTo>
                  <a:lnTo>
                    <a:pt x="203" y="362"/>
                  </a:lnTo>
                  <a:lnTo>
                    <a:pt x="192" y="396"/>
                  </a:lnTo>
                  <a:lnTo>
                    <a:pt x="184" y="430"/>
                  </a:lnTo>
                  <a:lnTo>
                    <a:pt x="176" y="465"/>
                  </a:lnTo>
                  <a:lnTo>
                    <a:pt x="169" y="500"/>
                  </a:lnTo>
                  <a:lnTo>
                    <a:pt x="112" y="790"/>
                  </a:lnTo>
                  <a:lnTo>
                    <a:pt x="0" y="790"/>
                  </a:lnTo>
                  <a:lnTo>
                    <a:pt x="145" y="16"/>
                  </a:lnTo>
                  <a:lnTo>
                    <a:pt x="266" y="16"/>
                  </a:lnTo>
                  <a:lnTo>
                    <a:pt x="234" y="170"/>
                  </a:lnTo>
                  <a:lnTo>
                    <a:pt x="245" y="147"/>
                  </a:lnTo>
                  <a:lnTo>
                    <a:pt x="257" y="127"/>
                  </a:lnTo>
                  <a:lnTo>
                    <a:pt x="270" y="108"/>
                  </a:lnTo>
                  <a:lnTo>
                    <a:pt x="283" y="91"/>
                  </a:lnTo>
                  <a:lnTo>
                    <a:pt x="298" y="76"/>
                  </a:lnTo>
                  <a:lnTo>
                    <a:pt x="314" y="62"/>
                  </a:lnTo>
                  <a:lnTo>
                    <a:pt x="331" y="50"/>
                  </a:lnTo>
                  <a:lnTo>
                    <a:pt x="348" y="39"/>
                  </a:lnTo>
                  <a:lnTo>
                    <a:pt x="367" y="30"/>
                  </a:lnTo>
                  <a:lnTo>
                    <a:pt x="386" y="22"/>
                  </a:lnTo>
                  <a:lnTo>
                    <a:pt x="408" y="15"/>
                  </a:lnTo>
                  <a:lnTo>
                    <a:pt x="429" y="9"/>
                  </a:lnTo>
                  <a:lnTo>
                    <a:pt x="451" y="5"/>
                  </a:lnTo>
                  <a:lnTo>
                    <a:pt x="475" y="2"/>
                  </a:lnTo>
                  <a:lnTo>
                    <a:pt x="499" y="0"/>
                  </a:lnTo>
                  <a:lnTo>
                    <a:pt x="524" y="0"/>
                  </a:lnTo>
                  <a:lnTo>
                    <a:pt x="500" y="120"/>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34" name="Freeform 21"/>
            <p:cNvSpPr>
              <a:spLocks/>
            </p:cNvSpPr>
            <p:nvPr userDrawn="1">
              <p:custDataLst>
                <p:tags r:id="rId20"/>
              </p:custDataLst>
            </p:nvPr>
          </p:nvSpPr>
          <p:spPr bwMode="gray">
            <a:xfrm>
              <a:off x="1550988" y="3676650"/>
              <a:ext cx="130175" cy="244475"/>
            </a:xfrm>
            <a:custGeom>
              <a:avLst/>
              <a:gdLst/>
              <a:ahLst/>
              <a:cxnLst>
                <a:cxn ang="0">
                  <a:pos x="551" y="107"/>
                </a:cxn>
                <a:cxn ang="0">
                  <a:pos x="506" y="100"/>
                </a:cxn>
                <a:cxn ang="0">
                  <a:pos x="475" y="97"/>
                </a:cxn>
                <a:cxn ang="0">
                  <a:pos x="445" y="97"/>
                </a:cxn>
                <a:cxn ang="0">
                  <a:pos x="417" y="100"/>
                </a:cxn>
                <a:cxn ang="0">
                  <a:pos x="392" y="106"/>
                </a:cxn>
                <a:cxn ang="0">
                  <a:pos x="371" y="115"/>
                </a:cxn>
                <a:cxn ang="0">
                  <a:pos x="351" y="126"/>
                </a:cxn>
                <a:cxn ang="0">
                  <a:pos x="335" y="139"/>
                </a:cxn>
                <a:cxn ang="0">
                  <a:pos x="321" y="155"/>
                </a:cxn>
                <a:cxn ang="0">
                  <a:pos x="310" y="172"/>
                </a:cxn>
                <a:cxn ang="0">
                  <a:pos x="296" y="201"/>
                </a:cxn>
                <a:cxn ang="0">
                  <a:pos x="282" y="244"/>
                </a:cxn>
                <a:cxn ang="0">
                  <a:pos x="267" y="315"/>
                </a:cxn>
                <a:cxn ang="0">
                  <a:pos x="485" y="363"/>
                </a:cxn>
                <a:cxn ang="0">
                  <a:pos x="242" y="451"/>
                </a:cxn>
                <a:cxn ang="0">
                  <a:pos x="0" y="1137"/>
                </a:cxn>
                <a:cxn ang="0">
                  <a:pos x="0" y="451"/>
                </a:cxn>
                <a:cxn ang="0">
                  <a:pos x="146" y="363"/>
                </a:cxn>
                <a:cxn ang="0">
                  <a:pos x="163" y="287"/>
                </a:cxn>
                <a:cxn ang="0">
                  <a:pos x="182" y="217"/>
                </a:cxn>
                <a:cxn ang="0">
                  <a:pos x="204" y="156"/>
                </a:cxn>
                <a:cxn ang="0">
                  <a:pos x="217" y="128"/>
                </a:cxn>
                <a:cxn ang="0">
                  <a:pos x="232" y="103"/>
                </a:cxn>
                <a:cxn ang="0">
                  <a:pos x="250" y="80"/>
                </a:cxn>
                <a:cxn ang="0">
                  <a:pos x="271" y="60"/>
                </a:cxn>
                <a:cxn ang="0">
                  <a:pos x="295" y="42"/>
                </a:cxn>
                <a:cxn ang="0">
                  <a:pos x="322" y="27"/>
                </a:cxn>
                <a:cxn ang="0">
                  <a:pos x="354" y="16"/>
                </a:cxn>
                <a:cxn ang="0">
                  <a:pos x="390" y="7"/>
                </a:cxn>
                <a:cxn ang="0">
                  <a:pos x="431" y="2"/>
                </a:cxn>
                <a:cxn ang="0">
                  <a:pos x="477" y="0"/>
                </a:cxn>
                <a:cxn ang="0">
                  <a:pos x="507" y="2"/>
                </a:cxn>
                <a:cxn ang="0">
                  <a:pos x="537" y="5"/>
                </a:cxn>
                <a:cxn ang="0">
                  <a:pos x="597" y="16"/>
                </a:cxn>
              </a:cxnLst>
              <a:rect l="0" t="0" r="r" b="b"/>
              <a:pathLst>
                <a:path w="597" h="1137">
                  <a:moveTo>
                    <a:pt x="581" y="113"/>
                  </a:moveTo>
                  <a:lnTo>
                    <a:pt x="551" y="107"/>
                  </a:lnTo>
                  <a:lnTo>
                    <a:pt x="521" y="102"/>
                  </a:lnTo>
                  <a:lnTo>
                    <a:pt x="506" y="100"/>
                  </a:lnTo>
                  <a:lnTo>
                    <a:pt x="491" y="98"/>
                  </a:lnTo>
                  <a:lnTo>
                    <a:pt x="475" y="97"/>
                  </a:lnTo>
                  <a:lnTo>
                    <a:pt x="460" y="97"/>
                  </a:lnTo>
                  <a:lnTo>
                    <a:pt x="445" y="97"/>
                  </a:lnTo>
                  <a:lnTo>
                    <a:pt x="431" y="98"/>
                  </a:lnTo>
                  <a:lnTo>
                    <a:pt x="417" y="100"/>
                  </a:lnTo>
                  <a:lnTo>
                    <a:pt x="404" y="103"/>
                  </a:lnTo>
                  <a:lnTo>
                    <a:pt x="392" y="106"/>
                  </a:lnTo>
                  <a:lnTo>
                    <a:pt x="381" y="110"/>
                  </a:lnTo>
                  <a:lnTo>
                    <a:pt x="371" y="115"/>
                  </a:lnTo>
                  <a:lnTo>
                    <a:pt x="361" y="120"/>
                  </a:lnTo>
                  <a:lnTo>
                    <a:pt x="351" y="126"/>
                  </a:lnTo>
                  <a:lnTo>
                    <a:pt x="343" y="132"/>
                  </a:lnTo>
                  <a:lnTo>
                    <a:pt x="335" y="139"/>
                  </a:lnTo>
                  <a:lnTo>
                    <a:pt x="328" y="147"/>
                  </a:lnTo>
                  <a:lnTo>
                    <a:pt x="321" y="155"/>
                  </a:lnTo>
                  <a:lnTo>
                    <a:pt x="315" y="163"/>
                  </a:lnTo>
                  <a:lnTo>
                    <a:pt x="310" y="172"/>
                  </a:lnTo>
                  <a:lnTo>
                    <a:pt x="305" y="181"/>
                  </a:lnTo>
                  <a:lnTo>
                    <a:pt x="296" y="201"/>
                  </a:lnTo>
                  <a:lnTo>
                    <a:pt x="288" y="222"/>
                  </a:lnTo>
                  <a:lnTo>
                    <a:pt x="282" y="244"/>
                  </a:lnTo>
                  <a:lnTo>
                    <a:pt x="276" y="267"/>
                  </a:lnTo>
                  <a:lnTo>
                    <a:pt x="267" y="315"/>
                  </a:lnTo>
                  <a:lnTo>
                    <a:pt x="259" y="363"/>
                  </a:lnTo>
                  <a:lnTo>
                    <a:pt x="485" y="363"/>
                  </a:lnTo>
                  <a:lnTo>
                    <a:pt x="460" y="451"/>
                  </a:lnTo>
                  <a:lnTo>
                    <a:pt x="242" y="451"/>
                  </a:lnTo>
                  <a:lnTo>
                    <a:pt x="114" y="1137"/>
                  </a:lnTo>
                  <a:lnTo>
                    <a:pt x="0" y="1137"/>
                  </a:lnTo>
                  <a:lnTo>
                    <a:pt x="130" y="451"/>
                  </a:lnTo>
                  <a:lnTo>
                    <a:pt x="0" y="451"/>
                  </a:lnTo>
                  <a:lnTo>
                    <a:pt x="16" y="363"/>
                  </a:lnTo>
                  <a:lnTo>
                    <a:pt x="146" y="363"/>
                  </a:lnTo>
                  <a:lnTo>
                    <a:pt x="155" y="324"/>
                  </a:lnTo>
                  <a:lnTo>
                    <a:pt x="163" y="287"/>
                  </a:lnTo>
                  <a:lnTo>
                    <a:pt x="172" y="252"/>
                  </a:lnTo>
                  <a:lnTo>
                    <a:pt x="182" y="217"/>
                  </a:lnTo>
                  <a:lnTo>
                    <a:pt x="192" y="186"/>
                  </a:lnTo>
                  <a:lnTo>
                    <a:pt x="204" y="156"/>
                  </a:lnTo>
                  <a:lnTo>
                    <a:pt x="210" y="142"/>
                  </a:lnTo>
                  <a:lnTo>
                    <a:pt x="217" y="128"/>
                  </a:lnTo>
                  <a:lnTo>
                    <a:pt x="224" y="115"/>
                  </a:lnTo>
                  <a:lnTo>
                    <a:pt x="232" y="103"/>
                  </a:lnTo>
                  <a:lnTo>
                    <a:pt x="241" y="91"/>
                  </a:lnTo>
                  <a:lnTo>
                    <a:pt x="250" y="80"/>
                  </a:lnTo>
                  <a:lnTo>
                    <a:pt x="260" y="69"/>
                  </a:lnTo>
                  <a:lnTo>
                    <a:pt x="271" y="60"/>
                  </a:lnTo>
                  <a:lnTo>
                    <a:pt x="282" y="51"/>
                  </a:lnTo>
                  <a:lnTo>
                    <a:pt x="295" y="42"/>
                  </a:lnTo>
                  <a:lnTo>
                    <a:pt x="308" y="34"/>
                  </a:lnTo>
                  <a:lnTo>
                    <a:pt x="322" y="27"/>
                  </a:lnTo>
                  <a:lnTo>
                    <a:pt x="337" y="21"/>
                  </a:lnTo>
                  <a:lnTo>
                    <a:pt x="354" y="16"/>
                  </a:lnTo>
                  <a:lnTo>
                    <a:pt x="372" y="11"/>
                  </a:lnTo>
                  <a:lnTo>
                    <a:pt x="390" y="7"/>
                  </a:lnTo>
                  <a:lnTo>
                    <a:pt x="410" y="4"/>
                  </a:lnTo>
                  <a:lnTo>
                    <a:pt x="431" y="2"/>
                  </a:lnTo>
                  <a:lnTo>
                    <a:pt x="453" y="1"/>
                  </a:lnTo>
                  <a:lnTo>
                    <a:pt x="477" y="0"/>
                  </a:lnTo>
                  <a:lnTo>
                    <a:pt x="492" y="1"/>
                  </a:lnTo>
                  <a:lnTo>
                    <a:pt x="507" y="2"/>
                  </a:lnTo>
                  <a:lnTo>
                    <a:pt x="522" y="3"/>
                  </a:lnTo>
                  <a:lnTo>
                    <a:pt x="537" y="5"/>
                  </a:lnTo>
                  <a:lnTo>
                    <a:pt x="567" y="10"/>
                  </a:lnTo>
                  <a:lnTo>
                    <a:pt x="597" y="16"/>
                  </a:lnTo>
                  <a:lnTo>
                    <a:pt x="581" y="113"/>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35" name="Freeform 22"/>
            <p:cNvSpPr>
              <a:spLocks noEditPoints="1"/>
            </p:cNvSpPr>
            <p:nvPr userDrawn="1">
              <p:custDataLst>
                <p:tags r:id="rId21"/>
              </p:custDataLst>
            </p:nvPr>
          </p:nvSpPr>
          <p:spPr bwMode="gray">
            <a:xfrm>
              <a:off x="1641475" y="3751263"/>
              <a:ext cx="142875" cy="173037"/>
            </a:xfrm>
            <a:custGeom>
              <a:avLst/>
              <a:gdLst/>
              <a:ahLst/>
              <a:cxnLst>
                <a:cxn ang="0">
                  <a:pos x="520" y="396"/>
                </a:cxn>
                <a:cxn ang="0">
                  <a:pos x="497" y="516"/>
                </a:cxn>
                <a:cxn ang="0">
                  <a:pos x="471" y="580"/>
                </a:cxn>
                <a:cxn ang="0">
                  <a:pos x="438" y="635"/>
                </a:cxn>
                <a:cxn ang="0">
                  <a:pos x="392" y="677"/>
                </a:cxn>
                <a:cxn ang="0">
                  <a:pos x="335" y="703"/>
                </a:cxn>
                <a:cxn ang="0">
                  <a:pos x="271" y="709"/>
                </a:cxn>
                <a:cxn ang="0">
                  <a:pos x="232" y="702"/>
                </a:cxn>
                <a:cxn ang="0">
                  <a:pos x="199" y="687"/>
                </a:cxn>
                <a:cxn ang="0">
                  <a:pos x="175" y="665"/>
                </a:cxn>
                <a:cxn ang="0">
                  <a:pos x="152" y="630"/>
                </a:cxn>
                <a:cxn ang="0">
                  <a:pos x="133" y="563"/>
                </a:cxn>
                <a:cxn ang="0">
                  <a:pos x="129" y="478"/>
                </a:cxn>
                <a:cxn ang="0">
                  <a:pos x="148" y="343"/>
                </a:cxn>
                <a:cxn ang="0">
                  <a:pos x="174" y="257"/>
                </a:cxn>
                <a:cxn ang="0">
                  <a:pos x="205" y="195"/>
                </a:cxn>
                <a:cxn ang="0">
                  <a:pos x="247" y="143"/>
                </a:cxn>
                <a:cxn ang="0">
                  <a:pos x="298" y="106"/>
                </a:cxn>
                <a:cxn ang="0">
                  <a:pos x="361" y="89"/>
                </a:cxn>
                <a:cxn ang="0">
                  <a:pos x="412" y="91"/>
                </a:cxn>
                <a:cxn ang="0">
                  <a:pos x="448" y="103"/>
                </a:cxn>
                <a:cxn ang="0">
                  <a:pos x="476" y="123"/>
                </a:cxn>
                <a:cxn ang="0">
                  <a:pos x="497" y="149"/>
                </a:cxn>
                <a:cxn ang="0">
                  <a:pos x="517" y="207"/>
                </a:cxn>
                <a:cxn ang="0">
                  <a:pos x="524" y="280"/>
                </a:cxn>
                <a:cxn ang="0">
                  <a:pos x="649" y="216"/>
                </a:cxn>
                <a:cxn ang="0">
                  <a:pos x="638" y="164"/>
                </a:cxn>
                <a:cxn ang="0">
                  <a:pos x="618" y="116"/>
                </a:cxn>
                <a:cxn ang="0">
                  <a:pos x="591" y="76"/>
                </a:cxn>
                <a:cxn ang="0">
                  <a:pos x="555" y="44"/>
                </a:cxn>
                <a:cxn ang="0">
                  <a:pos x="511" y="20"/>
                </a:cxn>
                <a:cxn ang="0">
                  <a:pos x="457" y="5"/>
                </a:cxn>
                <a:cxn ang="0">
                  <a:pos x="395" y="0"/>
                </a:cxn>
                <a:cxn ang="0">
                  <a:pos x="297" y="12"/>
                </a:cxn>
                <a:cxn ang="0">
                  <a:pos x="215" y="46"/>
                </a:cxn>
                <a:cxn ang="0">
                  <a:pos x="146" y="99"/>
                </a:cxn>
                <a:cxn ang="0">
                  <a:pos x="92" y="169"/>
                </a:cxn>
                <a:cxn ang="0">
                  <a:pos x="51" y="249"/>
                </a:cxn>
                <a:cxn ang="0">
                  <a:pos x="22" y="337"/>
                </a:cxn>
                <a:cxn ang="0">
                  <a:pos x="6" y="429"/>
                </a:cxn>
                <a:cxn ang="0">
                  <a:pos x="0" y="524"/>
                </a:cxn>
                <a:cxn ang="0">
                  <a:pos x="4" y="585"/>
                </a:cxn>
                <a:cxn ang="0">
                  <a:pos x="17" y="639"/>
                </a:cxn>
                <a:cxn ang="0">
                  <a:pos x="37" y="687"/>
                </a:cxn>
                <a:cxn ang="0">
                  <a:pos x="67" y="729"/>
                </a:cxn>
                <a:cxn ang="0">
                  <a:pos x="104" y="762"/>
                </a:cxn>
                <a:cxn ang="0">
                  <a:pos x="149" y="786"/>
                </a:cxn>
                <a:cxn ang="0">
                  <a:pos x="203" y="801"/>
                </a:cxn>
                <a:cxn ang="0">
                  <a:pos x="266" y="806"/>
                </a:cxn>
                <a:cxn ang="0">
                  <a:pos x="366" y="794"/>
                </a:cxn>
                <a:cxn ang="0">
                  <a:pos x="449" y="759"/>
                </a:cxn>
                <a:cxn ang="0">
                  <a:pos x="517" y="703"/>
                </a:cxn>
                <a:cxn ang="0">
                  <a:pos x="569" y="634"/>
                </a:cxn>
                <a:cxn ang="0">
                  <a:pos x="607" y="552"/>
                </a:cxn>
                <a:cxn ang="0">
                  <a:pos x="634" y="463"/>
                </a:cxn>
                <a:cxn ang="0">
                  <a:pos x="648" y="368"/>
                </a:cxn>
                <a:cxn ang="0">
                  <a:pos x="653" y="274"/>
                </a:cxn>
              </a:cxnLst>
              <a:rect l="0" t="0" r="r" b="b"/>
              <a:pathLst>
                <a:path w="653" h="806">
                  <a:moveTo>
                    <a:pt x="525" y="298"/>
                  </a:moveTo>
                  <a:lnTo>
                    <a:pt x="524" y="329"/>
                  </a:lnTo>
                  <a:lnTo>
                    <a:pt x="522" y="362"/>
                  </a:lnTo>
                  <a:lnTo>
                    <a:pt x="520" y="396"/>
                  </a:lnTo>
                  <a:lnTo>
                    <a:pt x="515" y="430"/>
                  </a:lnTo>
                  <a:lnTo>
                    <a:pt x="509" y="466"/>
                  </a:lnTo>
                  <a:lnTo>
                    <a:pt x="501" y="500"/>
                  </a:lnTo>
                  <a:lnTo>
                    <a:pt x="497" y="516"/>
                  </a:lnTo>
                  <a:lnTo>
                    <a:pt x="491" y="533"/>
                  </a:lnTo>
                  <a:lnTo>
                    <a:pt x="485" y="549"/>
                  </a:lnTo>
                  <a:lnTo>
                    <a:pt x="478" y="564"/>
                  </a:lnTo>
                  <a:lnTo>
                    <a:pt x="471" y="580"/>
                  </a:lnTo>
                  <a:lnTo>
                    <a:pt x="464" y="594"/>
                  </a:lnTo>
                  <a:lnTo>
                    <a:pt x="456" y="608"/>
                  </a:lnTo>
                  <a:lnTo>
                    <a:pt x="447" y="622"/>
                  </a:lnTo>
                  <a:lnTo>
                    <a:pt x="438" y="635"/>
                  </a:lnTo>
                  <a:lnTo>
                    <a:pt x="427" y="646"/>
                  </a:lnTo>
                  <a:lnTo>
                    <a:pt x="417" y="658"/>
                  </a:lnTo>
                  <a:lnTo>
                    <a:pt x="405" y="668"/>
                  </a:lnTo>
                  <a:lnTo>
                    <a:pt x="392" y="677"/>
                  </a:lnTo>
                  <a:lnTo>
                    <a:pt x="379" y="685"/>
                  </a:lnTo>
                  <a:lnTo>
                    <a:pt x="365" y="692"/>
                  </a:lnTo>
                  <a:lnTo>
                    <a:pt x="351" y="698"/>
                  </a:lnTo>
                  <a:lnTo>
                    <a:pt x="335" y="703"/>
                  </a:lnTo>
                  <a:lnTo>
                    <a:pt x="318" y="706"/>
                  </a:lnTo>
                  <a:lnTo>
                    <a:pt x="301" y="708"/>
                  </a:lnTo>
                  <a:lnTo>
                    <a:pt x="283" y="709"/>
                  </a:lnTo>
                  <a:lnTo>
                    <a:pt x="271" y="709"/>
                  </a:lnTo>
                  <a:lnTo>
                    <a:pt x="261" y="708"/>
                  </a:lnTo>
                  <a:lnTo>
                    <a:pt x="251" y="706"/>
                  </a:lnTo>
                  <a:lnTo>
                    <a:pt x="241" y="704"/>
                  </a:lnTo>
                  <a:lnTo>
                    <a:pt x="232" y="702"/>
                  </a:lnTo>
                  <a:lnTo>
                    <a:pt x="224" y="699"/>
                  </a:lnTo>
                  <a:lnTo>
                    <a:pt x="215" y="695"/>
                  </a:lnTo>
                  <a:lnTo>
                    <a:pt x="207" y="691"/>
                  </a:lnTo>
                  <a:lnTo>
                    <a:pt x="199" y="687"/>
                  </a:lnTo>
                  <a:lnTo>
                    <a:pt x="193" y="682"/>
                  </a:lnTo>
                  <a:lnTo>
                    <a:pt x="186" y="677"/>
                  </a:lnTo>
                  <a:lnTo>
                    <a:pt x="180" y="671"/>
                  </a:lnTo>
                  <a:lnTo>
                    <a:pt x="175" y="665"/>
                  </a:lnTo>
                  <a:lnTo>
                    <a:pt x="169" y="659"/>
                  </a:lnTo>
                  <a:lnTo>
                    <a:pt x="164" y="652"/>
                  </a:lnTo>
                  <a:lnTo>
                    <a:pt x="160" y="645"/>
                  </a:lnTo>
                  <a:lnTo>
                    <a:pt x="152" y="630"/>
                  </a:lnTo>
                  <a:lnTo>
                    <a:pt x="145" y="614"/>
                  </a:lnTo>
                  <a:lnTo>
                    <a:pt x="140" y="598"/>
                  </a:lnTo>
                  <a:lnTo>
                    <a:pt x="136" y="580"/>
                  </a:lnTo>
                  <a:lnTo>
                    <a:pt x="133" y="563"/>
                  </a:lnTo>
                  <a:lnTo>
                    <a:pt x="130" y="544"/>
                  </a:lnTo>
                  <a:lnTo>
                    <a:pt x="129" y="526"/>
                  </a:lnTo>
                  <a:lnTo>
                    <a:pt x="129" y="508"/>
                  </a:lnTo>
                  <a:lnTo>
                    <a:pt x="129" y="478"/>
                  </a:lnTo>
                  <a:lnTo>
                    <a:pt x="132" y="446"/>
                  </a:lnTo>
                  <a:lnTo>
                    <a:pt x="135" y="412"/>
                  </a:lnTo>
                  <a:lnTo>
                    <a:pt x="141" y="377"/>
                  </a:lnTo>
                  <a:lnTo>
                    <a:pt x="148" y="343"/>
                  </a:lnTo>
                  <a:lnTo>
                    <a:pt x="157" y="308"/>
                  </a:lnTo>
                  <a:lnTo>
                    <a:pt x="162" y="291"/>
                  </a:lnTo>
                  <a:lnTo>
                    <a:pt x="168" y="274"/>
                  </a:lnTo>
                  <a:lnTo>
                    <a:pt x="174" y="257"/>
                  </a:lnTo>
                  <a:lnTo>
                    <a:pt x="181" y="241"/>
                  </a:lnTo>
                  <a:lnTo>
                    <a:pt x="188" y="225"/>
                  </a:lnTo>
                  <a:lnTo>
                    <a:pt x="196" y="210"/>
                  </a:lnTo>
                  <a:lnTo>
                    <a:pt x="205" y="195"/>
                  </a:lnTo>
                  <a:lnTo>
                    <a:pt x="215" y="181"/>
                  </a:lnTo>
                  <a:lnTo>
                    <a:pt x="225" y="168"/>
                  </a:lnTo>
                  <a:lnTo>
                    <a:pt x="236" y="154"/>
                  </a:lnTo>
                  <a:lnTo>
                    <a:pt x="247" y="143"/>
                  </a:lnTo>
                  <a:lnTo>
                    <a:pt x="259" y="132"/>
                  </a:lnTo>
                  <a:lnTo>
                    <a:pt x="271" y="122"/>
                  </a:lnTo>
                  <a:lnTo>
                    <a:pt x="284" y="114"/>
                  </a:lnTo>
                  <a:lnTo>
                    <a:pt x="298" y="106"/>
                  </a:lnTo>
                  <a:lnTo>
                    <a:pt x="313" y="100"/>
                  </a:lnTo>
                  <a:lnTo>
                    <a:pt x="328" y="95"/>
                  </a:lnTo>
                  <a:lnTo>
                    <a:pt x="344" y="91"/>
                  </a:lnTo>
                  <a:lnTo>
                    <a:pt x="361" y="89"/>
                  </a:lnTo>
                  <a:lnTo>
                    <a:pt x="379" y="88"/>
                  </a:lnTo>
                  <a:lnTo>
                    <a:pt x="391" y="89"/>
                  </a:lnTo>
                  <a:lnTo>
                    <a:pt x="402" y="90"/>
                  </a:lnTo>
                  <a:lnTo>
                    <a:pt x="412" y="91"/>
                  </a:lnTo>
                  <a:lnTo>
                    <a:pt x="422" y="93"/>
                  </a:lnTo>
                  <a:lnTo>
                    <a:pt x="431" y="96"/>
                  </a:lnTo>
                  <a:lnTo>
                    <a:pt x="440" y="99"/>
                  </a:lnTo>
                  <a:lnTo>
                    <a:pt x="448" y="103"/>
                  </a:lnTo>
                  <a:lnTo>
                    <a:pt x="456" y="107"/>
                  </a:lnTo>
                  <a:lnTo>
                    <a:pt x="463" y="112"/>
                  </a:lnTo>
                  <a:lnTo>
                    <a:pt x="469" y="117"/>
                  </a:lnTo>
                  <a:lnTo>
                    <a:pt x="476" y="123"/>
                  </a:lnTo>
                  <a:lnTo>
                    <a:pt x="481" y="129"/>
                  </a:lnTo>
                  <a:lnTo>
                    <a:pt x="486" y="135"/>
                  </a:lnTo>
                  <a:lnTo>
                    <a:pt x="492" y="142"/>
                  </a:lnTo>
                  <a:lnTo>
                    <a:pt x="497" y="149"/>
                  </a:lnTo>
                  <a:lnTo>
                    <a:pt x="500" y="157"/>
                  </a:lnTo>
                  <a:lnTo>
                    <a:pt x="507" y="173"/>
                  </a:lnTo>
                  <a:lnTo>
                    <a:pt x="513" y="190"/>
                  </a:lnTo>
                  <a:lnTo>
                    <a:pt x="517" y="207"/>
                  </a:lnTo>
                  <a:lnTo>
                    <a:pt x="520" y="225"/>
                  </a:lnTo>
                  <a:lnTo>
                    <a:pt x="522" y="243"/>
                  </a:lnTo>
                  <a:lnTo>
                    <a:pt x="524" y="262"/>
                  </a:lnTo>
                  <a:lnTo>
                    <a:pt x="524" y="280"/>
                  </a:lnTo>
                  <a:lnTo>
                    <a:pt x="525" y="298"/>
                  </a:lnTo>
                  <a:close/>
                  <a:moveTo>
                    <a:pt x="653" y="274"/>
                  </a:moveTo>
                  <a:lnTo>
                    <a:pt x="652" y="245"/>
                  </a:lnTo>
                  <a:lnTo>
                    <a:pt x="649" y="216"/>
                  </a:lnTo>
                  <a:lnTo>
                    <a:pt x="647" y="203"/>
                  </a:lnTo>
                  <a:lnTo>
                    <a:pt x="645" y="189"/>
                  </a:lnTo>
                  <a:lnTo>
                    <a:pt x="641" y="176"/>
                  </a:lnTo>
                  <a:lnTo>
                    <a:pt x="638" y="164"/>
                  </a:lnTo>
                  <a:lnTo>
                    <a:pt x="634" y="150"/>
                  </a:lnTo>
                  <a:lnTo>
                    <a:pt x="629" y="139"/>
                  </a:lnTo>
                  <a:lnTo>
                    <a:pt x="624" y="127"/>
                  </a:lnTo>
                  <a:lnTo>
                    <a:pt x="618" y="116"/>
                  </a:lnTo>
                  <a:lnTo>
                    <a:pt x="612" y="105"/>
                  </a:lnTo>
                  <a:lnTo>
                    <a:pt x="606" y="95"/>
                  </a:lnTo>
                  <a:lnTo>
                    <a:pt x="599" y="86"/>
                  </a:lnTo>
                  <a:lnTo>
                    <a:pt x="591" y="76"/>
                  </a:lnTo>
                  <a:lnTo>
                    <a:pt x="583" y="67"/>
                  </a:lnTo>
                  <a:lnTo>
                    <a:pt x="574" y="59"/>
                  </a:lnTo>
                  <a:lnTo>
                    <a:pt x="565" y="51"/>
                  </a:lnTo>
                  <a:lnTo>
                    <a:pt x="555" y="44"/>
                  </a:lnTo>
                  <a:lnTo>
                    <a:pt x="545" y="37"/>
                  </a:lnTo>
                  <a:lnTo>
                    <a:pt x="534" y="31"/>
                  </a:lnTo>
                  <a:lnTo>
                    <a:pt x="523" y="25"/>
                  </a:lnTo>
                  <a:lnTo>
                    <a:pt x="511" y="20"/>
                  </a:lnTo>
                  <a:lnTo>
                    <a:pt x="498" y="15"/>
                  </a:lnTo>
                  <a:lnTo>
                    <a:pt x="484" y="11"/>
                  </a:lnTo>
                  <a:lnTo>
                    <a:pt x="471" y="8"/>
                  </a:lnTo>
                  <a:lnTo>
                    <a:pt x="457" y="5"/>
                  </a:lnTo>
                  <a:lnTo>
                    <a:pt x="442" y="3"/>
                  </a:lnTo>
                  <a:lnTo>
                    <a:pt x="427" y="1"/>
                  </a:lnTo>
                  <a:lnTo>
                    <a:pt x="411" y="0"/>
                  </a:lnTo>
                  <a:lnTo>
                    <a:pt x="395" y="0"/>
                  </a:lnTo>
                  <a:lnTo>
                    <a:pt x="369" y="1"/>
                  </a:lnTo>
                  <a:lnTo>
                    <a:pt x="344" y="3"/>
                  </a:lnTo>
                  <a:lnTo>
                    <a:pt x="320" y="7"/>
                  </a:lnTo>
                  <a:lnTo>
                    <a:pt x="297" y="12"/>
                  </a:lnTo>
                  <a:lnTo>
                    <a:pt x="275" y="19"/>
                  </a:lnTo>
                  <a:lnTo>
                    <a:pt x="254" y="27"/>
                  </a:lnTo>
                  <a:lnTo>
                    <a:pt x="234" y="36"/>
                  </a:lnTo>
                  <a:lnTo>
                    <a:pt x="215" y="46"/>
                  </a:lnTo>
                  <a:lnTo>
                    <a:pt x="195" y="58"/>
                  </a:lnTo>
                  <a:lnTo>
                    <a:pt x="178" y="71"/>
                  </a:lnTo>
                  <a:lnTo>
                    <a:pt x="161" y="85"/>
                  </a:lnTo>
                  <a:lnTo>
                    <a:pt x="146" y="99"/>
                  </a:lnTo>
                  <a:lnTo>
                    <a:pt x="131" y="115"/>
                  </a:lnTo>
                  <a:lnTo>
                    <a:pt x="117" y="132"/>
                  </a:lnTo>
                  <a:lnTo>
                    <a:pt x="104" y="149"/>
                  </a:lnTo>
                  <a:lnTo>
                    <a:pt x="92" y="169"/>
                  </a:lnTo>
                  <a:lnTo>
                    <a:pt x="80" y="188"/>
                  </a:lnTo>
                  <a:lnTo>
                    <a:pt x="70" y="207"/>
                  </a:lnTo>
                  <a:lnTo>
                    <a:pt x="60" y="228"/>
                  </a:lnTo>
                  <a:lnTo>
                    <a:pt x="51" y="249"/>
                  </a:lnTo>
                  <a:lnTo>
                    <a:pt x="42" y="270"/>
                  </a:lnTo>
                  <a:lnTo>
                    <a:pt x="35" y="292"/>
                  </a:lnTo>
                  <a:lnTo>
                    <a:pt x="28" y="314"/>
                  </a:lnTo>
                  <a:lnTo>
                    <a:pt x="22" y="337"/>
                  </a:lnTo>
                  <a:lnTo>
                    <a:pt x="17" y="359"/>
                  </a:lnTo>
                  <a:lnTo>
                    <a:pt x="12" y="383"/>
                  </a:lnTo>
                  <a:lnTo>
                    <a:pt x="9" y="406"/>
                  </a:lnTo>
                  <a:lnTo>
                    <a:pt x="6" y="429"/>
                  </a:lnTo>
                  <a:lnTo>
                    <a:pt x="3" y="454"/>
                  </a:lnTo>
                  <a:lnTo>
                    <a:pt x="2" y="477"/>
                  </a:lnTo>
                  <a:lnTo>
                    <a:pt x="1" y="501"/>
                  </a:lnTo>
                  <a:lnTo>
                    <a:pt x="0" y="524"/>
                  </a:lnTo>
                  <a:lnTo>
                    <a:pt x="0" y="540"/>
                  </a:lnTo>
                  <a:lnTo>
                    <a:pt x="1" y="555"/>
                  </a:lnTo>
                  <a:lnTo>
                    <a:pt x="2" y="570"/>
                  </a:lnTo>
                  <a:lnTo>
                    <a:pt x="4" y="585"/>
                  </a:lnTo>
                  <a:lnTo>
                    <a:pt x="7" y="599"/>
                  </a:lnTo>
                  <a:lnTo>
                    <a:pt x="9" y="613"/>
                  </a:lnTo>
                  <a:lnTo>
                    <a:pt x="13" y="626"/>
                  </a:lnTo>
                  <a:lnTo>
                    <a:pt x="17" y="639"/>
                  </a:lnTo>
                  <a:lnTo>
                    <a:pt x="21" y="652"/>
                  </a:lnTo>
                  <a:lnTo>
                    <a:pt x="26" y="664"/>
                  </a:lnTo>
                  <a:lnTo>
                    <a:pt x="32" y="676"/>
                  </a:lnTo>
                  <a:lnTo>
                    <a:pt x="37" y="687"/>
                  </a:lnTo>
                  <a:lnTo>
                    <a:pt x="44" y="698"/>
                  </a:lnTo>
                  <a:lnTo>
                    <a:pt x="51" y="709"/>
                  </a:lnTo>
                  <a:lnTo>
                    <a:pt x="58" y="720"/>
                  </a:lnTo>
                  <a:lnTo>
                    <a:pt x="67" y="729"/>
                  </a:lnTo>
                  <a:lnTo>
                    <a:pt x="75" y="738"/>
                  </a:lnTo>
                  <a:lnTo>
                    <a:pt x="84" y="747"/>
                  </a:lnTo>
                  <a:lnTo>
                    <a:pt x="94" y="755"/>
                  </a:lnTo>
                  <a:lnTo>
                    <a:pt x="104" y="762"/>
                  </a:lnTo>
                  <a:lnTo>
                    <a:pt x="114" y="769"/>
                  </a:lnTo>
                  <a:lnTo>
                    <a:pt x="126" y="775"/>
                  </a:lnTo>
                  <a:lnTo>
                    <a:pt x="137" y="781"/>
                  </a:lnTo>
                  <a:lnTo>
                    <a:pt x="149" y="786"/>
                  </a:lnTo>
                  <a:lnTo>
                    <a:pt x="162" y="791"/>
                  </a:lnTo>
                  <a:lnTo>
                    <a:pt x="175" y="795"/>
                  </a:lnTo>
                  <a:lnTo>
                    <a:pt x="189" y="799"/>
                  </a:lnTo>
                  <a:lnTo>
                    <a:pt x="203" y="801"/>
                  </a:lnTo>
                  <a:lnTo>
                    <a:pt x="219" y="804"/>
                  </a:lnTo>
                  <a:lnTo>
                    <a:pt x="234" y="805"/>
                  </a:lnTo>
                  <a:lnTo>
                    <a:pt x="250" y="806"/>
                  </a:lnTo>
                  <a:lnTo>
                    <a:pt x="266" y="806"/>
                  </a:lnTo>
                  <a:lnTo>
                    <a:pt x="293" y="806"/>
                  </a:lnTo>
                  <a:lnTo>
                    <a:pt x="318" y="803"/>
                  </a:lnTo>
                  <a:lnTo>
                    <a:pt x="343" y="799"/>
                  </a:lnTo>
                  <a:lnTo>
                    <a:pt x="366" y="794"/>
                  </a:lnTo>
                  <a:lnTo>
                    <a:pt x="388" y="787"/>
                  </a:lnTo>
                  <a:lnTo>
                    <a:pt x="409" y="779"/>
                  </a:lnTo>
                  <a:lnTo>
                    <a:pt x="430" y="769"/>
                  </a:lnTo>
                  <a:lnTo>
                    <a:pt x="449" y="759"/>
                  </a:lnTo>
                  <a:lnTo>
                    <a:pt x="467" y="747"/>
                  </a:lnTo>
                  <a:lnTo>
                    <a:pt x="484" y="734"/>
                  </a:lnTo>
                  <a:lnTo>
                    <a:pt x="501" y="720"/>
                  </a:lnTo>
                  <a:lnTo>
                    <a:pt x="517" y="703"/>
                  </a:lnTo>
                  <a:lnTo>
                    <a:pt x="531" y="687"/>
                  </a:lnTo>
                  <a:lnTo>
                    <a:pt x="544" y="670"/>
                  </a:lnTo>
                  <a:lnTo>
                    <a:pt x="557" y="652"/>
                  </a:lnTo>
                  <a:lnTo>
                    <a:pt x="569" y="634"/>
                  </a:lnTo>
                  <a:lnTo>
                    <a:pt x="580" y="614"/>
                  </a:lnTo>
                  <a:lnTo>
                    <a:pt x="590" y="594"/>
                  </a:lnTo>
                  <a:lnTo>
                    <a:pt x="599" y="574"/>
                  </a:lnTo>
                  <a:lnTo>
                    <a:pt x="607" y="552"/>
                  </a:lnTo>
                  <a:lnTo>
                    <a:pt x="615" y="531"/>
                  </a:lnTo>
                  <a:lnTo>
                    <a:pt x="622" y="509"/>
                  </a:lnTo>
                  <a:lnTo>
                    <a:pt x="628" y="486"/>
                  </a:lnTo>
                  <a:lnTo>
                    <a:pt x="634" y="463"/>
                  </a:lnTo>
                  <a:lnTo>
                    <a:pt x="638" y="440"/>
                  </a:lnTo>
                  <a:lnTo>
                    <a:pt x="642" y="416"/>
                  </a:lnTo>
                  <a:lnTo>
                    <a:pt x="646" y="392"/>
                  </a:lnTo>
                  <a:lnTo>
                    <a:pt x="648" y="368"/>
                  </a:lnTo>
                  <a:lnTo>
                    <a:pt x="650" y="345"/>
                  </a:lnTo>
                  <a:lnTo>
                    <a:pt x="652" y="321"/>
                  </a:lnTo>
                  <a:lnTo>
                    <a:pt x="653" y="298"/>
                  </a:lnTo>
                  <a:lnTo>
                    <a:pt x="653" y="274"/>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36" name="Freeform 23"/>
            <p:cNvSpPr>
              <a:spLocks/>
            </p:cNvSpPr>
            <p:nvPr userDrawn="1">
              <p:custDataLst>
                <p:tags r:id="rId22"/>
              </p:custDataLst>
            </p:nvPr>
          </p:nvSpPr>
          <p:spPr bwMode="gray">
            <a:xfrm>
              <a:off x="1795463" y="3751263"/>
              <a:ext cx="109537" cy="169862"/>
            </a:xfrm>
            <a:custGeom>
              <a:avLst/>
              <a:gdLst/>
              <a:ahLst/>
              <a:cxnLst>
                <a:cxn ang="0">
                  <a:pos x="501" y="120"/>
                </a:cxn>
                <a:cxn ang="0">
                  <a:pos x="479" y="121"/>
                </a:cxn>
                <a:cxn ang="0">
                  <a:pos x="459" y="123"/>
                </a:cxn>
                <a:cxn ang="0">
                  <a:pos x="439" y="125"/>
                </a:cxn>
                <a:cxn ang="0">
                  <a:pos x="421" y="129"/>
                </a:cxn>
                <a:cxn ang="0">
                  <a:pos x="403" y="134"/>
                </a:cxn>
                <a:cxn ang="0">
                  <a:pos x="386" y="139"/>
                </a:cxn>
                <a:cxn ang="0">
                  <a:pos x="370" y="146"/>
                </a:cxn>
                <a:cxn ang="0">
                  <a:pos x="355" y="153"/>
                </a:cxn>
                <a:cxn ang="0">
                  <a:pos x="340" y="163"/>
                </a:cxn>
                <a:cxn ang="0">
                  <a:pos x="326" y="172"/>
                </a:cxn>
                <a:cxn ang="0">
                  <a:pos x="313" y="182"/>
                </a:cxn>
                <a:cxn ang="0">
                  <a:pos x="301" y="192"/>
                </a:cxn>
                <a:cxn ang="0">
                  <a:pos x="290" y="203"/>
                </a:cxn>
                <a:cxn ang="0">
                  <a:pos x="279" y="215"/>
                </a:cxn>
                <a:cxn ang="0">
                  <a:pos x="269" y="228"/>
                </a:cxn>
                <a:cxn ang="0">
                  <a:pos x="260" y="241"/>
                </a:cxn>
                <a:cxn ang="0">
                  <a:pos x="251" y="255"/>
                </a:cxn>
                <a:cxn ang="0">
                  <a:pos x="242" y="269"/>
                </a:cxn>
                <a:cxn ang="0">
                  <a:pos x="234" y="283"/>
                </a:cxn>
                <a:cxn ang="0">
                  <a:pos x="227" y="298"/>
                </a:cxn>
                <a:cxn ang="0">
                  <a:pos x="220" y="314"/>
                </a:cxn>
                <a:cxn ang="0">
                  <a:pos x="214" y="330"/>
                </a:cxn>
                <a:cxn ang="0">
                  <a:pos x="208" y="346"/>
                </a:cxn>
                <a:cxn ang="0">
                  <a:pos x="202" y="362"/>
                </a:cxn>
                <a:cxn ang="0">
                  <a:pos x="192" y="396"/>
                </a:cxn>
                <a:cxn ang="0">
                  <a:pos x="184" y="430"/>
                </a:cxn>
                <a:cxn ang="0">
                  <a:pos x="177" y="465"/>
                </a:cxn>
                <a:cxn ang="0">
                  <a:pos x="170" y="500"/>
                </a:cxn>
                <a:cxn ang="0">
                  <a:pos x="114" y="790"/>
                </a:cxn>
                <a:cxn ang="0">
                  <a:pos x="0" y="790"/>
                </a:cxn>
                <a:cxn ang="0">
                  <a:pos x="146" y="16"/>
                </a:cxn>
                <a:cxn ang="0">
                  <a:pos x="259" y="16"/>
                </a:cxn>
                <a:cxn ang="0">
                  <a:pos x="234" y="170"/>
                </a:cxn>
                <a:cxn ang="0">
                  <a:pos x="245" y="147"/>
                </a:cxn>
                <a:cxn ang="0">
                  <a:pos x="257" y="127"/>
                </a:cxn>
                <a:cxn ang="0">
                  <a:pos x="270" y="108"/>
                </a:cxn>
                <a:cxn ang="0">
                  <a:pos x="284" y="91"/>
                </a:cxn>
                <a:cxn ang="0">
                  <a:pos x="299" y="76"/>
                </a:cxn>
                <a:cxn ang="0">
                  <a:pos x="314" y="62"/>
                </a:cxn>
                <a:cxn ang="0">
                  <a:pos x="331" y="50"/>
                </a:cxn>
                <a:cxn ang="0">
                  <a:pos x="349" y="39"/>
                </a:cxn>
                <a:cxn ang="0">
                  <a:pos x="367" y="30"/>
                </a:cxn>
                <a:cxn ang="0">
                  <a:pos x="386" y="22"/>
                </a:cxn>
                <a:cxn ang="0">
                  <a:pos x="406" y="15"/>
                </a:cxn>
                <a:cxn ang="0">
                  <a:pos x="426" y="9"/>
                </a:cxn>
                <a:cxn ang="0">
                  <a:pos x="448" y="5"/>
                </a:cxn>
                <a:cxn ang="0">
                  <a:pos x="470" y="2"/>
                </a:cxn>
                <a:cxn ang="0">
                  <a:pos x="493" y="0"/>
                </a:cxn>
                <a:cxn ang="0">
                  <a:pos x="517" y="0"/>
                </a:cxn>
                <a:cxn ang="0">
                  <a:pos x="501" y="120"/>
                </a:cxn>
              </a:cxnLst>
              <a:rect l="0" t="0" r="r" b="b"/>
              <a:pathLst>
                <a:path w="517" h="790">
                  <a:moveTo>
                    <a:pt x="501" y="120"/>
                  </a:moveTo>
                  <a:lnTo>
                    <a:pt x="479" y="121"/>
                  </a:lnTo>
                  <a:lnTo>
                    <a:pt x="459" y="123"/>
                  </a:lnTo>
                  <a:lnTo>
                    <a:pt x="439" y="125"/>
                  </a:lnTo>
                  <a:lnTo>
                    <a:pt x="421" y="129"/>
                  </a:lnTo>
                  <a:lnTo>
                    <a:pt x="403" y="134"/>
                  </a:lnTo>
                  <a:lnTo>
                    <a:pt x="386" y="139"/>
                  </a:lnTo>
                  <a:lnTo>
                    <a:pt x="370" y="146"/>
                  </a:lnTo>
                  <a:lnTo>
                    <a:pt x="355" y="153"/>
                  </a:lnTo>
                  <a:lnTo>
                    <a:pt x="340" y="163"/>
                  </a:lnTo>
                  <a:lnTo>
                    <a:pt x="326" y="172"/>
                  </a:lnTo>
                  <a:lnTo>
                    <a:pt x="313" y="182"/>
                  </a:lnTo>
                  <a:lnTo>
                    <a:pt x="301" y="192"/>
                  </a:lnTo>
                  <a:lnTo>
                    <a:pt x="290" y="203"/>
                  </a:lnTo>
                  <a:lnTo>
                    <a:pt x="279" y="215"/>
                  </a:lnTo>
                  <a:lnTo>
                    <a:pt x="269" y="228"/>
                  </a:lnTo>
                  <a:lnTo>
                    <a:pt x="260" y="241"/>
                  </a:lnTo>
                  <a:lnTo>
                    <a:pt x="251" y="255"/>
                  </a:lnTo>
                  <a:lnTo>
                    <a:pt x="242" y="269"/>
                  </a:lnTo>
                  <a:lnTo>
                    <a:pt x="234" y="283"/>
                  </a:lnTo>
                  <a:lnTo>
                    <a:pt x="227" y="298"/>
                  </a:lnTo>
                  <a:lnTo>
                    <a:pt x="220" y="314"/>
                  </a:lnTo>
                  <a:lnTo>
                    <a:pt x="214" y="330"/>
                  </a:lnTo>
                  <a:lnTo>
                    <a:pt x="208" y="346"/>
                  </a:lnTo>
                  <a:lnTo>
                    <a:pt x="202" y="362"/>
                  </a:lnTo>
                  <a:lnTo>
                    <a:pt x="192" y="396"/>
                  </a:lnTo>
                  <a:lnTo>
                    <a:pt x="184" y="430"/>
                  </a:lnTo>
                  <a:lnTo>
                    <a:pt x="177" y="465"/>
                  </a:lnTo>
                  <a:lnTo>
                    <a:pt x="170" y="500"/>
                  </a:lnTo>
                  <a:lnTo>
                    <a:pt x="114" y="790"/>
                  </a:lnTo>
                  <a:lnTo>
                    <a:pt x="0" y="790"/>
                  </a:lnTo>
                  <a:lnTo>
                    <a:pt x="146" y="16"/>
                  </a:lnTo>
                  <a:lnTo>
                    <a:pt x="259" y="16"/>
                  </a:lnTo>
                  <a:lnTo>
                    <a:pt x="234" y="170"/>
                  </a:lnTo>
                  <a:lnTo>
                    <a:pt x="245" y="147"/>
                  </a:lnTo>
                  <a:lnTo>
                    <a:pt x="257" y="127"/>
                  </a:lnTo>
                  <a:lnTo>
                    <a:pt x="270" y="108"/>
                  </a:lnTo>
                  <a:lnTo>
                    <a:pt x="284" y="91"/>
                  </a:lnTo>
                  <a:lnTo>
                    <a:pt x="299" y="76"/>
                  </a:lnTo>
                  <a:lnTo>
                    <a:pt x="314" y="62"/>
                  </a:lnTo>
                  <a:lnTo>
                    <a:pt x="331" y="50"/>
                  </a:lnTo>
                  <a:lnTo>
                    <a:pt x="349" y="39"/>
                  </a:lnTo>
                  <a:lnTo>
                    <a:pt x="367" y="30"/>
                  </a:lnTo>
                  <a:lnTo>
                    <a:pt x="386" y="22"/>
                  </a:lnTo>
                  <a:lnTo>
                    <a:pt x="406" y="15"/>
                  </a:lnTo>
                  <a:lnTo>
                    <a:pt x="426" y="9"/>
                  </a:lnTo>
                  <a:lnTo>
                    <a:pt x="448" y="5"/>
                  </a:lnTo>
                  <a:lnTo>
                    <a:pt x="470" y="2"/>
                  </a:lnTo>
                  <a:lnTo>
                    <a:pt x="493" y="0"/>
                  </a:lnTo>
                  <a:lnTo>
                    <a:pt x="517" y="0"/>
                  </a:lnTo>
                  <a:lnTo>
                    <a:pt x="501" y="120"/>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37" name="Freeform 24"/>
            <p:cNvSpPr>
              <a:spLocks/>
            </p:cNvSpPr>
            <p:nvPr userDrawn="1">
              <p:custDataLst>
                <p:tags r:id="rId23"/>
              </p:custDataLst>
            </p:nvPr>
          </p:nvSpPr>
          <p:spPr bwMode="gray">
            <a:xfrm>
              <a:off x="1895475" y="3751263"/>
              <a:ext cx="227013" cy="169862"/>
            </a:xfrm>
            <a:custGeom>
              <a:avLst/>
              <a:gdLst/>
              <a:ahLst/>
              <a:cxnLst>
                <a:cxn ang="0">
                  <a:pos x="831" y="790"/>
                </a:cxn>
                <a:cxn ang="0">
                  <a:pos x="931" y="263"/>
                </a:cxn>
                <a:cxn ang="0">
                  <a:pos x="935" y="217"/>
                </a:cxn>
                <a:cxn ang="0">
                  <a:pos x="934" y="184"/>
                </a:cxn>
                <a:cxn ang="0">
                  <a:pos x="927" y="157"/>
                </a:cxn>
                <a:cxn ang="0">
                  <a:pos x="914" y="134"/>
                </a:cxn>
                <a:cxn ang="0">
                  <a:pos x="895" y="117"/>
                </a:cxn>
                <a:cxn ang="0">
                  <a:pos x="873" y="106"/>
                </a:cxn>
                <a:cxn ang="0">
                  <a:pos x="840" y="105"/>
                </a:cxn>
                <a:cxn ang="0">
                  <a:pos x="796" y="117"/>
                </a:cxn>
                <a:cxn ang="0">
                  <a:pos x="757" y="141"/>
                </a:cxn>
                <a:cxn ang="0">
                  <a:pos x="722" y="176"/>
                </a:cxn>
                <a:cxn ang="0">
                  <a:pos x="690" y="218"/>
                </a:cxn>
                <a:cxn ang="0">
                  <a:pos x="663" y="266"/>
                </a:cxn>
                <a:cxn ang="0">
                  <a:pos x="621" y="369"/>
                </a:cxn>
                <a:cxn ang="0">
                  <a:pos x="593" y="469"/>
                </a:cxn>
                <a:cxn ang="0">
                  <a:pos x="533" y="790"/>
                </a:cxn>
                <a:cxn ang="0">
                  <a:pos x="515" y="299"/>
                </a:cxn>
                <a:cxn ang="0">
                  <a:pos x="523" y="233"/>
                </a:cxn>
                <a:cxn ang="0">
                  <a:pos x="524" y="193"/>
                </a:cxn>
                <a:cxn ang="0">
                  <a:pos x="519" y="166"/>
                </a:cxn>
                <a:cxn ang="0">
                  <a:pos x="507" y="142"/>
                </a:cxn>
                <a:cxn ang="0">
                  <a:pos x="489" y="122"/>
                </a:cxn>
                <a:cxn ang="0">
                  <a:pos x="465" y="109"/>
                </a:cxn>
                <a:cxn ang="0">
                  <a:pos x="436" y="104"/>
                </a:cxn>
                <a:cxn ang="0">
                  <a:pos x="392" y="112"/>
                </a:cxn>
                <a:cxn ang="0">
                  <a:pos x="353" y="132"/>
                </a:cxn>
                <a:cxn ang="0">
                  <a:pos x="318" y="164"/>
                </a:cxn>
                <a:cxn ang="0">
                  <a:pos x="287" y="204"/>
                </a:cxn>
                <a:cxn ang="0">
                  <a:pos x="260" y="250"/>
                </a:cxn>
                <a:cxn ang="0">
                  <a:pos x="222" y="335"/>
                </a:cxn>
                <a:cxn ang="0">
                  <a:pos x="190" y="437"/>
                </a:cxn>
                <a:cxn ang="0">
                  <a:pos x="170" y="524"/>
                </a:cxn>
                <a:cxn ang="0">
                  <a:pos x="154" y="16"/>
                </a:cxn>
                <a:cxn ang="0">
                  <a:pos x="235" y="178"/>
                </a:cxn>
                <a:cxn ang="0">
                  <a:pos x="271" y="122"/>
                </a:cxn>
                <a:cxn ang="0">
                  <a:pos x="310" y="75"/>
                </a:cxn>
                <a:cxn ang="0">
                  <a:pos x="354" y="38"/>
                </a:cxn>
                <a:cxn ang="0">
                  <a:pos x="406" y="13"/>
                </a:cxn>
                <a:cxn ang="0">
                  <a:pos x="469" y="1"/>
                </a:cxn>
                <a:cxn ang="0">
                  <a:pos x="529" y="3"/>
                </a:cxn>
                <a:cxn ang="0">
                  <a:pos x="572" y="21"/>
                </a:cxn>
                <a:cxn ang="0">
                  <a:pos x="604" y="51"/>
                </a:cxn>
                <a:cxn ang="0">
                  <a:pos x="625" y="90"/>
                </a:cxn>
                <a:cxn ang="0">
                  <a:pos x="635" y="136"/>
                </a:cxn>
                <a:cxn ang="0">
                  <a:pos x="645" y="170"/>
                </a:cxn>
                <a:cxn ang="0">
                  <a:pos x="682" y="117"/>
                </a:cxn>
                <a:cxn ang="0">
                  <a:pos x="722" y="73"/>
                </a:cxn>
                <a:cxn ang="0">
                  <a:pos x="768" y="37"/>
                </a:cxn>
                <a:cxn ang="0">
                  <a:pos x="822" y="13"/>
                </a:cxn>
                <a:cxn ang="0">
                  <a:pos x="887" y="1"/>
                </a:cxn>
                <a:cxn ang="0">
                  <a:pos x="943" y="3"/>
                </a:cxn>
                <a:cxn ang="0">
                  <a:pos x="985" y="19"/>
                </a:cxn>
                <a:cxn ang="0">
                  <a:pos x="1018" y="47"/>
                </a:cxn>
                <a:cxn ang="0">
                  <a:pos x="1041" y="84"/>
                </a:cxn>
                <a:cxn ang="0">
                  <a:pos x="1055" y="128"/>
                </a:cxn>
                <a:cxn ang="0">
                  <a:pos x="1057" y="179"/>
                </a:cxn>
                <a:cxn ang="0">
                  <a:pos x="1052" y="229"/>
                </a:cxn>
              </a:cxnLst>
              <a:rect l="0" t="0" r="r" b="b"/>
              <a:pathLst>
                <a:path w="1057" h="790">
                  <a:moveTo>
                    <a:pt x="1041" y="290"/>
                  </a:moveTo>
                  <a:lnTo>
                    <a:pt x="944" y="790"/>
                  </a:lnTo>
                  <a:lnTo>
                    <a:pt x="831" y="790"/>
                  </a:lnTo>
                  <a:lnTo>
                    <a:pt x="920" y="330"/>
                  </a:lnTo>
                  <a:lnTo>
                    <a:pt x="925" y="296"/>
                  </a:lnTo>
                  <a:lnTo>
                    <a:pt x="931" y="263"/>
                  </a:lnTo>
                  <a:lnTo>
                    <a:pt x="933" y="247"/>
                  </a:lnTo>
                  <a:lnTo>
                    <a:pt x="934" y="232"/>
                  </a:lnTo>
                  <a:lnTo>
                    <a:pt x="935" y="217"/>
                  </a:lnTo>
                  <a:lnTo>
                    <a:pt x="936" y="202"/>
                  </a:lnTo>
                  <a:lnTo>
                    <a:pt x="935" y="193"/>
                  </a:lnTo>
                  <a:lnTo>
                    <a:pt x="934" y="184"/>
                  </a:lnTo>
                  <a:lnTo>
                    <a:pt x="932" y="175"/>
                  </a:lnTo>
                  <a:lnTo>
                    <a:pt x="930" y="166"/>
                  </a:lnTo>
                  <a:lnTo>
                    <a:pt x="927" y="157"/>
                  </a:lnTo>
                  <a:lnTo>
                    <a:pt x="923" y="149"/>
                  </a:lnTo>
                  <a:lnTo>
                    <a:pt x="919" y="142"/>
                  </a:lnTo>
                  <a:lnTo>
                    <a:pt x="914" y="134"/>
                  </a:lnTo>
                  <a:lnTo>
                    <a:pt x="908" y="128"/>
                  </a:lnTo>
                  <a:lnTo>
                    <a:pt x="902" y="122"/>
                  </a:lnTo>
                  <a:lnTo>
                    <a:pt x="895" y="117"/>
                  </a:lnTo>
                  <a:lnTo>
                    <a:pt x="888" y="113"/>
                  </a:lnTo>
                  <a:lnTo>
                    <a:pt x="881" y="109"/>
                  </a:lnTo>
                  <a:lnTo>
                    <a:pt x="873" y="106"/>
                  </a:lnTo>
                  <a:lnTo>
                    <a:pt x="864" y="105"/>
                  </a:lnTo>
                  <a:lnTo>
                    <a:pt x="855" y="104"/>
                  </a:lnTo>
                  <a:lnTo>
                    <a:pt x="840" y="105"/>
                  </a:lnTo>
                  <a:lnTo>
                    <a:pt x="825" y="108"/>
                  </a:lnTo>
                  <a:lnTo>
                    <a:pt x="810" y="112"/>
                  </a:lnTo>
                  <a:lnTo>
                    <a:pt x="796" y="117"/>
                  </a:lnTo>
                  <a:lnTo>
                    <a:pt x="782" y="124"/>
                  </a:lnTo>
                  <a:lnTo>
                    <a:pt x="769" y="132"/>
                  </a:lnTo>
                  <a:lnTo>
                    <a:pt x="757" y="141"/>
                  </a:lnTo>
                  <a:lnTo>
                    <a:pt x="745" y="152"/>
                  </a:lnTo>
                  <a:lnTo>
                    <a:pt x="733" y="164"/>
                  </a:lnTo>
                  <a:lnTo>
                    <a:pt x="722" y="176"/>
                  </a:lnTo>
                  <a:lnTo>
                    <a:pt x="711" y="190"/>
                  </a:lnTo>
                  <a:lnTo>
                    <a:pt x="700" y="204"/>
                  </a:lnTo>
                  <a:lnTo>
                    <a:pt x="690" y="218"/>
                  </a:lnTo>
                  <a:lnTo>
                    <a:pt x="681" y="234"/>
                  </a:lnTo>
                  <a:lnTo>
                    <a:pt x="672" y="250"/>
                  </a:lnTo>
                  <a:lnTo>
                    <a:pt x="663" y="266"/>
                  </a:lnTo>
                  <a:lnTo>
                    <a:pt x="648" y="300"/>
                  </a:lnTo>
                  <a:lnTo>
                    <a:pt x="634" y="335"/>
                  </a:lnTo>
                  <a:lnTo>
                    <a:pt x="621" y="369"/>
                  </a:lnTo>
                  <a:lnTo>
                    <a:pt x="610" y="404"/>
                  </a:lnTo>
                  <a:lnTo>
                    <a:pt x="601" y="437"/>
                  </a:lnTo>
                  <a:lnTo>
                    <a:pt x="593" y="469"/>
                  </a:lnTo>
                  <a:lnTo>
                    <a:pt x="586" y="498"/>
                  </a:lnTo>
                  <a:lnTo>
                    <a:pt x="581" y="524"/>
                  </a:lnTo>
                  <a:lnTo>
                    <a:pt x="533" y="790"/>
                  </a:lnTo>
                  <a:lnTo>
                    <a:pt x="419" y="790"/>
                  </a:lnTo>
                  <a:lnTo>
                    <a:pt x="509" y="330"/>
                  </a:lnTo>
                  <a:lnTo>
                    <a:pt x="515" y="299"/>
                  </a:lnTo>
                  <a:lnTo>
                    <a:pt x="520" y="266"/>
                  </a:lnTo>
                  <a:lnTo>
                    <a:pt x="522" y="250"/>
                  </a:lnTo>
                  <a:lnTo>
                    <a:pt x="523" y="233"/>
                  </a:lnTo>
                  <a:lnTo>
                    <a:pt x="524" y="217"/>
                  </a:lnTo>
                  <a:lnTo>
                    <a:pt x="525" y="202"/>
                  </a:lnTo>
                  <a:lnTo>
                    <a:pt x="524" y="193"/>
                  </a:lnTo>
                  <a:lnTo>
                    <a:pt x="523" y="184"/>
                  </a:lnTo>
                  <a:lnTo>
                    <a:pt x="521" y="175"/>
                  </a:lnTo>
                  <a:lnTo>
                    <a:pt x="519" y="166"/>
                  </a:lnTo>
                  <a:lnTo>
                    <a:pt x="516" y="157"/>
                  </a:lnTo>
                  <a:lnTo>
                    <a:pt x="512" y="149"/>
                  </a:lnTo>
                  <a:lnTo>
                    <a:pt x="507" y="142"/>
                  </a:lnTo>
                  <a:lnTo>
                    <a:pt x="502" y="134"/>
                  </a:lnTo>
                  <a:lnTo>
                    <a:pt x="496" y="128"/>
                  </a:lnTo>
                  <a:lnTo>
                    <a:pt x="489" y="122"/>
                  </a:lnTo>
                  <a:lnTo>
                    <a:pt x="482" y="117"/>
                  </a:lnTo>
                  <a:lnTo>
                    <a:pt x="474" y="113"/>
                  </a:lnTo>
                  <a:lnTo>
                    <a:pt x="465" y="109"/>
                  </a:lnTo>
                  <a:lnTo>
                    <a:pt x="456" y="106"/>
                  </a:lnTo>
                  <a:lnTo>
                    <a:pt x="447" y="105"/>
                  </a:lnTo>
                  <a:lnTo>
                    <a:pt x="436" y="104"/>
                  </a:lnTo>
                  <a:lnTo>
                    <a:pt x="421" y="105"/>
                  </a:lnTo>
                  <a:lnTo>
                    <a:pt x="406" y="108"/>
                  </a:lnTo>
                  <a:lnTo>
                    <a:pt x="392" y="112"/>
                  </a:lnTo>
                  <a:lnTo>
                    <a:pt x="379" y="117"/>
                  </a:lnTo>
                  <a:lnTo>
                    <a:pt x="366" y="124"/>
                  </a:lnTo>
                  <a:lnTo>
                    <a:pt x="353" y="132"/>
                  </a:lnTo>
                  <a:lnTo>
                    <a:pt x="341" y="141"/>
                  </a:lnTo>
                  <a:lnTo>
                    <a:pt x="330" y="152"/>
                  </a:lnTo>
                  <a:lnTo>
                    <a:pt x="318" y="164"/>
                  </a:lnTo>
                  <a:lnTo>
                    <a:pt x="308" y="176"/>
                  </a:lnTo>
                  <a:lnTo>
                    <a:pt x="297" y="190"/>
                  </a:lnTo>
                  <a:lnTo>
                    <a:pt x="287" y="204"/>
                  </a:lnTo>
                  <a:lnTo>
                    <a:pt x="278" y="218"/>
                  </a:lnTo>
                  <a:lnTo>
                    <a:pt x="269" y="234"/>
                  </a:lnTo>
                  <a:lnTo>
                    <a:pt x="260" y="250"/>
                  </a:lnTo>
                  <a:lnTo>
                    <a:pt x="252" y="266"/>
                  </a:lnTo>
                  <a:lnTo>
                    <a:pt x="236" y="300"/>
                  </a:lnTo>
                  <a:lnTo>
                    <a:pt x="222" y="335"/>
                  </a:lnTo>
                  <a:lnTo>
                    <a:pt x="210" y="369"/>
                  </a:lnTo>
                  <a:lnTo>
                    <a:pt x="199" y="404"/>
                  </a:lnTo>
                  <a:lnTo>
                    <a:pt x="190" y="437"/>
                  </a:lnTo>
                  <a:lnTo>
                    <a:pt x="182" y="469"/>
                  </a:lnTo>
                  <a:lnTo>
                    <a:pt x="175" y="498"/>
                  </a:lnTo>
                  <a:lnTo>
                    <a:pt x="170" y="524"/>
                  </a:lnTo>
                  <a:lnTo>
                    <a:pt x="113" y="790"/>
                  </a:lnTo>
                  <a:lnTo>
                    <a:pt x="0" y="790"/>
                  </a:lnTo>
                  <a:lnTo>
                    <a:pt x="154" y="16"/>
                  </a:lnTo>
                  <a:lnTo>
                    <a:pt x="267" y="16"/>
                  </a:lnTo>
                  <a:lnTo>
                    <a:pt x="235" y="170"/>
                  </a:lnTo>
                  <a:lnTo>
                    <a:pt x="235" y="178"/>
                  </a:lnTo>
                  <a:lnTo>
                    <a:pt x="247" y="157"/>
                  </a:lnTo>
                  <a:lnTo>
                    <a:pt x="259" y="139"/>
                  </a:lnTo>
                  <a:lnTo>
                    <a:pt x="271" y="122"/>
                  </a:lnTo>
                  <a:lnTo>
                    <a:pt x="284" y="105"/>
                  </a:lnTo>
                  <a:lnTo>
                    <a:pt x="297" y="89"/>
                  </a:lnTo>
                  <a:lnTo>
                    <a:pt x="310" y="75"/>
                  </a:lnTo>
                  <a:lnTo>
                    <a:pt x="324" y="61"/>
                  </a:lnTo>
                  <a:lnTo>
                    <a:pt x="339" y="49"/>
                  </a:lnTo>
                  <a:lnTo>
                    <a:pt x="354" y="38"/>
                  </a:lnTo>
                  <a:lnTo>
                    <a:pt x="371" y="28"/>
                  </a:lnTo>
                  <a:lnTo>
                    <a:pt x="388" y="20"/>
                  </a:lnTo>
                  <a:lnTo>
                    <a:pt x="406" y="13"/>
                  </a:lnTo>
                  <a:lnTo>
                    <a:pt x="426" y="7"/>
                  </a:lnTo>
                  <a:lnTo>
                    <a:pt x="447" y="3"/>
                  </a:lnTo>
                  <a:lnTo>
                    <a:pt x="469" y="1"/>
                  </a:lnTo>
                  <a:lnTo>
                    <a:pt x="493" y="0"/>
                  </a:lnTo>
                  <a:lnTo>
                    <a:pt x="511" y="1"/>
                  </a:lnTo>
                  <a:lnTo>
                    <a:pt x="529" y="3"/>
                  </a:lnTo>
                  <a:lnTo>
                    <a:pt x="545" y="8"/>
                  </a:lnTo>
                  <a:lnTo>
                    <a:pt x="559" y="14"/>
                  </a:lnTo>
                  <a:lnTo>
                    <a:pt x="572" y="21"/>
                  </a:lnTo>
                  <a:lnTo>
                    <a:pt x="584" y="30"/>
                  </a:lnTo>
                  <a:lnTo>
                    <a:pt x="595" y="40"/>
                  </a:lnTo>
                  <a:lnTo>
                    <a:pt x="604" y="51"/>
                  </a:lnTo>
                  <a:lnTo>
                    <a:pt x="612" y="63"/>
                  </a:lnTo>
                  <a:lnTo>
                    <a:pt x="619" y="76"/>
                  </a:lnTo>
                  <a:lnTo>
                    <a:pt x="625" y="90"/>
                  </a:lnTo>
                  <a:lnTo>
                    <a:pt x="629" y="105"/>
                  </a:lnTo>
                  <a:lnTo>
                    <a:pt x="633" y="120"/>
                  </a:lnTo>
                  <a:lnTo>
                    <a:pt x="635" y="136"/>
                  </a:lnTo>
                  <a:lnTo>
                    <a:pt x="637" y="152"/>
                  </a:lnTo>
                  <a:lnTo>
                    <a:pt x="637" y="170"/>
                  </a:lnTo>
                  <a:lnTo>
                    <a:pt x="645" y="170"/>
                  </a:lnTo>
                  <a:lnTo>
                    <a:pt x="657" y="151"/>
                  </a:lnTo>
                  <a:lnTo>
                    <a:pt x="670" y="134"/>
                  </a:lnTo>
                  <a:lnTo>
                    <a:pt x="682" y="117"/>
                  </a:lnTo>
                  <a:lnTo>
                    <a:pt x="695" y="102"/>
                  </a:lnTo>
                  <a:lnTo>
                    <a:pt x="709" y="87"/>
                  </a:lnTo>
                  <a:lnTo>
                    <a:pt x="722" y="73"/>
                  </a:lnTo>
                  <a:lnTo>
                    <a:pt x="737" y="60"/>
                  </a:lnTo>
                  <a:lnTo>
                    <a:pt x="752" y="48"/>
                  </a:lnTo>
                  <a:lnTo>
                    <a:pt x="768" y="37"/>
                  </a:lnTo>
                  <a:lnTo>
                    <a:pt x="785" y="28"/>
                  </a:lnTo>
                  <a:lnTo>
                    <a:pt x="802" y="20"/>
                  </a:lnTo>
                  <a:lnTo>
                    <a:pt x="822" y="13"/>
                  </a:lnTo>
                  <a:lnTo>
                    <a:pt x="842" y="7"/>
                  </a:lnTo>
                  <a:lnTo>
                    <a:pt x="864" y="3"/>
                  </a:lnTo>
                  <a:lnTo>
                    <a:pt x="887" y="1"/>
                  </a:lnTo>
                  <a:lnTo>
                    <a:pt x="912" y="0"/>
                  </a:lnTo>
                  <a:lnTo>
                    <a:pt x="928" y="1"/>
                  </a:lnTo>
                  <a:lnTo>
                    <a:pt x="943" y="3"/>
                  </a:lnTo>
                  <a:lnTo>
                    <a:pt x="958" y="7"/>
                  </a:lnTo>
                  <a:lnTo>
                    <a:pt x="971" y="13"/>
                  </a:lnTo>
                  <a:lnTo>
                    <a:pt x="985" y="19"/>
                  </a:lnTo>
                  <a:lnTo>
                    <a:pt x="997" y="27"/>
                  </a:lnTo>
                  <a:lnTo>
                    <a:pt x="1008" y="37"/>
                  </a:lnTo>
                  <a:lnTo>
                    <a:pt x="1018" y="47"/>
                  </a:lnTo>
                  <a:lnTo>
                    <a:pt x="1027" y="59"/>
                  </a:lnTo>
                  <a:lnTo>
                    <a:pt x="1035" y="71"/>
                  </a:lnTo>
                  <a:lnTo>
                    <a:pt x="1041" y="84"/>
                  </a:lnTo>
                  <a:lnTo>
                    <a:pt x="1047" y="98"/>
                  </a:lnTo>
                  <a:lnTo>
                    <a:pt x="1051" y="113"/>
                  </a:lnTo>
                  <a:lnTo>
                    <a:pt x="1055" y="128"/>
                  </a:lnTo>
                  <a:lnTo>
                    <a:pt x="1057" y="144"/>
                  </a:lnTo>
                  <a:lnTo>
                    <a:pt x="1057" y="162"/>
                  </a:lnTo>
                  <a:lnTo>
                    <a:pt x="1057" y="179"/>
                  </a:lnTo>
                  <a:lnTo>
                    <a:pt x="1056" y="196"/>
                  </a:lnTo>
                  <a:lnTo>
                    <a:pt x="1054" y="213"/>
                  </a:lnTo>
                  <a:lnTo>
                    <a:pt x="1052" y="229"/>
                  </a:lnTo>
                  <a:lnTo>
                    <a:pt x="1047" y="260"/>
                  </a:lnTo>
                  <a:lnTo>
                    <a:pt x="1041" y="290"/>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38" name="Freeform 25"/>
            <p:cNvSpPr>
              <a:spLocks noEditPoints="1"/>
            </p:cNvSpPr>
            <p:nvPr userDrawn="1">
              <p:custDataLst>
                <p:tags r:id="rId24"/>
              </p:custDataLst>
            </p:nvPr>
          </p:nvSpPr>
          <p:spPr bwMode="gray">
            <a:xfrm>
              <a:off x="2141538" y="3751263"/>
              <a:ext cx="141287" cy="173037"/>
            </a:xfrm>
            <a:custGeom>
              <a:avLst/>
              <a:gdLst/>
              <a:ahLst/>
              <a:cxnLst>
                <a:cxn ang="0">
                  <a:pos x="481" y="355"/>
                </a:cxn>
                <a:cxn ang="0">
                  <a:pos x="464" y="455"/>
                </a:cxn>
                <a:cxn ang="0">
                  <a:pos x="443" y="523"/>
                </a:cxn>
                <a:cxn ang="0">
                  <a:pos x="423" y="571"/>
                </a:cxn>
                <a:cxn ang="0">
                  <a:pos x="399" y="615"/>
                </a:cxn>
                <a:cxn ang="0">
                  <a:pos x="368" y="653"/>
                </a:cxn>
                <a:cxn ang="0">
                  <a:pos x="334" y="683"/>
                </a:cxn>
                <a:cxn ang="0">
                  <a:pos x="294" y="702"/>
                </a:cxn>
                <a:cxn ang="0">
                  <a:pos x="250" y="709"/>
                </a:cxn>
                <a:cxn ang="0">
                  <a:pos x="221" y="706"/>
                </a:cxn>
                <a:cxn ang="0">
                  <a:pos x="197" y="699"/>
                </a:cxn>
                <a:cxn ang="0">
                  <a:pos x="177" y="687"/>
                </a:cxn>
                <a:cxn ang="0">
                  <a:pos x="162" y="672"/>
                </a:cxn>
                <a:cxn ang="0">
                  <a:pos x="142" y="633"/>
                </a:cxn>
                <a:cxn ang="0">
                  <a:pos x="132" y="587"/>
                </a:cxn>
                <a:cxn ang="0">
                  <a:pos x="130" y="498"/>
                </a:cxn>
                <a:cxn ang="0">
                  <a:pos x="140" y="401"/>
                </a:cxn>
                <a:cxn ang="0">
                  <a:pos x="165" y="293"/>
                </a:cxn>
                <a:cxn ang="0">
                  <a:pos x="191" y="224"/>
                </a:cxn>
                <a:cxn ang="0">
                  <a:pos x="215" y="178"/>
                </a:cxn>
                <a:cxn ang="0">
                  <a:pos x="244" y="138"/>
                </a:cxn>
                <a:cxn ang="0">
                  <a:pos x="278" y="109"/>
                </a:cxn>
                <a:cxn ang="0">
                  <a:pos x="317" y="92"/>
                </a:cxn>
                <a:cxn ang="0">
                  <a:pos x="356" y="89"/>
                </a:cxn>
                <a:cxn ang="0">
                  <a:pos x="382" y="94"/>
                </a:cxn>
                <a:cxn ang="0">
                  <a:pos x="406" y="104"/>
                </a:cxn>
                <a:cxn ang="0">
                  <a:pos x="425" y="119"/>
                </a:cxn>
                <a:cxn ang="0">
                  <a:pos x="446" y="145"/>
                </a:cxn>
                <a:cxn ang="0">
                  <a:pos x="468" y="193"/>
                </a:cxn>
                <a:cxn ang="0">
                  <a:pos x="480" y="246"/>
                </a:cxn>
                <a:cxn ang="0">
                  <a:pos x="484" y="298"/>
                </a:cxn>
                <a:cxn ang="0">
                  <a:pos x="524" y="136"/>
                </a:cxn>
                <a:cxn ang="0">
                  <a:pos x="505" y="94"/>
                </a:cxn>
                <a:cxn ang="0">
                  <a:pos x="478" y="58"/>
                </a:cxn>
                <a:cxn ang="0">
                  <a:pos x="443" y="30"/>
                </a:cxn>
                <a:cxn ang="0">
                  <a:pos x="402" y="10"/>
                </a:cxn>
                <a:cxn ang="0">
                  <a:pos x="354" y="1"/>
                </a:cxn>
                <a:cxn ang="0">
                  <a:pos x="295" y="4"/>
                </a:cxn>
                <a:cxn ang="0">
                  <a:pos x="235" y="23"/>
                </a:cxn>
                <a:cxn ang="0">
                  <a:pos x="184" y="56"/>
                </a:cxn>
                <a:cxn ang="0">
                  <a:pos x="139" y="100"/>
                </a:cxn>
                <a:cxn ang="0">
                  <a:pos x="100" y="154"/>
                </a:cxn>
                <a:cxn ang="0">
                  <a:pos x="68" y="216"/>
                </a:cxn>
                <a:cxn ang="0">
                  <a:pos x="43" y="281"/>
                </a:cxn>
                <a:cxn ang="0">
                  <a:pos x="24" y="348"/>
                </a:cxn>
                <a:cxn ang="0">
                  <a:pos x="10" y="415"/>
                </a:cxn>
                <a:cxn ang="0">
                  <a:pos x="2" y="481"/>
                </a:cxn>
                <a:cxn ang="0">
                  <a:pos x="0" y="540"/>
                </a:cxn>
                <a:cxn ang="0">
                  <a:pos x="6" y="613"/>
                </a:cxn>
                <a:cxn ang="0">
                  <a:pos x="25" y="681"/>
                </a:cxn>
                <a:cxn ang="0">
                  <a:pos x="41" y="712"/>
                </a:cxn>
                <a:cxn ang="0">
                  <a:pos x="60" y="740"/>
                </a:cxn>
                <a:cxn ang="0">
                  <a:pos x="84" y="764"/>
                </a:cxn>
                <a:cxn ang="0">
                  <a:pos x="111" y="783"/>
                </a:cxn>
                <a:cxn ang="0">
                  <a:pos x="145" y="797"/>
                </a:cxn>
                <a:cxn ang="0">
                  <a:pos x="182" y="805"/>
                </a:cxn>
                <a:cxn ang="0">
                  <a:pos x="229" y="806"/>
                </a:cxn>
                <a:cxn ang="0">
                  <a:pos x="279" y="796"/>
                </a:cxn>
                <a:cxn ang="0">
                  <a:pos x="322" y="776"/>
                </a:cxn>
                <a:cxn ang="0">
                  <a:pos x="359" y="747"/>
                </a:cxn>
                <a:cxn ang="0">
                  <a:pos x="390" y="707"/>
                </a:cxn>
                <a:cxn ang="0">
                  <a:pos x="419" y="661"/>
                </a:cxn>
                <a:cxn ang="0">
                  <a:pos x="516" y="790"/>
                </a:cxn>
              </a:cxnLst>
              <a:rect l="0" t="0" r="r" b="b"/>
              <a:pathLst>
                <a:path w="661" h="806">
                  <a:moveTo>
                    <a:pt x="484" y="298"/>
                  </a:moveTo>
                  <a:lnTo>
                    <a:pt x="483" y="325"/>
                  </a:lnTo>
                  <a:lnTo>
                    <a:pt x="481" y="355"/>
                  </a:lnTo>
                  <a:lnTo>
                    <a:pt x="477" y="387"/>
                  </a:lnTo>
                  <a:lnTo>
                    <a:pt x="471" y="420"/>
                  </a:lnTo>
                  <a:lnTo>
                    <a:pt x="464" y="455"/>
                  </a:lnTo>
                  <a:lnTo>
                    <a:pt x="454" y="489"/>
                  </a:lnTo>
                  <a:lnTo>
                    <a:pt x="449" y="506"/>
                  </a:lnTo>
                  <a:lnTo>
                    <a:pt x="443" y="523"/>
                  </a:lnTo>
                  <a:lnTo>
                    <a:pt x="437" y="539"/>
                  </a:lnTo>
                  <a:lnTo>
                    <a:pt x="431" y="555"/>
                  </a:lnTo>
                  <a:lnTo>
                    <a:pt x="423" y="571"/>
                  </a:lnTo>
                  <a:lnTo>
                    <a:pt x="416" y="587"/>
                  </a:lnTo>
                  <a:lnTo>
                    <a:pt x="407" y="601"/>
                  </a:lnTo>
                  <a:lnTo>
                    <a:pt x="399" y="615"/>
                  </a:lnTo>
                  <a:lnTo>
                    <a:pt x="388" y="629"/>
                  </a:lnTo>
                  <a:lnTo>
                    <a:pt x="378" y="642"/>
                  </a:lnTo>
                  <a:lnTo>
                    <a:pt x="368" y="653"/>
                  </a:lnTo>
                  <a:lnTo>
                    <a:pt x="357" y="664"/>
                  </a:lnTo>
                  <a:lnTo>
                    <a:pt x="346" y="674"/>
                  </a:lnTo>
                  <a:lnTo>
                    <a:pt x="334" y="683"/>
                  </a:lnTo>
                  <a:lnTo>
                    <a:pt x="321" y="691"/>
                  </a:lnTo>
                  <a:lnTo>
                    <a:pt x="308" y="697"/>
                  </a:lnTo>
                  <a:lnTo>
                    <a:pt x="294" y="702"/>
                  </a:lnTo>
                  <a:lnTo>
                    <a:pt x="280" y="706"/>
                  </a:lnTo>
                  <a:lnTo>
                    <a:pt x="265" y="708"/>
                  </a:lnTo>
                  <a:lnTo>
                    <a:pt x="250" y="709"/>
                  </a:lnTo>
                  <a:lnTo>
                    <a:pt x="239" y="709"/>
                  </a:lnTo>
                  <a:lnTo>
                    <a:pt x="230" y="708"/>
                  </a:lnTo>
                  <a:lnTo>
                    <a:pt x="221" y="706"/>
                  </a:lnTo>
                  <a:lnTo>
                    <a:pt x="212" y="704"/>
                  </a:lnTo>
                  <a:lnTo>
                    <a:pt x="204" y="702"/>
                  </a:lnTo>
                  <a:lnTo>
                    <a:pt x="197" y="699"/>
                  </a:lnTo>
                  <a:lnTo>
                    <a:pt x="190" y="695"/>
                  </a:lnTo>
                  <a:lnTo>
                    <a:pt x="183" y="691"/>
                  </a:lnTo>
                  <a:lnTo>
                    <a:pt x="177" y="687"/>
                  </a:lnTo>
                  <a:lnTo>
                    <a:pt x="172" y="682"/>
                  </a:lnTo>
                  <a:lnTo>
                    <a:pt x="167" y="677"/>
                  </a:lnTo>
                  <a:lnTo>
                    <a:pt x="162" y="672"/>
                  </a:lnTo>
                  <a:lnTo>
                    <a:pt x="154" y="660"/>
                  </a:lnTo>
                  <a:lnTo>
                    <a:pt x="147" y="647"/>
                  </a:lnTo>
                  <a:lnTo>
                    <a:pt x="142" y="633"/>
                  </a:lnTo>
                  <a:lnTo>
                    <a:pt x="138" y="618"/>
                  </a:lnTo>
                  <a:lnTo>
                    <a:pt x="134" y="603"/>
                  </a:lnTo>
                  <a:lnTo>
                    <a:pt x="132" y="587"/>
                  </a:lnTo>
                  <a:lnTo>
                    <a:pt x="130" y="555"/>
                  </a:lnTo>
                  <a:lnTo>
                    <a:pt x="129" y="524"/>
                  </a:lnTo>
                  <a:lnTo>
                    <a:pt x="130" y="498"/>
                  </a:lnTo>
                  <a:lnTo>
                    <a:pt x="132" y="469"/>
                  </a:lnTo>
                  <a:lnTo>
                    <a:pt x="135" y="435"/>
                  </a:lnTo>
                  <a:lnTo>
                    <a:pt x="140" y="401"/>
                  </a:lnTo>
                  <a:lnTo>
                    <a:pt x="147" y="366"/>
                  </a:lnTo>
                  <a:lnTo>
                    <a:pt x="155" y="329"/>
                  </a:lnTo>
                  <a:lnTo>
                    <a:pt x="165" y="293"/>
                  </a:lnTo>
                  <a:lnTo>
                    <a:pt x="177" y="258"/>
                  </a:lnTo>
                  <a:lnTo>
                    <a:pt x="184" y="241"/>
                  </a:lnTo>
                  <a:lnTo>
                    <a:pt x="191" y="224"/>
                  </a:lnTo>
                  <a:lnTo>
                    <a:pt x="199" y="208"/>
                  </a:lnTo>
                  <a:lnTo>
                    <a:pt x="207" y="193"/>
                  </a:lnTo>
                  <a:lnTo>
                    <a:pt x="215" y="178"/>
                  </a:lnTo>
                  <a:lnTo>
                    <a:pt x="225" y="164"/>
                  </a:lnTo>
                  <a:lnTo>
                    <a:pt x="234" y="150"/>
                  </a:lnTo>
                  <a:lnTo>
                    <a:pt x="244" y="138"/>
                  </a:lnTo>
                  <a:lnTo>
                    <a:pt x="255" y="127"/>
                  </a:lnTo>
                  <a:lnTo>
                    <a:pt x="266" y="117"/>
                  </a:lnTo>
                  <a:lnTo>
                    <a:pt x="278" y="109"/>
                  </a:lnTo>
                  <a:lnTo>
                    <a:pt x="291" y="102"/>
                  </a:lnTo>
                  <a:lnTo>
                    <a:pt x="304" y="96"/>
                  </a:lnTo>
                  <a:lnTo>
                    <a:pt x="317" y="92"/>
                  </a:lnTo>
                  <a:lnTo>
                    <a:pt x="331" y="89"/>
                  </a:lnTo>
                  <a:lnTo>
                    <a:pt x="346" y="88"/>
                  </a:lnTo>
                  <a:lnTo>
                    <a:pt x="356" y="89"/>
                  </a:lnTo>
                  <a:lnTo>
                    <a:pt x="365" y="90"/>
                  </a:lnTo>
                  <a:lnTo>
                    <a:pt x="374" y="91"/>
                  </a:lnTo>
                  <a:lnTo>
                    <a:pt x="382" y="94"/>
                  </a:lnTo>
                  <a:lnTo>
                    <a:pt x="390" y="97"/>
                  </a:lnTo>
                  <a:lnTo>
                    <a:pt x="397" y="100"/>
                  </a:lnTo>
                  <a:lnTo>
                    <a:pt x="406" y="104"/>
                  </a:lnTo>
                  <a:lnTo>
                    <a:pt x="413" y="108"/>
                  </a:lnTo>
                  <a:lnTo>
                    <a:pt x="419" y="114"/>
                  </a:lnTo>
                  <a:lnTo>
                    <a:pt x="425" y="119"/>
                  </a:lnTo>
                  <a:lnTo>
                    <a:pt x="431" y="125"/>
                  </a:lnTo>
                  <a:lnTo>
                    <a:pt x="436" y="131"/>
                  </a:lnTo>
                  <a:lnTo>
                    <a:pt x="446" y="145"/>
                  </a:lnTo>
                  <a:lnTo>
                    <a:pt x="455" y="161"/>
                  </a:lnTo>
                  <a:lnTo>
                    <a:pt x="462" y="177"/>
                  </a:lnTo>
                  <a:lnTo>
                    <a:pt x="468" y="193"/>
                  </a:lnTo>
                  <a:lnTo>
                    <a:pt x="473" y="211"/>
                  </a:lnTo>
                  <a:lnTo>
                    <a:pt x="477" y="228"/>
                  </a:lnTo>
                  <a:lnTo>
                    <a:pt x="480" y="246"/>
                  </a:lnTo>
                  <a:lnTo>
                    <a:pt x="482" y="264"/>
                  </a:lnTo>
                  <a:lnTo>
                    <a:pt x="483" y="281"/>
                  </a:lnTo>
                  <a:lnTo>
                    <a:pt x="484" y="298"/>
                  </a:lnTo>
                  <a:close/>
                  <a:moveTo>
                    <a:pt x="661" y="16"/>
                  </a:moveTo>
                  <a:lnTo>
                    <a:pt x="548" y="16"/>
                  </a:lnTo>
                  <a:lnTo>
                    <a:pt x="524" y="136"/>
                  </a:lnTo>
                  <a:lnTo>
                    <a:pt x="519" y="122"/>
                  </a:lnTo>
                  <a:lnTo>
                    <a:pt x="513" y="108"/>
                  </a:lnTo>
                  <a:lnTo>
                    <a:pt x="505" y="94"/>
                  </a:lnTo>
                  <a:lnTo>
                    <a:pt x="497" y="81"/>
                  </a:lnTo>
                  <a:lnTo>
                    <a:pt x="488" y="69"/>
                  </a:lnTo>
                  <a:lnTo>
                    <a:pt x="478" y="58"/>
                  </a:lnTo>
                  <a:lnTo>
                    <a:pt x="467" y="48"/>
                  </a:lnTo>
                  <a:lnTo>
                    <a:pt x="456" y="38"/>
                  </a:lnTo>
                  <a:lnTo>
                    <a:pt x="443" y="30"/>
                  </a:lnTo>
                  <a:lnTo>
                    <a:pt x="430" y="22"/>
                  </a:lnTo>
                  <a:lnTo>
                    <a:pt x="416" y="15"/>
                  </a:lnTo>
                  <a:lnTo>
                    <a:pt x="402" y="10"/>
                  </a:lnTo>
                  <a:lnTo>
                    <a:pt x="386" y="6"/>
                  </a:lnTo>
                  <a:lnTo>
                    <a:pt x="370" y="2"/>
                  </a:lnTo>
                  <a:lnTo>
                    <a:pt x="354" y="1"/>
                  </a:lnTo>
                  <a:lnTo>
                    <a:pt x="338" y="0"/>
                  </a:lnTo>
                  <a:lnTo>
                    <a:pt x="316" y="1"/>
                  </a:lnTo>
                  <a:lnTo>
                    <a:pt x="295" y="4"/>
                  </a:lnTo>
                  <a:lnTo>
                    <a:pt x="274" y="8"/>
                  </a:lnTo>
                  <a:lnTo>
                    <a:pt x="254" y="15"/>
                  </a:lnTo>
                  <a:lnTo>
                    <a:pt x="235" y="23"/>
                  </a:lnTo>
                  <a:lnTo>
                    <a:pt x="217" y="32"/>
                  </a:lnTo>
                  <a:lnTo>
                    <a:pt x="200" y="43"/>
                  </a:lnTo>
                  <a:lnTo>
                    <a:pt x="184" y="56"/>
                  </a:lnTo>
                  <a:lnTo>
                    <a:pt x="168" y="69"/>
                  </a:lnTo>
                  <a:lnTo>
                    <a:pt x="153" y="84"/>
                  </a:lnTo>
                  <a:lnTo>
                    <a:pt x="139" y="100"/>
                  </a:lnTo>
                  <a:lnTo>
                    <a:pt x="125" y="117"/>
                  </a:lnTo>
                  <a:lnTo>
                    <a:pt x="112" y="135"/>
                  </a:lnTo>
                  <a:lnTo>
                    <a:pt x="100" y="154"/>
                  </a:lnTo>
                  <a:lnTo>
                    <a:pt x="88" y="175"/>
                  </a:lnTo>
                  <a:lnTo>
                    <a:pt x="78" y="195"/>
                  </a:lnTo>
                  <a:lnTo>
                    <a:pt x="68" y="216"/>
                  </a:lnTo>
                  <a:lnTo>
                    <a:pt x="59" y="237"/>
                  </a:lnTo>
                  <a:lnTo>
                    <a:pt x="51" y="259"/>
                  </a:lnTo>
                  <a:lnTo>
                    <a:pt x="43" y="281"/>
                  </a:lnTo>
                  <a:lnTo>
                    <a:pt x="36" y="303"/>
                  </a:lnTo>
                  <a:lnTo>
                    <a:pt x="29" y="325"/>
                  </a:lnTo>
                  <a:lnTo>
                    <a:pt x="24" y="348"/>
                  </a:lnTo>
                  <a:lnTo>
                    <a:pt x="18" y="370"/>
                  </a:lnTo>
                  <a:lnTo>
                    <a:pt x="14" y="393"/>
                  </a:lnTo>
                  <a:lnTo>
                    <a:pt x="10" y="415"/>
                  </a:lnTo>
                  <a:lnTo>
                    <a:pt x="7" y="437"/>
                  </a:lnTo>
                  <a:lnTo>
                    <a:pt x="4" y="460"/>
                  </a:lnTo>
                  <a:lnTo>
                    <a:pt x="2" y="481"/>
                  </a:lnTo>
                  <a:lnTo>
                    <a:pt x="1" y="501"/>
                  </a:lnTo>
                  <a:lnTo>
                    <a:pt x="0" y="521"/>
                  </a:lnTo>
                  <a:lnTo>
                    <a:pt x="0" y="540"/>
                  </a:lnTo>
                  <a:lnTo>
                    <a:pt x="0" y="564"/>
                  </a:lnTo>
                  <a:lnTo>
                    <a:pt x="2" y="589"/>
                  </a:lnTo>
                  <a:lnTo>
                    <a:pt x="6" y="613"/>
                  </a:lnTo>
                  <a:lnTo>
                    <a:pt x="11" y="636"/>
                  </a:lnTo>
                  <a:lnTo>
                    <a:pt x="17" y="659"/>
                  </a:lnTo>
                  <a:lnTo>
                    <a:pt x="25" y="681"/>
                  </a:lnTo>
                  <a:lnTo>
                    <a:pt x="30" y="691"/>
                  </a:lnTo>
                  <a:lnTo>
                    <a:pt x="35" y="702"/>
                  </a:lnTo>
                  <a:lnTo>
                    <a:pt x="41" y="712"/>
                  </a:lnTo>
                  <a:lnTo>
                    <a:pt x="47" y="722"/>
                  </a:lnTo>
                  <a:lnTo>
                    <a:pt x="53" y="731"/>
                  </a:lnTo>
                  <a:lnTo>
                    <a:pt x="60" y="740"/>
                  </a:lnTo>
                  <a:lnTo>
                    <a:pt x="67" y="749"/>
                  </a:lnTo>
                  <a:lnTo>
                    <a:pt x="75" y="757"/>
                  </a:lnTo>
                  <a:lnTo>
                    <a:pt x="84" y="764"/>
                  </a:lnTo>
                  <a:lnTo>
                    <a:pt x="92" y="771"/>
                  </a:lnTo>
                  <a:lnTo>
                    <a:pt x="102" y="777"/>
                  </a:lnTo>
                  <a:lnTo>
                    <a:pt x="111" y="783"/>
                  </a:lnTo>
                  <a:lnTo>
                    <a:pt x="123" y="788"/>
                  </a:lnTo>
                  <a:lnTo>
                    <a:pt x="134" y="793"/>
                  </a:lnTo>
                  <a:lnTo>
                    <a:pt x="145" y="797"/>
                  </a:lnTo>
                  <a:lnTo>
                    <a:pt x="157" y="800"/>
                  </a:lnTo>
                  <a:lnTo>
                    <a:pt x="169" y="803"/>
                  </a:lnTo>
                  <a:lnTo>
                    <a:pt x="182" y="805"/>
                  </a:lnTo>
                  <a:lnTo>
                    <a:pt x="195" y="806"/>
                  </a:lnTo>
                  <a:lnTo>
                    <a:pt x="210" y="806"/>
                  </a:lnTo>
                  <a:lnTo>
                    <a:pt x="229" y="806"/>
                  </a:lnTo>
                  <a:lnTo>
                    <a:pt x="246" y="804"/>
                  </a:lnTo>
                  <a:lnTo>
                    <a:pt x="263" y="801"/>
                  </a:lnTo>
                  <a:lnTo>
                    <a:pt x="279" y="796"/>
                  </a:lnTo>
                  <a:lnTo>
                    <a:pt x="295" y="791"/>
                  </a:lnTo>
                  <a:lnTo>
                    <a:pt x="309" y="784"/>
                  </a:lnTo>
                  <a:lnTo>
                    <a:pt x="322" y="776"/>
                  </a:lnTo>
                  <a:lnTo>
                    <a:pt x="335" y="767"/>
                  </a:lnTo>
                  <a:lnTo>
                    <a:pt x="347" y="757"/>
                  </a:lnTo>
                  <a:lnTo>
                    <a:pt x="359" y="747"/>
                  </a:lnTo>
                  <a:lnTo>
                    <a:pt x="370" y="735"/>
                  </a:lnTo>
                  <a:lnTo>
                    <a:pt x="380" y="722"/>
                  </a:lnTo>
                  <a:lnTo>
                    <a:pt x="390" y="707"/>
                  </a:lnTo>
                  <a:lnTo>
                    <a:pt x="401" y="692"/>
                  </a:lnTo>
                  <a:lnTo>
                    <a:pt x="410" y="677"/>
                  </a:lnTo>
                  <a:lnTo>
                    <a:pt x="419" y="661"/>
                  </a:lnTo>
                  <a:lnTo>
                    <a:pt x="428" y="661"/>
                  </a:lnTo>
                  <a:lnTo>
                    <a:pt x="403" y="790"/>
                  </a:lnTo>
                  <a:lnTo>
                    <a:pt x="516" y="790"/>
                  </a:lnTo>
                  <a:lnTo>
                    <a:pt x="661" y="16"/>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39" name="Freeform 26"/>
            <p:cNvSpPr>
              <a:spLocks/>
            </p:cNvSpPr>
            <p:nvPr userDrawn="1">
              <p:custDataLst>
                <p:tags r:id="rId25"/>
              </p:custDataLst>
            </p:nvPr>
          </p:nvSpPr>
          <p:spPr bwMode="gray">
            <a:xfrm>
              <a:off x="2289175" y="3751263"/>
              <a:ext cx="142875" cy="169862"/>
            </a:xfrm>
            <a:custGeom>
              <a:avLst/>
              <a:gdLst/>
              <a:ahLst/>
              <a:cxnLst>
                <a:cxn ang="0">
                  <a:pos x="547" y="790"/>
                </a:cxn>
                <a:cxn ang="0">
                  <a:pos x="523" y="330"/>
                </a:cxn>
                <a:cxn ang="0">
                  <a:pos x="534" y="263"/>
                </a:cxn>
                <a:cxn ang="0">
                  <a:pos x="538" y="232"/>
                </a:cxn>
                <a:cxn ang="0">
                  <a:pos x="539" y="202"/>
                </a:cxn>
                <a:cxn ang="0">
                  <a:pos x="538" y="182"/>
                </a:cxn>
                <a:cxn ang="0">
                  <a:pos x="533" y="163"/>
                </a:cxn>
                <a:cxn ang="0">
                  <a:pos x="526" y="146"/>
                </a:cxn>
                <a:cxn ang="0">
                  <a:pos x="516" y="131"/>
                </a:cxn>
                <a:cxn ang="0">
                  <a:pos x="503" y="120"/>
                </a:cxn>
                <a:cxn ang="0">
                  <a:pos x="488" y="111"/>
                </a:cxn>
                <a:cxn ang="0">
                  <a:pos x="471" y="106"/>
                </a:cxn>
                <a:cxn ang="0">
                  <a:pos x="451" y="104"/>
                </a:cxn>
                <a:cxn ang="0">
                  <a:pos x="418" y="108"/>
                </a:cxn>
                <a:cxn ang="0">
                  <a:pos x="388" y="117"/>
                </a:cxn>
                <a:cxn ang="0">
                  <a:pos x="360" y="132"/>
                </a:cxn>
                <a:cxn ang="0">
                  <a:pos x="334" y="152"/>
                </a:cxn>
                <a:cxn ang="0">
                  <a:pos x="310" y="176"/>
                </a:cxn>
                <a:cxn ang="0">
                  <a:pos x="288" y="204"/>
                </a:cxn>
                <a:cxn ang="0">
                  <a:pos x="266" y="234"/>
                </a:cxn>
                <a:cxn ang="0">
                  <a:pos x="248" y="266"/>
                </a:cxn>
                <a:cxn ang="0">
                  <a:pos x="216" y="335"/>
                </a:cxn>
                <a:cxn ang="0">
                  <a:pos x="191" y="404"/>
                </a:cxn>
                <a:cxn ang="0">
                  <a:pos x="172" y="469"/>
                </a:cxn>
                <a:cxn ang="0">
                  <a:pos x="160" y="524"/>
                </a:cxn>
                <a:cxn ang="0">
                  <a:pos x="0" y="790"/>
                </a:cxn>
                <a:cxn ang="0">
                  <a:pos x="257" y="16"/>
                </a:cxn>
                <a:cxn ang="0">
                  <a:pos x="233" y="178"/>
                </a:cxn>
                <a:cxn ang="0">
                  <a:pos x="260" y="139"/>
                </a:cxn>
                <a:cxn ang="0">
                  <a:pos x="288" y="105"/>
                </a:cxn>
                <a:cxn ang="0">
                  <a:pos x="316" y="75"/>
                </a:cxn>
                <a:cxn ang="0">
                  <a:pos x="346" y="49"/>
                </a:cxn>
                <a:cxn ang="0">
                  <a:pos x="379" y="28"/>
                </a:cxn>
                <a:cxn ang="0">
                  <a:pos x="417" y="13"/>
                </a:cxn>
                <a:cxn ang="0">
                  <a:pos x="459" y="3"/>
                </a:cxn>
                <a:cxn ang="0">
                  <a:pos x="507" y="0"/>
                </a:cxn>
                <a:cxn ang="0">
                  <a:pos x="541" y="3"/>
                </a:cxn>
                <a:cxn ang="0">
                  <a:pos x="572" y="14"/>
                </a:cxn>
                <a:cxn ang="0">
                  <a:pos x="599" y="30"/>
                </a:cxn>
                <a:cxn ang="0">
                  <a:pos x="620" y="51"/>
                </a:cxn>
                <a:cxn ang="0">
                  <a:pos x="638" y="76"/>
                </a:cxn>
                <a:cxn ang="0">
                  <a:pos x="650" y="105"/>
                </a:cxn>
                <a:cxn ang="0">
                  <a:pos x="658" y="136"/>
                </a:cxn>
                <a:cxn ang="0">
                  <a:pos x="661" y="170"/>
                </a:cxn>
                <a:cxn ang="0">
                  <a:pos x="659" y="200"/>
                </a:cxn>
                <a:cxn ang="0">
                  <a:pos x="656" y="230"/>
                </a:cxn>
                <a:cxn ang="0">
                  <a:pos x="645" y="290"/>
                </a:cxn>
              </a:cxnLst>
              <a:rect l="0" t="0" r="r" b="b"/>
              <a:pathLst>
                <a:path w="661" h="790">
                  <a:moveTo>
                    <a:pt x="645" y="290"/>
                  </a:moveTo>
                  <a:lnTo>
                    <a:pt x="547" y="790"/>
                  </a:lnTo>
                  <a:lnTo>
                    <a:pt x="435" y="790"/>
                  </a:lnTo>
                  <a:lnTo>
                    <a:pt x="523" y="330"/>
                  </a:lnTo>
                  <a:lnTo>
                    <a:pt x="529" y="296"/>
                  </a:lnTo>
                  <a:lnTo>
                    <a:pt x="534" y="263"/>
                  </a:lnTo>
                  <a:lnTo>
                    <a:pt x="536" y="247"/>
                  </a:lnTo>
                  <a:lnTo>
                    <a:pt x="538" y="232"/>
                  </a:lnTo>
                  <a:lnTo>
                    <a:pt x="539" y="217"/>
                  </a:lnTo>
                  <a:lnTo>
                    <a:pt x="539" y="202"/>
                  </a:lnTo>
                  <a:lnTo>
                    <a:pt x="539" y="191"/>
                  </a:lnTo>
                  <a:lnTo>
                    <a:pt x="538" y="182"/>
                  </a:lnTo>
                  <a:lnTo>
                    <a:pt x="536" y="172"/>
                  </a:lnTo>
                  <a:lnTo>
                    <a:pt x="533" y="163"/>
                  </a:lnTo>
                  <a:lnTo>
                    <a:pt x="530" y="154"/>
                  </a:lnTo>
                  <a:lnTo>
                    <a:pt x="526" y="146"/>
                  </a:lnTo>
                  <a:lnTo>
                    <a:pt x="521" y="138"/>
                  </a:lnTo>
                  <a:lnTo>
                    <a:pt x="516" y="131"/>
                  </a:lnTo>
                  <a:lnTo>
                    <a:pt x="510" y="125"/>
                  </a:lnTo>
                  <a:lnTo>
                    <a:pt x="503" y="120"/>
                  </a:lnTo>
                  <a:lnTo>
                    <a:pt x="496" y="115"/>
                  </a:lnTo>
                  <a:lnTo>
                    <a:pt x="488" y="111"/>
                  </a:lnTo>
                  <a:lnTo>
                    <a:pt x="480" y="108"/>
                  </a:lnTo>
                  <a:lnTo>
                    <a:pt x="471" y="106"/>
                  </a:lnTo>
                  <a:lnTo>
                    <a:pt x="461" y="105"/>
                  </a:lnTo>
                  <a:lnTo>
                    <a:pt x="451" y="104"/>
                  </a:lnTo>
                  <a:lnTo>
                    <a:pt x="434" y="105"/>
                  </a:lnTo>
                  <a:lnTo>
                    <a:pt x="418" y="108"/>
                  </a:lnTo>
                  <a:lnTo>
                    <a:pt x="403" y="112"/>
                  </a:lnTo>
                  <a:lnTo>
                    <a:pt x="388" y="117"/>
                  </a:lnTo>
                  <a:lnTo>
                    <a:pt x="374" y="124"/>
                  </a:lnTo>
                  <a:lnTo>
                    <a:pt x="360" y="132"/>
                  </a:lnTo>
                  <a:lnTo>
                    <a:pt x="347" y="141"/>
                  </a:lnTo>
                  <a:lnTo>
                    <a:pt x="334" y="152"/>
                  </a:lnTo>
                  <a:lnTo>
                    <a:pt x="322" y="164"/>
                  </a:lnTo>
                  <a:lnTo>
                    <a:pt x="310" y="176"/>
                  </a:lnTo>
                  <a:lnTo>
                    <a:pt x="299" y="190"/>
                  </a:lnTo>
                  <a:lnTo>
                    <a:pt x="288" y="204"/>
                  </a:lnTo>
                  <a:lnTo>
                    <a:pt x="277" y="218"/>
                  </a:lnTo>
                  <a:lnTo>
                    <a:pt x="266" y="234"/>
                  </a:lnTo>
                  <a:lnTo>
                    <a:pt x="257" y="250"/>
                  </a:lnTo>
                  <a:lnTo>
                    <a:pt x="248" y="266"/>
                  </a:lnTo>
                  <a:lnTo>
                    <a:pt x="231" y="300"/>
                  </a:lnTo>
                  <a:lnTo>
                    <a:pt x="216" y="335"/>
                  </a:lnTo>
                  <a:lnTo>
                    <a:pt x="202" y="369"/>
                  </a:lnTo>
                  <a:lnTo>
                    <a:pt x="191" y="404"/>
                  </a:lnTo>
                  <a:lnTo>
                    <a:pt x="181" y="437"/>
                  </a:lnTo>
                  <a:lnTo>
                    <a:pt x="172" y="469"/>
                  </a:lnTo>
                  <a:lnTo>
                    <a:pt x="166" y="498"/>
                  </a:lnTo>
                  <a:lnTo>
                    <a:pt x="160" y="524"/>
                  </a:lnTo>
                  <a:lnTo>
                    <a:pt x="112" y="790"/>
                  </a:lnTo>
                  <a:lnTo>
                    <a:pt x="0" y="790"/>
                  </a:lnTo>
                  <a:lnTo>
                    <a:pt x="144" y="16"/>
                  </a:lnTo>
                  <a:lnTo>
                    <a:pt x="257" y="16"/>
                  </a:lnTo>
                  <a:lnTo>
                    <a:pt x="233" y="170"/>
                  </a:lnTo>
                  <a:lnTo>
                    <a:pt x="233" y="178"/>
                  </a:lnTo>
                  <a:lnTo>
                    <a:pt x="246" y="157"/>
                  </a:lnTo>
                  <a:lnTo>
                    <a:pt x="260" y="139"/>
                  </a:lnTo>
                  <a:lnTo>
                    <a:pt x="274" y="122"/>
                  </a:lnTo>
                  <a:lnTo>
                    <a:pt x="288" y="105"/>
                  </a:lnTo>
                  <a:lnTo>
                    <a:pt x="302" y="89"/>
                  </a:lnTo>
                  <a:lnTo>
                    <a:pt x="316" y="75"/>
                  </a:lnTo>
                  <a:lnTo>
                    <a:pt x="331" y="61"/>
                  </a:lnTo>
                  <a:lnTo>
                    <a:pt x="346" y="49"/>
                  </a:lnTo>
                  <a:lnTo>
                    <a:pt x="362" y="38"/>
                  </a:lnTo>
                  <a:lnTo>
                    <a:pt x="379" y="28"/>
                  </a:lnTo>
                  <a:lnTo>
                    <a:pt x="398" y="20"/>
                  </a:lnTo>
                  <a:lnTo>
                    <a:pt x="417" y="13"/>
                  </a:lnTo>
                  <a:lnTo>
                    <a:pt x="437" y="7"/>
                  </a:lnTo>
                  <a:lnTo>
                    <a:pt x="459" y="3"/>
                  </a:lnTo>
                  <a:lnTo>
                    <a:pt x="482" y="1"/>
                  </a:lnTo>
                  <a:lnTo>
                    <a:pt x="507" y="0"/>
                  </a:lnTo>
                  <a:lnTo>
                    <a:pt x="524" y="1"/>
                  </a:lnTo>
                  <a:lnTo>
                    <a:pt x="541" y="3"/>
                  </a:lnTo>
                  <a:lnTo>
                    <a:pt x="558" y="8"/>
                  </a:lnTo>
                  <a:lnTo>
                    <a:pt x="572" y="14"/>
                  </a:lnTo>
                  <a:lnTo>
                    <a:pt x="586" y="21"/>
                  </a:lnTo>
                  <a:lnTo>
                    <a:pt x="599" y="30"/>
                  </a:lnTo>
                  <a:lnTo>
                    <a:pt x="610" y="40"/>
                  </a:lnTo>
                  <a:lnTo>
                    <a:pt x="620" y="51"/>
                  </a:lnTo>
                  <a:lnTo>
                    <a:pt x="630" y="63"/>
                  </a:lnTo>
                  <a:lnTo>
                    <a:pt x="638" y="76"/>
                  </a:lnTo>
                  <a:lnTo>
                    <a:pt x="645" y="90"/>
                  </a:lnTo>
                  <a:lnTo>
                    <a:pt x="650" y="105"/>
                  </a:lnTo>
                  <a:lnTo>
                    <a:pt x="655" y="120"/>
                  </a:lnTo>
                  <a:lnTo>
                    <a:pt x="658" y="136"/>
                  </a:lnTo>
                  <a:lnTo>
                    <a:pt x="660" y="152"/>
                  </a:lnTo>
                  <a:lnTo>
                    <a:pt x="661" y="170"/>
                  </a:lnTo>
                  <a:lnTo>
                    <a:pt x="660" y="185"/>
                  </a:lnTo>
                  <a:lnTo>
                    <a:pt x="659" y="200"/>
                  </a:lnTo>
                  <a:lnTo>
                    <a:pt x="658" y="215"/>
                  </a:lnTo>
                  <a:lnTo>
                    <a:pt x="656" y="230"/>
                  </a:lnTo>
                  <a:lnTo>
                    <a:pt x="650" y="260"/>
                  </a:lnTo>
                  <a:lnTo>
                    <a:pt x="645" y="290"/>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40" name="Freeform 27"/>
            <p:cNvSpPr>
              <a:spLocks/>
            </p:cNvSpPr>
            <p:nvPr userDrawn="1">
              <p:custDataLst>
                <p:tags r:id="rId26"/>
              </p:custDataLst>
            </p:nvPr>
          </p:nvSpPr>
          <p:spPr bwMode="gray">
            <a:xfrm>
              <a:off x="2446338" y="3751263"/>
              <a:ext cx="133350" cy="173037"/>
            </a:xfrm>
            <a:custGeom>
              <a:avLst/>
              <a:gdLst/>
              <a:ahLst/>
              <a:cxnLst>
                <a:cxn ang="0">
                  <a:pos x="484" y="238"/>
                </a:cxn>
                <a:cxn ang="0">
                  <a:pos x="484" y="202"/>
                </a:cxn>
                <a:cxn ang="0">
                  <a:pos x="480" y="168"/>
                </a:cxn>
                <a:cxn ang="0">
                  <a:pos x="468" y="137"/>
                </a:cxn>
                <a:cxn ang="0">
                  <a:pos x="447" y="113"/>
                </a:cxn>
                <a:cxn ang="0">
                  <a:pos x="420" y="97"/>
                </a:cxn>
                <a:cxn ang="0">
                  <a:pos x="385" y="89"/>
                </a:cxn>
                <a:cxn ang="0">
                  <a:pos x="339" y="91"/>
                </a:cxn>
                <a:cxn ang="0">
                  <a:pos x="296" y="103"/>
                </a:cxn>
                <a:cxn ang="0">
                  <a:pos x="258" y="124"/>
                </a:cxn>
                <a:cxn ang="0">
                  <a:pos x="226" y="153"/>
                </a:cxn>
                <a:cxn ang="0">
                  <a:pos x="199" y="190"/>
                </a:cxn>
                <a:cxn ang="0">
                  <a:pos x="177" y="230"/>
                </a:cxn>
                <a:cxn ang="0">
                  <a:pos x="159" y="273"/>
                </a:cxn>
                <a:cxn ang="0">
                  <a:pos x="137" y="364"/>
                </a:cxn>
                <a:cxn ang="0">
                  <a:pos x="130" y="452"/>
                </a:cxn>
                <a:cxn ang="0">
                  <a:pos x="132" y="497"/>
                </a:cxn>
                <a:cxn ang="0">
                  <a:pos x="138" y="538"/>
                </a:cxn>
                <a:cxn ang="0">
                  <a:pos x="149" y="575"/>
                </a:cxn>
                <a:cxn ang="0">
                  <a:pos x="164" y="607"/>
                </a:cxn>
                <a:cxn ang="0">
                  <a:pos x="184" y="635"/>
                </a:cxn>
                <a:cxn ang="0">
                  <a:pos x="209" y="659"/>
                </a:cxn>
                <a:cxn ang="0">
                  <a:pos x="238" y="678"/>
                </a:cxn>
                <a:cxn ang="0">
                  <a:pos x="272" y="693"/>
                </a:cxn>
                <a:cxn ang="0">
                  <a:pos x="311" y="703"/>
                </a:cxn>
                <a:cxn ang="0">
                  <a:pos x="355" y="708"/>
                </a:cxn>
                <a:cxn ang="0">
                  <a:pos x="418" y="709"/>
                </a:cxn>
                <a:cxn ang="0">
                  <a:pos x="478" y="702"/>
                </a:cxn>
                <a:cxn ang="0">
                  <a:pos x="492" y="782"/>
                </a:cxn>
                <a:cxn ang="0">
                  <a:pos x="435" y="797"/>
                </a:cxn>
                <a:cxn ang="0">
                  <a:pos x="377" y="805"/>
                </a:cxn>
                <a:cxn ang="0">
                  <a:pos x="318" y="806"/>
                </a:cxn>
                <a:cxn ang="0">
                  <a:pos x="262" y="802"/>
                </a:cxn>
                <a:cxn ang="0">
                  <a:pos x="210" y="791"/>
                </a:cxn>
                <a:cxn ang="0">
                  <a:pos x="164" y="776"/>
                </a:cxn>
                <a:cxn ang="0">
                  <a:pos x="123" y="754"/>
                </a:cxn>
                <a:cxn ang="0">
                  <a:pos x="87" y="727"/>
                </a:cxn>
                <a:cxn ang="0">
                  <a:pos x="58" y="693"/>
                </a:cxn>
                <a:cxn ang="0">
                  <a:pos x="34" y="655"/>
                </a:cxn>
                <a:cxn ang="0">
                  <a:pos x="17" y="610"/>
                </a:cxn>
                <a:cxn ang="0">
                  <a:pos x="5" y="560"/>
                </a:cxn>
                <a:cxn ang="0">
                  <a:pos x="0" y="504"/>
                </a:cxn>
                <a:cxn ang="0">
                  <a:pos x="1" y="440"/>
                </a:cxn>
                <a:cxn ang="0">
                  <a:pos x="9" y="374"/>
                </a:cxn>
                <a:cxn ang="0">
                  <a:pos x="24" y="309"/>
                </a:cxn>
                <a:cxn ang="0">
                  <a:pos x="45" y="248"/>
                </a:cxn>
                <a:cxn ang="0">
                  <a:pos x="74" y="190"/>
                </a:cxn>
                <a:cxn ang="0">
                  <a:pos x="110" y="137"/>
                </a:cxn>
                <a:cxn ang="0">
                  <a:pos x="152" y="91"/>
                </a:cxn>
                <a:cxn ang="0">
                  <a:pos x="200" y="53"/>
                </a:cxn>
                <a:cxn ang="0">
                  <a:pos x="256" y="24"/>
                </a:cxn>
                <a:cxn ang="0">
                  <a:pos x="318" y="6"/>
                </a:cxn>
                <a:cxn ang="0">
                  <a:pos x="388" y="0"/>
                </a:cxn>
                <a:cxn ang="0">
                  <a:pos x="454" y="6"/>
                </a:cxn>
                <a:cxn ang="0">
                  <a:pos x="514" y="25"/>
                </a:cxn>
                <a:cxn ang="0">
                  <a:pos x="557" y="51"/>
                </a:cxn>
                <a:cxn ang="0">
                  <a:pos x="579" y="72"/>
                </a:cxn>
                <a:cxn ang="0">
                  <a:pos x="596" y="96"/>
                </a:cxn>
                <a:cxn ang="0">
                  <a:pos x="609" y="124"/>
                </a:cxn>
                <a:cxn ang="0">
                  <a:pos x="618" y="156"/>
                </a:cxn>
                <a:cxn ang="0">
                  <a:pos x="621" y="194"/>
                </a:cxn>
                <a:cxn ang="0">
                  <a:pos x="619" y="229"/>
                </a:cxn>
                <a:cxn ang="0">
                  <a:pos x="613" y="250"/>
                </a:cxn>
              </a:cxnLst>
              <a:rect l="0" t="0" r="r" b="b"/>
              <a:pathLst>
                <a:path w="621" h="806">
                  <a:moveTo>
                    <a:pt x="613" y="250"/>
                  </a:moveTo>
                  <a:lnTo>
                    <a:pt x="484" y="250"/>
                  </a:lnTo>
                  <a:lnTo>
                    <a:pt x="484" y="238"/>
                  </a:lnTo>
                  <a:lnTo>
                    <a:pt x="484" y="226"/>
                  </a:lnTo>
                  <a:lnTo>
                    <a:pt x="484" y="214"/>
                  </a:lnTo>
                  <a:lnTo>
                    <a:pt x="484" y="202"/>
                  </a:lnTo>
                  <a:lnTo>
                    <a:pt x="484" y="190"/>
                  </a:lnTo>
                  <a:lnTo>
                    <a:pt x="482" y="178"/>
                  </a:lnTo>
                  <a:lnTo>
                    <a:pt x="480" y="168"/>
                  </a:lnTo>
                  <a:lnTo>
                    <a:pt x="477" y="156"/>
                  </a:lnTo>
                  <a:lnTo>
                    <a:pt x="473" y="146"/>
                  </a:lnTo>
                  <a:lnTo>
                    <a:pt x="468" y="137"/>
                  </a:lnTo>
                  <a:lnTo>
                    <a:pt x="462" y="128"/>
                  </a:lnTo>
                  <a:lnTo>
                    <a:pt x="455" y="120"/>
                  </a:lnTo>
                  <a:lnTo>
                    <a:pt x="447" y="113"/>
                  </a:lnTo>
                  <a:lnTo>
                    <a:pt x="439" y="107"/>
                  </a:lnTo>
                  <a:lnTo>
                    <a:pt x="430" y="101"/>
                  </a:lnTo>
                  <a:lnTo>
                    <a:pt x="420" y="97"/>
                  </a:lnTo>
                  <a:lnTo>
                    <a:pt x="409" y="93"/>
                  </a:lnTo>
                  <a:lnTo>
                    <a:pt x="397" y="90"/>
                  </a:lnTo>
                  <a:lnTo>
                    <a:pt x="385" y="89"/>
                  </a:lnTo>
                  <a:lnTo>
                    <a:pt x="372" y="88"/>
                  </a:lnTo>
                  <a:lnTo>
                    <a:pt x="354" y="89"/>
                  </a:lnTo>
                  <a:lnTo>
                    <a:pt x="339" y="91"/>
                  </a:lnTo>
                  <a:lnTo>
                    <a:pt x="324" y="94"/>
                  </a:lnTo>
                  <a:lnTo>
                    <a:pt x="309" y="98"/>
                  </a:lnTo>
                  <a:lnTo>
                    <a:pt x="296" y="103"/>
                  </a:lnTo>
                  <a:lnTo>
                    <a:pt x="283" y="109"/>
                  </a:lnTo>
                  <a:lnTo>
                    <a:pt x="270" y="116"/>
                  </a:lnTo>
                  <a:lnTo>
                    <a:pt x="258" y="124"/>
                  </a:lnTo>
                  <a:lnTo>
                    <a:pt x="247" y="133"/>
                  </a:lnTo>
                  <a:lnTo>
                    <a:pt x="236" y="143"/>
                  </a:lnTo>
                  <a:lnTo>
                    <a:pt x="226" y="153"/>
                  </a:lnTo>
                  <a:lnTo>
                    <a:pt x="217" y="166"/>
                  </a:lnTo>
                  <a:lnTo>
                    <a:pt x="207" y="177"/>
                  </a:lnTo>
                  <a:lnTo>
                    <a:pt x="199" y="190"/>
                  </a:lnTo>
                  <a:lnTo>
                    <a:pt x="191" y="203"/>
                  </a:lnTo>
                  <a:lnTo>
                    <a:pt x="184" y="216"/>
                  </a:lnTo>
                  <a:lnTo>
                    <a:pt x="177" y="230"/>
                  </a:lnTo>
                  <a:lnTo>
                    <a:pt x="170" y="244"/>
                  </a:lnTo>
                  <a:lnTo>
                    <a:pt x="164" y="258"/>
                  </a:lnTo>
                  <a:lnTo>
                    <a:pt x="159" y="273"/>
                  </a:lnTo>
                  <a:lnTo>
                    <a:pt x="150" y="303"/>
                  </a:lnTo>
                  <a:lnTo>
                    <a:pt x="142" y="333"/>
                  </a:lnTo>
                  <a:lnTo>
                    <a:pt x="137" y="364"/>
                  </a:lnTo>
                  <a:lnTo>
                    <a:pt x="133" y="394"/>
                  </a:lnTo>
                  <a:lnTo>
                    <a:pt x="130" y="423"/>
                  </a:lnTo>
                  <a:lnTo>
                    <a:pt x="130" y="452"/>
                  </a:lnTo>
                  <a:lnTo>
                    <a:pt x="130" y="468"/>
                  </a:lnTo>
                  <a:lnTo>
                    <a:pt x="130" y="483"/>
                  </a:lnTo>
                  <a:lnTo>
                    <a:pt x="132" y="497"/>
                  </a:lnTo>
                  <a:lnTo>
                    <a:pt x="133" y="511"/>
                  </a:lnTo>
                  <a:lnTo>
                    <a:pt x="135" y="525"/>
                  </a:lnTo>
                  <a:lnTo>
                    <a:pt x="138" y="538"/>
                  </a:lnTo>
                  <a:lnTo>
                    <a:pt x="141" y="551"/>
                  </a:lnTo>
                  <a:lnTo>
                    <a:pt x="145" y="563"/>
                  </a:lnTo>
                  <a:lnTo>
                    <a:pt x="149" y="575"/>
                  </a:lnTo>
                  <a:lnTo>
                    <a:pt x="153" y="586"/>
                  </a:lnTo>
                  <a:lnTo>
                    <a:pt x="159" y="597"/>
                  </a:lnTo>
                  <a:lnTo>
                    <a:pt x="164" y="607"/>
                  </a:lnTo>
                  <a:lnTo>
                    <a:pt x="170" y="617"/>
                  </a:lnTo>
                  <a:lnTo>
                    <a:pt x="177" y="627"/>
                  </a:lnTo>
                  <a:lnTo>
                    <a:pt x="184" y="635"/>
                  </a:lnTo>
                  <a:lnTo>
                    <a:pt x="192" y="644"/>
                  </a:lnTo>
                  <a:lnTo>
                    <a:pt x="200" y="652"/>
                  </a:lnTo>
                  <a:lnTo>
                    <a:pt x="209" y="659"/>
                  </a:lnTo>
                  <a:lnTo>
                    <a:pt x="218" y="666"/>
                  </a:lnTo>
                  <a:lnTo>
                    <a:pt x="228" y="672"/>
                  </a:lnTo>
                  <a:lnTo>
                    <a:pt x="238" y="678"/>
                  </a:lnTo>
                  <a:lnTo>
                    <a:pt x="249" y="683"/>
                  </a:lnTo>
                  <a:lnTo>
                    <a:pt x="260" y="688"/>
                  </a:lnTo>
                  <a:lnTo>
                    <a:pt x="272" y="693"/>
                  </a:lnTo>
                  <a:lnTo>
                    <a:pt x="284" y="697"/>
                  </a:lnTo>
                  <a:lnTo>
                    <a:pt x="297" y="700"/>
                  </a:lnTo>
                  <a:lnTo>
                    <a:pt x="311" y="703"/>
                  </a:lnTo>
                  <a:lnTo>
                    <a:pt x="325" y="705"/>
                  </a:lnTo>
                  <a:lnTo>
                    <a:pt x="339" y="707"/>
                  </a:lnTo>
                  <a:lnTo>
                    <a:pt x="355" y="708"/>
                  </a:lnTo>
                  <a:lnTo>
                    <a:pt x="370" y="709"/>
                  </a:lnTo>
                  <a:lnTo>
                    <a:pt x="388" y="709"/>
                  </a:lnTo>
                  <a:lnTo>
                    <a:pt x="418" y="709"/>
                  </a:lnTo>
                  <a:lnTo>
                    <a:pt x="448" y="707"/>
                  </a:lnTo>
                  <a:lnTo>
                    <a:pt x="463" y="705"/>
                  </a:lnTo>
                  <a:lnTo>
                    <a:pt x="478" y="702"/>
                  </a:lnTo>
                  <a:lnTo>
                    <a:pt x="493" y="698"/>
                  </a:lnTo>
                  <a:lnTo>
                    <a:pt x="508" y="693"/>
                  </a:lnTo>
                  <a:lnTo>
                    <a:pt x="492" y="782"/>
                  </a:lnTo>
                  <a:lnTo>
                    <a:pt x="474" y="788"/>
                  </a:lnTo>
                  <a:lnTo>
                    <a:pt x="455" y="793"/>
                  </a:lnTo>
                  <a:lnTo>
                    <a:pt x="435" y="797"/>
                  </a:lnTo>
                  <a:lnTo>
                    <a:pt x="416" y="800"/>
                  </a:lnTo>
                  <a:lnTo>
                    <a:pt x="396" y="803"/>
                  </a:lnTo>
                  <a:lnTo>
                    <a:pt x="377" y="805"/>
                  </a:lnTo>
                  <a:lnTo>
                    <a:pt x="357" y="806"/>
                  </a:lnTo>
                  <a:lnTo>
                    <a:pt x="338" y="806"/>
                  </a:lnTo>
                  <a:lnTo>
                    <a:pt x="318" y="806"/>
                  </a:lnTo>
                  <a:lnTo>
                    <a:pt x="299" y="805"/>
                  </a:lnTo>
                  <a:lnTo>
                    <a:pt x="280" y="804"/>
                  </a:lnTo>
                  <a:lnTo>
                    <a:pt x="262" y="802"/>
                  </a:lnTo>
                  <a:lnTo>
                    <a:pt x="244" y="799"/>
                  </a:lnTo>
                  <a:lnTo>
                    <a:pt x="227" y="795"/>
                  </a:lnTo>
                  <a:lnTo>
                    <a:pt x="210" y="791"/>
                  </a:lnTo>
                  <a:lnTo>
                    <a:pt x="194" y="787"/>
                  </a:lnTo>
                  <a:lnTo>
                    <a:pt x="179" y="782"/>
                  </a:lnTo>
                  <a:lnTo>
                    <a:pt x="164" y="776"/>
                  </a:lnTo>
                  <a:lnTo>
                    <a:pt x="150" y="769"/>
                  </a:lnTo>
                  <a:lnTo>
                    <a:pt x="136" y="762"/>
                  </a:lnTo>
                  <a:lnTo>
                    <a:pt x="123" y="754"/>
                  </a:lnTo>
                  <a:lnTo>
                    <a:pt x="111" y="746"/>
                  </a:lnTo>
                  <a:lnTo>
                    <a:pt x="99" y="737"/>
                  </a:lnTo>
                  <a:lnTo>
                    <a:pt x="87" y="727"/>
                  </a:lnTo>
                  <a:lnTo>
                    <a:pt x="77" y="716"/>
                  </a:lnTo>
                  <a:lnTo>
                    <a:pt x="67" y="705"/>
                  </a:lnTo>
                  <a:lnTo>
                    <a:pt x="58" y="693"/>
                  </a:lnTo>
                  <a:lnTo>
                    <a:pt x="49" y="681"/>
                  </a:lnTo>
                  <a:lnTo>
                    <a:pt x="42" y="668"/>
                  </a:lnTo>
                  <a:lnTo>
                    <a:pt x="34" y="655"/>
                  </a:lnTo>
                  <a:lnTo>
                    <a:pt x="28" y="641"/>
                  </a:lnTo>
                  <a:lnTo>
                    <a:pt x="22" y="626"/>
                  </a:lnTo>
                  <a:lnTo>
                    <a:pt x="17" y="610"/>
                  </a:lnTo>
                  <a:lnTo>
                    <a:pt x="12" y="594"/>
                  </a:lnTo>
                  <a:lnTo>
                    <a:pt x="9" y="578"/>
                  </a:lnTo>
                  <a:lnTo>
                    <a:pt x="5" y="560"/>
                  </a:lnTo>
                  <a:lnTo>
                    <a:pt x="3" y="542"/>
                  </a:lnTo>
                  <a:lnTo>
                    <a:pt x="1" y="523"/>
                  </a:lnTo>
                  <a:lnTo>
                    <a:pt x="0" y="504"/>
                  </a:lnTo>
                  <a:lnTo>
                    <a:pt x="0" y="484"/>
                  </a:lnTo>
                  <a:lnTo>
                    <a:pt x="0" y="462"/>
                  </a:lnTo>
                  <a:lnTo>
                    <a:pt x="1" y="440"/>
                  </a:lnTo>
                  <a:lnTo>
                    <a:pt x="3" y="417"/>
                  </a:lnTo>
                  <a:lnTo>
                    <a:pt x="6" y="395"/>
                  </a:lnTo>
                  <a:lnTo>
                    <a:pt x="9" y="374"/>
                  </a:lnTo>
                  <a:lnTo>
                    <a:pt x="13" y="352"/>
                  </a:lnTo>
                  <a:lnTo>
                    <a:pt x="18" y="331"/>
                  </a:lnTo>
                  <a:lnTo>
                    <a:pt x="24" y="309"/>
                  </a:lnTo>
                  <a:lnTo>
                    <a:pt x="30" y="289"/>
                  </a:lnTo>
                  <a:lnTo>
                    <a:pt x="38" y="268"/>
                  </a:lnTo>
                  <a:lnTo>
                    <a:pt x="45" y="248"/>
                  </a:lnTo>
                  <a:lnTo>
                    <a:pt x="54" y="228"/>
                  </a:lnTo>
                  <a:lnTo>
                    <a:pt x="64" y="209"/>
                  </a:lnTo>
                  <a:lnTo>
                    <a:pt x="74" y="190"/>
                  </a:lnTo>
                  <a:lnTo>
                    <a:pt x="85" y="172"/>
                  </a:lnTo>
                  <a:lnTo>
                    <a:pt x="97" y="154"/>
                  </a:lnTo>
                  <a:lnTo>
                    <a:pt x="110" y="137"/>
                  </a:lnTo>
                  <a:lnTo>
                    <a:pt x="123" y="121"/>
                  </a:lnTo>
                  <a:lnTo>
                    <a:pt x="137" y="105"/>
                  </a:lnTo>
                  <a:lnTo>
                    <a:pt x="152" y="91"/>
                  </a:lnTo>
                  <a:lnTo>
                    <a:pt x="167" y="77"/>
                  </a:lnTo>
                  <a:lnTo>
                    <a:pt x="183" y="65"/>
                  </a:lnTo>
                  <a:lnTo>
                    <a:pt x="200" y="53"/>
                  </a:lnTo>
                  <a:lnTo>
                    <a:pt x="218" y="42"/>
                  </a:lnTo>
                  <a:lnTo>
                    <a:pt x="236" y="33"/>
                  </a:lnTo>
                  <a:lnTo>
                    <a:pt x="256" y="24"/>
                  </a:lnTo>
                  <a:lnTo>
                    <a:pt x="275" y="17"/>
                  </a:lnTo>
                  <a:lnTo>
                    <a:pt x="296" y="11"/>
                  </a:lnTo>
                  <a:lnTo>
                    <a:pt x="318" y="6"/>
                  </a:lnTo>
                  <a:lnTo>
                    <a:pt x="340" y="3"/>
                  </a:lnTo>
                  <a:lnTo>
                    <a:pt x="363" y="1"/>
                  </a:lnTo>
                  <a:lnTo>
                    <a:pt x="388" y="0"/>
                  </a:lnTo>
                  <a:lnTo>
                    <a:pt x="410" y="1"/>
                  </a:lnTo>
                  <a:lnTo>
                    <a:pt x="432" y="3"/>
                  </a:lnTo>
                  <a:lnTo>
                    <a:pt x="454" y="6"/>
                  </a:lnTo>
                  <a:lnTo>
                    <a:pt x="475" y="11"/>
                  </a:lnTo>
                  <a:lnTo>
                    <a:pt x="495" y="17"/>
                  </a:lnTo>
                  <a:lnTo>
                    <a:pt x="514" y="25"/>
                  </a:lnTo>
                  <a:lnTo>
                    <a:pt x="532" y="34"/>
                  </a:lnTo>
                  <a:lnTo>
                    <a:pt x="549" y="45"/>
                  </a:lnTo>
                  <a:lnTo>
                    <a:pt x="557" y="51"/>
                  </a:lnTo>
                  <a:lnTo>
                    <a:pt x="565" y="58"/>
                  </a:lnTo>
                  <a:lnTo>
                    <a:pt x="572" y="64"/>
                  </a:lnTo>
                  <a:lnTo>
                    <a:pt x="579" y="72"/>
                  </a:lnTo>
                  <a:lnTo>
                    <a:pt x="585" y="79"/>
                  </a:lnTo>
                  <a:lnTo>
                    <a:pt x="591" y="87"/>
                  </a:lnTo>
                  <a:lnTo>
                    <a:pt x="596" y="96"/>
                  </a:lnTo>
                  <a:lnTo>
                    <a:pt x="601" y="105"/>
                  </a:lnTo>
                  <a:lnTo>
                    <a:pt x="606" y="114"/>
                  </a:lnTo>
                  <a:lnTo>
                    <a:pt x="609" y="124"/>
                  </a:lnTo>
                  <a:lnTo>
                    <a:pt x="613" y="135"/>
                  </a:lnTo>
                  <a:lnTo>
                    <a:pt x="616" y="145"/>
                  </a:lnTo>
                  <a:lnTo>
                    <a:pt x="618" y="156"/>
                  </a:lnTo>
                  <a:lnTo>
                    <a:pt x="619" y="169"/>
                  </a:lnTo>
                  <a:lnTo>
                    <a:pt x="620" y="181"/>
                  </a:lnTo>
                  <a:lnTo>
                    <a:pt x="621" y="194"/>
                  </a:lnTo>
                  <a:lnTo>
                    <a:pt x="621" y="207"/>
                  </a:lnTo>
                  <a:lnTo>
                    <a:pt x="620" y="222"/>
                  </a:lnTo>
                  <a:lnTo>
                    <a:pt x="619" y="229"/>
                  </a:lnTo>
                  <a:lnTo>
                    <a:pt x="617" y="237"/>
                  </a:lnTo>
                  <a:lnTo>
                    <a:pt x="615" y="244"/>
                  </a:lnTo>
                  <a:lnTo>
                    <a:pt x="613" y="250"/>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41" name="Freeform 28"/>
            <p:cNvSpPr>
              <a:spLocks noEditPoints="1"/>
            </p:cNvSpPr>
            <p:nvPr userDrawn="1">
              <p:custDataLst>
                <p:tags r:id="rId27"/>
              </p:custDataLst>
            </p:nvPr>
          </p:nvSpPr>
          <p:spPr bwMode="gray">
            <a:xfrm>
              <a:off x="2586038" y="3751263"/>
              <a:ext cx="130175" cy="173037"/>
            </a:xfrm>
            <a:custGeom>
              <a:avLst/>
              <a:gdLst/>
              <a:ahLst/>
              <a:cxnLst>
                <a:cxn ang="0">
                  <a:pos x="491" y="229"/>
                </a:cxn>
                <a:cxn ang="0">
                  <a:pos x="487" y="239"/>
                </a:cxn>
                <a:cxn ang="0">
                  <a:pos x="169" y="226"/>
                </a:cxn>
                <a:cxn ang="0">
                  <a:pos x="195" y="181"/>
                </a:cxn>
                <a:cxn ang="0">
                  <a:pos x="226" y="142"/>
                </a:cxn>
                <a:cxn ang="0">
                  <a:pos x="263" y="113"/>
                </a:cxn>
                <a:cxn ang="0">
                  <a:pos x="309" y="95"/>
                </a:cxn>
                <a:cxn ang="0">
                  <a:pos x="363" y="88"/>
                </a:cxn>
                <a:cxn ang="0">
                  <a:pos x="402" y="93"/>
                </a:cxn>
                <a:cxn ang="0">
                  <a:pos x="436" y="107"/>
                </a:cxn>
                <a:cxn ang="0">
                  <a:pos x="463" y="130"/>
                </a:cxn>
                <a:cxn ang="0">
                  <a:pos x="482" y="159"/>
                </a:cxn>
                <a:cxn ang="0">
                  <a:pos x="491" y="197"/>
                </a:cxn>
                <a:cxn ang="0">
                  <a:pos x="605" y="205"/>
                </a:cxn>
                <a:cxn ang="0">
                  <a:pos x="601" y="169"/>
                </a:cxn>
                <a:cxn ang="0">
                  <a:pos x="591" y="136"/>
                </a:cxn>
                <a:cxn ang="0">
                  <a:pos x="577" y="106"/>
                </a:cxn>
                <a:cxn ang="0">
                  <a:pos x="558" y="80"/>
                </a:cxn>
                <a:cxn ang="0">
                  <a:pos x="535" y="57"/>
                </a:cxn>
                <a:cxn ang="0">
                  <a:pos x="509" y="38"/>
                </a:cxn>
                <a:cxn ang="0">
                  <a:pos x="459" y="15"/>
                </a:cxn>
                <a:cxn ang="0">
                  <a:pos x="389" y="1"/>
                </a:cxn>
                <a:cxn ang="0">
                  <a:pos x="317" y="3"/>
                </a:cxn>
                <a:cxn ang="0">
                  <a:pos x="253" y="18"/>
                </a:cxn>
                <a:cxn ang="0">
                  <a:pos x="197" y="44"/>
                </a:cxn>
                <a:cxn ang="0">
                  <a:pos x="149" y="79"/>
                </a:cxn>
                <a:cxn ang="0">
                  <a:pos x="108" y="123"/>
                </a:cxn>
                <a:cxn ang="0">
                  <a:pos x="74" y="175"/>
                </a:cxn>
                <a:cxn ang="0">
                  <a:pos x="47" y="232"/>
                </a:cxn>
                <a:cxn ang="0">
                  <a:pos x="27" y="292"/>
                </a:cxn>
                <a:cxn ang="0">
                  <a:pos x="12" y="355"/>
                </a:cxn>
                <a:cxn ang="0">
                  <a:pos x="3" y="419"/>
                </a:cxn>
                <a:cxn ang="0">
                  <a:pos x="0" y="484"/>
                </a:cxn>
                <a:cxn ang="0">
                  <a:pos x="3" y="542"/>
                </a:cxn>
                <a:cxn ang="0">
                  <a:pos x="12" y="594"/>
                </a:cxn>
                <a:cxn ang="0">
                  <a:pos x="27" y="641"/>
                </a:cxn>
                <a:cxn ang="0">
                  <a:pos x="47" y="681"/>
                </a:cxn>
                <a:cxn ang="0">
                  <a:pos x="73" y="716"/>
                </a:cxn>
                <a:cxn ang="0">
                  <a:pos x="105" y="746"/>
                </a:cxn>
                <a:cxn ang="0">
                  <a:pos x="142" y="769"/>
                </a:cxn>
                <a:cxn ang="0">
                  <a:pos x="184" y="787"/>
                </a:cxn>
                <a:cxn ang="0">
                  <a:pos x="231" y="799"/>
                </a:cxn>
                <a:cxn ang="0">
                  <a:pos x="284" y="805"/>
                </a:cxn>
                <a:cxn ang="0">
                  <a:pos x="344" y="806"/>
                </a:cxn>
                <a:cxn ang="0">
                  <a:pos x="407" y="800"/>
                </a:cxn>
                <a:cxn ang="0">
                  <a:pos x="465" y="788"/>
                </a:cxn>
                <a:cxn ang="0">
                  <a:pos x="477" y="699"/>
                </a:cxn>
                <a:cxn ang="0">
                  <a:pos x="411" y="708"/>
                </a:cxn>
                <a:cxn ang="0">
                  <a:pos x="363" y="709"/>
                </a:cxn>
                <a:cxn ang="0">
                  <a:pos x="318" y="705"/>
                </a:cxn>
                <a:cxn ang="0">
                  <a:pos x="277" y="697"/>
                </a:cxn>
                <a:cxn ang="0">
                  <a:pos x="242" y="685"/>
                </a:cxn>
                <a:cxn ang="0">
                  <a:pos x="213" y="668"/>
                </a:cxn>
                <a:cxn ang="0">
                  <a:pos x="188" y="647"/>
                </a:cxn>
                <a:cxn ang="0">
                  <a:pos x="167" y="621"/>
                </a:cxn>
                <a:cxn ang="0">
                  <a:pos x="151" y="590"/>
                </a:cxn>
                <a:cxn ang="0">
                  <a:pos x="140" y="554"/>
                </a:cxn>
                <a:cxn ang="0">
                  <a:pos x="133" y="514"/>
                </a:cxn>
                <a:cxn ang="0">
                  <a:pos x="130" y="436"/>
                </a:cxn>
                <a:cxn ang="0">
                  <a:pos x="134" y="391"/>
                </a:cxn>
                <a:cxn ang="0">
                  <a:pos x="589" y="330"/>
                </a:cxn>
                <a:cxn ang="0">
                  <a:pos x="602" y="263"/>
                </a:cxn>
                <a:cxn ang="0">
                  <a:pos x="605" y="218"/>
                </a:cxn>
              </a:cxnLst>
              <a:rect l="0" t="0" r="r" b="b"/>
              <a:pathLst>
                <a:path w="605" h="806">
                  <a:moveTo>
                    <a:pt x="492" y="210"/>
                  </a:moveTo>
                  <a:lnTo>
                    <a:pt x="492" y="221"/>
                  </a:lnTo>
                  <a:lnTo>
                    <a:pt x="491" y="229"/>
                  </a:lnTo>
                  <a:lnTo>
                    <a:pt x="490" y="233"/>
                  </a:lnTo>
                  <a:lnTo>
                    <a:pt x="489" y="236"/>
                  </a:lnTo>
                  <a:lnTo>
                    <a:pt x="487" y="239"/>
                  </a:lnTo>
                  <a:lnTo>
                    <a:pt x="484" y="242"/>
                  </a:lnTo>
                  <a:lnTo>
                    <a:pt x="162" y="242"/>
                  </a:lnTo>
                  <a:lnTo>
                    <a:pt x="169" y="226"/>
                  </a:lnTo>
                  <a:lnTo>
                    <a:pt x="177" y="210"/>
                  </a:lnTo>
                  <a:lnTo>
                    <a:pt x="186" y="195"/>
                  </a:lnTo>
                  <a:lnTo>
                    <a:pt x="195" y="181"/>
                  </a:lnTo>
                  <a:lnTo>
                    <a:pt x="205" y="167"/>
                  </a:lnTo>
                  <a:lnTo>
                    <a:pt x="215" y="154"/>
                  </a:lnTo>
                  <a:lnTo>
                    <a:pt x="226" y="142"/>
                  </a:lnTo>
                  <a:lnTo>
                    <a:pt x="238" y="131"/>
                  </a:lnTo>
                  <a:lnTo>
                    <a:pt x="250" y="122"/>
                  </a:lnTo>
                  <a:lnTo>
                    <a:pt x="263" y="113"/>
                  </a:lnTo>
                  <a:lnTo>
                    <a:pt x="278" y="106"/>
                  </a:lnTo>
                  <a:lnTo>
                    <a:pt x="294" y="100"/>
                  </a:lnTo>
                  <a:lnTo>
                    <a:pt x="309" y="95"/>
                  </a:lnTo>
                  <a:lnTo>
                    <a:pt x="326" y="91"/>
                  </a:lnTo>
                  <a:lnTo>
                    <a:pt x="344" y="89"/>
                  </a:lnTo>
                  <a:lnTo>
                    <a:pt x="363" y="88"/>
                  </a:lnTo>
                  <a:lnTo>
                    <a:pt x="377" y="89"/>
                  </a:lnTo>
                  <a:lnTo>
                    <a:pt x="390" y="90"/>
                  </a:lnTo>
                  <a:lnTo>
                    <a:pt x="402" y="93"/>
                  </a:lnTo>
                  <a:lnTo>
                    <a:pt x="414" y="97"/>
                  </a:lnTo>
                  <a:lnTo>
                    <a:pt x="425" y="102"/>
                  </a:lnTo>
                  <a:lnTo>
                    <a:pt x="436" y="107"/>
                  </a:lnTo>
                  <a:lnTo>
                    <a:pt x="446" y="114"/>
                  </a:lnTo>
                  <a:lnTo>
                    <a:pt x="455" y="121"/>
                  </a:lnTo>
                  <a:lnTo>
                    <a:pt x="463" y="130"/>
                  </a:lnTo>
                  <a:lnTo>
                    <a:pt x="470" y="139"/>
                  </a:lnTo>
                  <a:lnTo>
                    <a:pt x="477" y="149"/>
                  </a:lnTo>
                  <a:lnTo>
                    <a:pt x="482" y="159"/>
                  </a:lnTo>
                  <a:lnTo>
                    <a:pt x="486" y="172"/>
                  </a:lnTo>
                  <a:lnTo>
                    <a:pt x="489" y="184"/>
                  </a:lnTo>
                  <a:lnTo>
                    <a:pt x="491" y="197"/>
                  </a:lnTo>
                  <a:lnTo>
                    <a:pt x="492" y="210"/>
                  </a:lnTo>
                  <a:close/>
                  <a:moveTo>
                    <a:pt x="605" y="218"/>
                  </a:moveTo>
                  <a:lnTo>
                    <a:pt x="605" y="205"/>
                  </a:lnTo>
                  <a:lnTo>
                    <a:pt x="604" y="193"/>
                  </a:lnTo>
                  <a:lnTo>
                    <a:pt x="603" y="181"/>
                  </a:lnTo>
                  <a:lnTo>
                    <a:pt x="601" y="169"/>
                  </a:lnTo>
                  <a:lnTo>
                    <a:pt x="598" y="157"/>
                  </a:lnTo>
                  <a:lnTo>
                    <a:pt x="595" y="146"/>
                  </a:lnTo>
                  <a:lnTo>
                    <a:pt x="591" y="136"/>
                  </a:lnTo>
                  <a:lnTo>
                    <a:pt x="587" y="125"/>
                  </a:lnTo>
                  <a:lnTo>
                    <a:pt x="582" y="116"/>
                  </a:lnTo>
                  <a:lnTo>
                    <a:pt x="577" y="106"/>
                  </a:lnTo>
                  <a:lnTo>
                    <a:pt x="571" y="97"/>
                  </a:lnTo>
                  <a:lnTo>
                    <a:pt x="565" y="88"/>
                  </a:lnTo>
                  <a:lnTo>
                    <a:pt x="558" y="80"/>
                  </a:lnTo>
                  <a:lnTo>
                    <a:pt x="551" y="72"/>
                  </a:lnTo>
                  <a:lnTo>
                    <a:pt x="543" y="64"/>
                  </a:lnTo>
                  <a:lnTo>
                    <a:pt x="535" y="57"/>
                  </a:lnTo>
                  <a:lnTo>
                    <a:pt x="527" y="50"/>
                  </a:lnTo>
                  <a:lnTo>
                    <a:pt x="518" y="44"/>
                  </a:lnTo>
                  <a:lnTo>
                    <a:pt x="509" y="38"/>
                  </a:lnTo>
                  <a:lnTo>
                    <a:pt x="500" y="33"/>
                  </a:lnTo>
                  <a:lnTo>
                    <a:pt x="480" y="23"/>
                  </a:lnTo>
                  <a:lnTo>
                    <a:pt x="459" y="15"/>
                  </a:lnTo>
                  <a:lnTo>
                    <a:pt x="436" y="8"/>
                  </a:lnTo>
                  <a:lnTo>
                    <a:pt x="413" y="4"/>
                  </a:lnTo>
                  <a:lnTo>
                    <a:pt x="389" y="1"/>
                  </a:lnTo>
                  <a:lnTo>
                    <a:pt x="363" y="0"/>
                  </a:lnTo>
                  <a:lnTo>
                    <a:pt x="340" y="1"/>
                  </a:lnTo>
                  <a:lnTo>
                    <a:pt x="317" y="3"/>
                  </a:lnTo>
                  <a:lnTo>
                    <a:pt x="295" y="6"/>
                  </a:lnTo>
                  <a:lnTo>
                    <a:pt x="273" y="11"/>
                  </a:lnTo>
                  <a:lnTo>
                    <a:pt x="253" y="18"/>
                  </a:lnTo>
                  <a:lnTo>
                    <a:pt x="233" y="25"/>
                  </a:lnTo>
                  <a:lnTo>
                    <a:pt x="215" y="34"/>
                  </a:lnTo>
                  <a:lnTo>
                    <a:pt x="197" y="44"/>
                  </a:lnTo>
                  <a:lnTo>
                    <a:pt x="181" y="55"/>
                  </a:lnTo>
                  <a:lnTo>
                    <a:pt x="165" y="66"/>
                  </a:lnTo>
                  <a:lnTo>
                    <a:pt x="149" y="79"/>
                  </a:lnTo>
                  <a:lnTo>
                    <a:pt x="135" y="93"/>
                  </a:lnTo>
                  <a:lnTo>
                    <a:pt x="121" y="108"/>
                  </a:lnTo>
                  <a:lnTo>
                    <a:pt x="108" y="123"/>
                  </a:lnTo>
                  <a:lnTo>
                    <a:pt x="96" y="140"/>
                  </a:lnTo>
                  <a:lnTo>
                    <a:pt x="85" y="157"/>
                  </a:lnTo>
                  <a:lnTo>
                    <a:pt x="74" y="175"/>
                  </a:lnTo>
                  <a:lnTo>
                    <a:pt x="65" y="193"/>
                  </a:lnTo>
                  <a:lnTo>
                    <a:pt x="56" y="212"/>
                  </a:lnTo>
                  <a:lnTo>
                    <a:pt x="47" y="232"/>
                  </a:lnTo>
                  <a:lnTo>
                    <a:pt x="40" y="251"/>
                  </a:lnTo>
                  <a:lnTo>
                    <a:pt x="33" y="272"/>
                  </a:lnTo>
                  <a:lnTo>
                    <a:pt x="27" y="292"/>
                  </a:lnTo>
                  <a:lnTo>
                    <a:pt x="21" y="313"/>
                  </a:lnTo>
                  <a:lnTo>
                    <a:pt x="16" y="334"/>
                  </a:lnTo>
                  <a:lnTo>
                    <a:pt x="12" y="355"/>
                  </a:lnTo>
                  <a:lnTo>
                    <a:pt x="8" y="376"/>
                  </a:lnTo>
                  <a:lnTo>
                    <a:pt x="5" y="398"/>
                  </a:lnTo>
                  <a:lnTo>
                    <a:pt x="3" y="419"/>
                  </a:lnTo>
                  <a:lnTo>
                    <a:pt x="1" y="442"/>
                  </a:lnTo>
                  <a:lnTo>
                    <a:pt x="0" y="463"/>
                  </a:lnTo>
                  <a:lnTo>
                    <a:pt x="0" y="484"/>
                  </a:lnTo>
                  <a:lnTo>
                    <a:pt x="0" y="504"/>
                  </a:lnTo>
                  <a:lnTo>
                    <a:pt x="1" y="523"/>
                  </a:lnTo>
                  <a:lnTo>
                    <a:pt x="3" y="542"/>
                  </a:lnTo>
                  <a:lnTo>
                    <a:pt x="5" y="560"/>
                  </a:lnTo>
                  <a:lnTo>
                    <a:pt x="8" y="578"/>
                  </a:lnTo>
                  <a:lnTo>
                    <a:pt x="12" y="594"/>
                  </a:lnTo>
                  <a:lnTo>
                    <a:pt x="17" y="610"/>
                  </a:lnTo>
                  <a:lnTo>
                    <a:pt x="22" y="626"/>
                  </a:lnTo>
                  <a:lnTo>
                    <a:pt x="27" y="641"/>
                  </a:lnTo>
                  <a:lnTo>
                    <a:pt x="33" y="655"/>
                  </a:lnTo>
                  <a:lnTo>
                    <a:pt x="40" y="668"/>
                  </a:lnTo>
                  <a:lnTo>
                    <a:pt x="47" y="681"/>
                  </a:lnTo>
                  <a:lnTo>
                    <a:pt x="55" y="693"/>
                  </a:lnTo>
                  <a:lnTo>
                    <a:pt x="64" y="705"/>
                  </a:lnTo>
                  <a:lnTo>
                    <a:pt x="73" y="716"/>
                  </a:lnTo>
                  <a:lnTo>
                    <a:pt x="83" y="727"/>
                  </a:lnTo>
                  <a:lnTo>
                    <a:pt x="94" y="737"/>
                  </a:lnTo>
                  <a:lnTo>
                    <a:pt x="105" y="746"/>
                  </a:lnTo>
                  <a:lnTo>
                    <a:pt x="116" y="754"/>
                  </a:lnTo>
                  <a:lnTo>
                    <a:pt x="129" y="762"/>
                  </a:lnTo>
                  <a:lnTo>
                    <a:pt x="142" y="769"/>
                  </a:lnTo>
                  <a:lnTo>
                    <a:pt x="155" y="776"/>
                  </a:lnTo>
                  <a:lnTo>
                    <a:pt x="169" y="782"/>
                  </a:lnTo>
                  <a:lnTo>
                    <a:pt x="184" y="787"/>
                  </a:lnTo>
                  <a:lnTo>
                    <a:pt x="199" y="791"/>
                  </a:lnTo>
                  <a:lnTo>
                    <a:pt x="215" y="795"/>
                  </a:lnTo>
                  <a:lnTo>
                    <a:pt x="231" y="799"/>
                  </a:lnTo>
                  <a:lnTo>
                    <a:pt x="248" y="802"/>
                  </a:lnTo>
                  <a:lnTo>
                    <a:pt x="266" y="804"/>
                  </a:lnTo>
                  <a:lnTo>
                    <a:pt x="284" y="805"/>
                  </a:lnTo>
                  <a:lnTo>
                    <a:pt x="304" y="806"/>
                  </a:lnTo>
                  <a:lnTo>
                    <a:pt x="323" y="806"/>
                  </a:lnTo>
                  <a:lnTo>
                    <a:pt x="344" y="806"/>
                  </a:lnTo>
                  <a:lnTo>
                    <a:pt x="365" y="805"/>
                  </a:lnTo>
                  <a:lnTo>
                    <a:pt x="386" y="803"/>
                  </a:lnTo>
                  <a:lnTo>
                    <a:pt x="407" y="800"/>
                  </a:lnTo>
                  <a:lnTo>
                    <a:pt x="427" y="797"/>
                  </a:lnTo>
                  <a:lnTo>
                    <a:pt x="446" y="793"/>
                  </a:lnTo>
                  <a:lnTo>
                    <a:pt x="465" y="788"/>
                  </a:lnTo>
                  <a:lnTo>
                    <a:pt x="484" y="782"/>
                  </a:lnTo>
                  <a:lnTo>
                    <a:pt x="508" y="693"/>
                  </a:lnTo>
                  <a:lnTo>
                    <a:pt x="477" y="699"/>
                  </a:lnTo>
                  <a:lnTo>
                    <a:pt x="444" y="704"/>
                  </a:lnTo>
                  <a:lnTo>
                    <a:pt x="427" y="706"/>
                  </a:lnTo>
                  <a:lnTo>
                    <a:pt x="411" y="708"/>
                  </a:lnTo>
                  <a:lnTo>
                    <a:pt x="395" y="709"/>
                  </a:lnTo>
                  <a:lnTo>
                    <a:pt x="379" y="709"/>
                  </a:lnTo>
                  <a:lnTo>
                    <a:pt x="363" y="709"/>
                  </a:lnTo>
                  <a:lnTo>
                    <a:pt x="347" y="708"/>
                  </a:lnTo>
                  <a:lnTo>
                    <a:pt x="332" y="707"/>
                  </a:lnTo>
                  <a:lnTo>
                    <a:pt x="318" y="705"/>
                  </a:lnTo>
                  <a:lnTo>
                    <a:pt x="304" y="703"/>
                  </a:lnTo>
                  <a:lnTo>
                    <a:pt x="291" y="701"/>
                  </a:lnTo>
                  <a:lnTo>
                    <a:pt x="277" y="697"/>
                  </a:lnTo>
                  <a:lnTo>
                    <a:pt x="265" y="694"/>
                  </a:lnTo>
                  <a:lnTo>
                    <a:pt x="253" y="690"/>
                  </a:lnTo>
                  <a:lnTo>
                    <a:pt x="242" y="685"/>
                  </a:lnTo>
                  <a:lnTo>
                    <a:pt x="232" y="680"/>
                  </a:lnTo>
                  <a:lnTo>
                    <a:pt x="222" y="674"/>
                  </a:lnTo>
                  <a:lnTo>
                    <a:pt x="213" y="668"/>
                  </a:lnTo>
                  <a:lnTo>
                    <a:pt x="204" y="662"/>
                  </a:lnTo>
                  <a:lnTo>
                    <a:pt x="195" y="654"/>
                  </a:lnTo>
                  <a:lnTo>
                    <a:pt x="188" y="647"/>
                  </a:lnTo>
                  <a:lnTo>
                    <a:pt x="180" y="639"/>
                  </a:lnTo>
                  <a:lnTo>
                    <a:pt x="174" y="630"/>
                  </a:lnTo>
                  <a:lnTo>
                    <a:pt x="167" y="621"/>
                  </a:lnTo>
                  <a:lnTo>
                    <a:pt x="162" y="611"/>
                  </a:lnTo>
                  <a:lnTo>
                    <a:pt x="156" y="601"/>
                  </a:lnTo>
                  <a:lnTo>
                    <a:pt x="151" y="590"/>
                  </a:lnTo>
                  <a:lnTo>
                    <a:pt x="147" y="579"/>
                  </a:lnTo>
                  <a:lnTo>
                    <a:pt x="143" y="567"/>
                  </a:lnTo>
                  <a:lnTo>
                    <a:pt x="140" y="554"/>
                  </a:lnTo>
                  <a:lnTo>
                    <a:pt x="137" y="541"/>
                  </a:lnTo>
                  <a:lnTo>
                    <a:pt x="135" y="528"/>
                  </a:lnTo>
                  <a:lnTo>
                    <a:pt x="133" y="514"/>
                  </a:lnTo>
                  <a:lnTo>
                    <a:pt x="130" y="484"/>
                  </a:lnTo>
                  <a:lnTo>
                    <a:pt x="129" y="452"/>
                  </a:lnTo>
                  <a:lnTo>
                    <a:pt x="130" y="436"/>
                  </a:lnTo>
                  <a:lnTo>
                    <a:pt x="131" y="421"/>
                  </a:lnTo>
                  <a:lnTo>
                    <a:pt x="132" y="406"/>
                  </a:lnTo>
                  <a:lnTo>
                    <a:pt x="134" y="391"/>
                  </a:lnTo>
                  <a:lnTo>
                    <a:pt x="139" y="361"/>
                  </a:lnTo>
                  <a:lnTo>
                    <a:pt x="145" y="330"/>
                  </a:lnTo>
                  <a:lnTo>
                    <a:pt x="589" y="330"/>
                  </a:lnTo>
                  <a:lnTo>
                    <a:pt x="595" y="305"/>
                  </a:lnTo>
                  <a:lnTo>
                    <a:pt x="600" y="277"/>
                  </a:lnTo>
                  <a:lnTo>
                    <a:pt x="602" y="263"/>
                  </a:lnTo>
                  <a:lnTo>
                    <a:pt x="604" y="248"/>
                  </a:lnTo>
                  <a:lnTo>
                    <a:pt x="605" y="233"/>
                  </a:lnTo>
                  <a:lnTo>
                    <a:pt x="605" y="218"/>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42" name="Freeform 29"/>
            <p:cNvSpPr>
              <a:spLocks/>
            </p:cNvSpPr>
            <p:nvPr userDrawn="1">
              <p:custDataLst>
                <p:tags r:id="rId28"/>
              </p:custDataLst>
            </p:nvPr>
          </p:nvSpPr>
          <p:spPr bwMode="gray">
            <a:xfrm>
              <a:off x="2716213" y="3887788"/>
              <a:ext cx="41275" cy="33337"/>
            </a:xfrm>
            <a:custGeom>
              <a:avLst/>
              <a:gdLst/>
              <a:ahLst/>
              <a:cxnLst>
                <a:cxn ang="0">
                  <a:pos x="161" y="161"/>
                </a:cxn>
                <a:cxn ang="0">
                  <a:pos x="0" y="161"/>
                </a:cxn>
                <a:cxn ang="0">
                  <a:pos x="33" y="0"/>
                </a:cxn>
                <a:cxn ang="0">
                  <a:pos x="193" y="0"/>
                </a:cxn>
                <a:cxn ang="0">
                  <a:pos x="161" y="161"/>
                </a:cxn>
              </a:cxnLst>
              <a:rect l="0" t="0" r="r" b="b"/>
              <a:pathLst>
                <a:path w="193" h="161">
                  <a:moveTo>
                    <a:pt x="161" y="161"/>
                  </a:moveTo>
                  <a:lnTo>
                    <a:pt x="0" y="161"/>
                  </a:lnTo>
                  <a:lnTo>
                    <a:pt x="33" y="0"/>
                  </a:lnTo>
                  <a:lnTo>
                    <a:pt x="193" y="0"/>
                  </a:lnTo>
                  <a:lnTo>
                    <a:pt x="161" y="161"/>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43" name="Freeform 30"/>
            <p:cNvSpPr>
              <a:spLocks noEditPoints="1"/>
            </p:cNvSpPr>
            <p:nvPr userDrawn="1">
              <p:custDataLst>
                <p:tags r:id="rId29"/>
              </p:custDataLst>
            </p:nvPr>
          </p:nvSpPr>
          <p:spPr bwMode="gray">
            <a:xfrm>
              <a:off x="2819400" y="3679825"/>
              <a:ext cx="180975" cy="241300"/>
            </a:xfrm>
            <a:custGeom>
              <a:avLst/>
              <a:gdLst/>
              <a:ahLst/>
              <a:cxnLst>
                <a:cxn ang="0">
                  <a:pos x="698" y="475"/>
                </a:cxn>
                <a:cxn ang="0">
                  <a:pos x="688" y="557"/>
                </a:cxn>
                <a:cxn ang="0">
                  <a:pos x="673" y="639"/>
                </a:cxn>
                <a:cxn ang="0">
                  <a:pos x="651" y="718"/>
                </a:cxn>
                <a:cxn ang="0">
                  <a:pos x="620" y="794"/>
                </a:cxn>
                <a:cxn ang="0">
                  <a:pos x="580" y="862"/>
                </a:cxn>
                <a:cxn ang="0">
                  <a:pos x="532" y="920"/>
                </a:cxn>
                <a:cxn ang="0">
                  <a:pos x="473" y="967"/>
                </a:cxn>
                <a:cxn ang="0">
                  <a:pos x="403" y="999"/>
                </a:cxn>
                <a:cxn ang="0">
                  <a:pos x="321" y="1015"/>
                </a:cxn>
                <a:cxn ang="0">
                  <a:pos x="323" y="105"/>
                </a:cxn>
                <a:cxn ang="0">
                  <a:pos x="479" y="108"/>
                </a:cxn>
                <a:cxn ang="0">
                  <a:pos x="524" y="115"/>
                </a:cxn>
                <a:cxn ang="0">
                  <a:pos x="564" y="126"/>
                </a:cxn>
                <a:cxn ang="0">
                  <a:pos x="600" y="142"/>
                </a:cxn>
                <a:cxn ang="0">
                  <a:pos x="629" y="162"/>
                </a:cxn>
                <a:cxn ang="0">
                  <a:pos x="654" y="188"/>
                </a:cxn>
                <a:cxn ang="0">
                  <a:pos x="674" y="221"/>
                </a:cxn>
                <a:cxn ang="0">
                  <a:pos x="688" y="258"/>
                </a:cxn>
                <a:cxn ang="0">
                  <a:pos x="697" y="302"/>
                </a:cxn>
                <a:cxn ang="0">
                  <a:pos x="702" y="353"/>
                </a:cxn>
                <a:cxn ang="0">
                  <a:pos x="838" y="348"/>
                </a:cxn>
                <a:cxn ang="0">
                  <a:pos x="833" y="284"/>
                </a:cxn>
                <a:cxn ang="0">
                  <a:pos x="821" y="226"/>
                </a:cxn>
                <a:cxn ang="0">
                  <a:pos x="803" y="174"/>
                </a:cxn>
                <a:cxn ang="0">
                  <a:pos x="778" y="130"/>
                </a:cxn>
                <a:cxn ang="0">
                  <a:pos x="747" y="92"/>
                </a:cxn>
                <a:cxn ang="0">
                  <a:pos x="709" y="61"/>
                </a:cxn>
                <a:cxn ang="0">
                  <a:pos x="665" y="36"/>
                </a:cxn>
                <a:cxn ang="0">
                  <a:pos x="614" y="18"/>
                </a:cxn>
                <a:cxn ang="0">
                  <a:pos x="555" y="6"/>
                </a:cxn>
                <a:cxn ang="0">
                  <a:pos x="491" y="1"/>
                </a:cxn>
                <a:cxn ang="0">
                  <a:pos x="0" y="1121"/>
                </a:cxn>
                <a:cxn ang="0">
                  <a:pos x="345" y="1117"/>
                </a:cxn>
                <a:cxn ang="0">
                  <a:pos x="449" y="1095"/>
                </a:cxn>
                <a:cxn ang="0">
                  <a:pos x="539" y="1057"/>
                </a:cxn>
                <a:cxn ang="0">
                  <a:pos x="616" y="1002"/>
                </a:cxn>
                <a:cxn ang="0">
                  <a:pos x="680" y="936"/>
                </a:cxn>
                <a:cxn ang="0">
                  <a:pos x="732" y="859"/>
                </a:cxn>
                <a:cxn ang="0">
                  <a:pos x="772" y="772"/>
                </a:cxn>
                <a:cxn ang="0">
                  <a:pos x="802" y="677"/>
                </a:cxn>
                <a:cxn ang="0">
                  <a:pos x="823" y="578"/>
                </a:cxn>
                <a:cxn ang="0">
                  <a:pos x="835" y="475"/>
                </a:cxn>
                <a:cxn ang="0">
                  <a:pos x="838" y="371"/>
                </a:cxn>
              </a:cxnLst>
              <a:rect l="0" t="0" r="r" b="b"/>
              <a:pathLst>
                <a:path w="838" h="1121">
                  <a:moveTo>
                    <a:pt x="702" y="371"/>
                  </a:moveTo>
                  <a:lnTo>
                    <a:pt x="701" y="422"/>
                  </a:lnTo>
                  <a:lnTo>
                    <a:pt x="698" y="475"/>
                  </a:lnTo>
                  <a:lnTo>
                    <a:pt x="695" y="503"/>
                  </a:lnTo>
                  <a:lnTo>
                    <a:pt x="692" y="530"/>
                  </a:lnTo>
                  <a:lnTo>
                    <a:pt x="688" y="557"/>
                  </a:lnTo>
                  <a:lnTo>
                    <a:pt x="684" y="584"/>
                  </a:lnTo>
                  <a:lnTo>
                    <a:pt x="679" y="612"/>
                  </a:lnTo>
                  <a:lnTo>
                    <a:pt x="673" y="639"/>
                  </a:lnTo>
                  <a:lnTo>
                    <a:pt x="666" y="666"/>
                  </a:lnTo>
                  <a:lnTo>
                    <a:pt x="659" y="692"/>
                  </a:lnTo>
                  <a:lnTo>
                    <a:pt x="651" y="718"/>
                  </a:lnTo>
                  <a:lnTo>
                    <a:pt x="641" y="744"/>
                  </a:lnTo>
                  <a:lnTo>
                    <a:pt x="631" y="769"/>
                  </a:lnTo>
                  <a:lnTo>
                    <a:pt x="620" y="794"/>
                  </a:lnTo>
                  <a:lnTo>
                    <a:pt x="608" y="818"/>
                  </a:lnTo>
                  <a:lnTo>
                    <a:pt x="595" y="840"/>
                  </a:lnTo>
                  <a:lnTo>
                    <a:pt x="580" y="862"/>
                  </a:lnTo>
                  <a:lnTo>
                    <a:pt x="565" y="882"/>
                  </a:lnTo>
                  <a:lnTo>
                    <a:pt x="549" y="902"/>
                  </a:lnTo>
                  <a:lnTo>
                    <a:pt x="532" y="920"/>
                  </a:lnTo>
                  <a:lnTo>
                    <a:pt x="514" y="937"/>
                  </a:lnTo>
                  <a:lnTo>
                    <a:pt x="494" y="953"/>
                  </a:lnTo>
                  <a:lnTo>
                    <a:pt x="473" y="967"/>
                  </a:lnTo>
                  <a:lnTo>
                    <a:pt x="451" y="979"/>
                  </a:lnTo>
                  <a:lnTo>
                    <a:pt x="428" y="990"/>
                  </a:lnTo>
                  <a:lnTo>
                    <a:pt x="403" y="999"/>
                  </a:lnTo>
                  <a:lnTo>
                    <a:pt x="377" y="1006"/>
                  </a:lnTo>
                  <a:lnTo>
                    <a:pt x="350" y="1012"/>
                  </a:lnTo>
                  <a:lnTo>
                    <a:pt x="321" y="1015"/>
                  </a:lnTo>
                  <a:lnTo>
                    <a:pt x="290" y="1016"/>
                  </a:lnTo>
                  <a:lnTo>
                    <a:pt x="145" y="1016"/>
                  </a:lnTo>
                  <a:lnTo>
                    <a:pt x="323" y="105"/>
                  </a:lnTo>
                  <a:lnTo>
                    <a:pt x="412" y="105"/>
                  </a:lnTo>
                  <a:lnTo>
                    <a:pt x="447" y="106"/>
                  </a:lnTo>
                  <a:lnTo>
                    <a:pt x="479" y="108"/>
                  </a:lnTo>
                  <a:lnTo>
                    <a:pt x="495" y="110"/>
                  </a:lnTo>
                  <a:lnTo>
                    <a:pt x="510" y="112"/>
                  </a:lnTo>
                  <a:lnTo>
                    <a:pt x="524" y="115"/>
                  </a:lnTo>
                  <a:lnTo>
                    <a:pt x="538" y="118"/>
                  </a:lnTo>
                  <a:lnTo>
                    <a:pt x="551" y="122"/>
                  </a:lnTo>
                  <a:lnTo>
                    <a:pt x="564" y="126"/>
                  </a:lnTo>
                  <a:lnTo>
                    <a:pt x="576" y="131"/>
                  </a:lnTo>
                  <a:lnTo>
                    <a:pt x="589" y="136"/>
                  </a:lnTo>
                  <a:lnTo>
                    <a:pt x="600" y="142"/>
                  </a:lnTo>
                  <a:lnTo>
                    <a:pt x="610" y="148"/>
                  </a:lnTo>
                  <a:lnTo>
                    <a:pt x="620" y="155"/>
                  </a:lnTo>
                  <a:lnTo>
                    <a:pt x="629" y="162"/>
                  </a:lnTo>
                  <a:lnTo>
                    <a:pt x="638" y="170"/>
                  </a:lnTo>
                  <a:lnTo>
                    <a:pt x="646" y="179"/>
                  </a:lnTo>
                  <a:lnTo>
                    <a:pt x="654" y="188"/>
                  </a:lnTo>
                  <a:lnTo>
                    <a:pt x="661" y="198"/>
                  </a:lnTo>
                  <a:lnTo>
                    <a:pt x="668" y="208"/>
                  </a:lnTo>
                  <a:lnTo>
                    <a:pt x="674" y="221"/>
                  </a:lnTo>
                  <a:lnTo>
                    <a:pt x="679" y="232"/>
                  </a:lnTo>
                  <a:lnTo>
                    <a:pt x="684" y="245"/>
                  </a:lnTo>
                  <a:lnTo>
                    <a:pt x="688" y="258"/>
                  </a:lnTo>
                  <a:lnTo>
                    <a:pt x="692" y="272"/>
                  </a:lnTo>
                  <a:lnTo>
                    <a:pt x="695" y="287"/>
                  </a:lnTo>
                  <a:lnTo>
                    <a:pt x="697" y="302"/>
                  </a:lnTo>
                  <a:lnTo>
                    <a:pt x="699" y="318"/>
                  </a:lnTo>
                  <a:lnTo>
                    <a:pt x="701" y="335"/>
                  </a:lnTo>
                  <a:lnTo>
                    <a:pt x="702" y="353"/>
                  </a:lnTo>
                  <a:lnTo>
                    <a:pt x="702" y="371"/>
                  </a:lnTo>
                  <a:close/>
                  <a:moveTo>
                    <a:pt x="838" y="371"/>
                  </a:moveTo>
                  <a:lnTo>
                    <a:pt x="838" y="348"/>
                  </a:lnTo>
                  <a:lnTo>
                    <a:pt x="837" y="326"/>
                  </a:lnTo>
                  <a:lnTo>
                    <a:pt x="835" y="304"/>
                  </a:lnTo>
                  <a:lnTo>
                    <a:pt x="833" y="284"/>
                  </a:lnTo>
                  <a:lnTo>
                    <a:pt x="830" y="264"/>
                  </a:lnTo>
                  <a:lnTo>
                    <a:pt x="826" y="244"/>
                  </a:lnTo>
                  <a:lnTo>
                    <a:pt x="821" y="226"/>
                  </a:lnTo>
                  <a:lnTo>
                    <a:pt x="816" y="207"/>
                  </a:lnTo>
                  <a:lnTo>
                    <a:pt x="810" y="190"/>
                  </a:lnTo>
                  <a:lnTo>
                    <a:pt x="803" y="174"/>
                  </a:lnTo>
                  <a:lnTo>
                    <a:pt x="795" y="158"/>
                  </a:lnTo>
                  <a:lnTo>
                    <a:pt x="787" y="144"/>
                  </a:lnTo>
                  <a:lnTo>
                    <a:pt x="778" y="130"/>
                  </a:lnTo>
                  <a:lnTo>
                    <a:pt x="768" y="116"/>
                  </a:lnTo>
                  <a:lnTo>
                    <a:pt x="758" y="104"/>
                  </a:lnTo>
                  <a:lnTo>
                    <a:pt x="747" y="92"/>
                  </a:lnTo>
                  <a:lnTo>
                    <a:pt x="735" y="81"/>
                  </a:lnTo>
                  <a:lnTo>
                    <a:pt x="723" y="70"/>
                  </a:lnTo>
                  <a:lnTo>
                    <a:pt x="709" y="61"/>
                  </a:lnTo>
                  <a:lnTo>
                    <a:pt x="695" y="52"/>
                  </a:lnTo>
                  <a:lnTo>
                    <a:pt x="680" y="43"/>
                  </a:lnTo>
                  <a:lnTo>
                    <a:pt x="665" y="36"/>
                  </a:lnTo>
                  <a:lnTo>
                    <a:pt x="649" y="29"/>
                  </a:lnTo>
                  <a:lnTo>
                    <a:pt x="632" y="23"/>
                  </a:lnTo>
                  <a:lnTo>
                    <a:pt x="614" y="18"/>
                  </a:lnTo>
                  <a:lnTo>
                    <a:pt x="595" y="13"/>
                  </a:lnTo>
                  <a:lnTo>
                    <a:pt x="575" y="9"/>
                  </a:lnTo>
                  <a:lnTo>
                    <a:pt x="555" y="6"/>
                  </a:lnTo>
                  <a:lnTo>
                    <a:pt x="534" y="4"/>
                  </a:lnTo>
                  <a:lnTo>
                    <a:pt x="513" y="2"/>
                  </a:lnTo>
                  <a:lnTo>
                    <a:pt x="491" y="1"/>
                  </a:lnTo>
                  <a:lnTo>
                    <a:pt x="468" y="0"/>
                  </a:lnTo>
                  <a:lnTo>
                    <a:pt x="218" y="0"/>
                  </a:lnTo>
                  <a:lnTo>
                    <a:pt x="0" y="1121"/>
                  </a:lnTo>
                  <a:lnTo>
                    <a:pt x="266" y="1121"/>
                  </a:lnTo>
                  <a:lnTo>
                    <a:pt x="307" y="1120"/>
                  </a:lnTo>
                  <a:lnTo>
                    <a:pt x="345" y="1117"/>
                  </a:lnTo>
                  <a:lnTo>
                    <a:pt x="381" y="1112"/>
                  </a:lnTo>
                  <a:lnTo>
                    <a:pt x="416" y="1104"/>
                  </a:lnTo>
                  <a:lnTo>
                    <a:pt x="449" y="1095"/>
                  </a:lnTo>
                  <a:lnTo>
                    <a:pt x="481" y="1084"/>
                  </a:lnTo>
                  <a:lnTo>
                    <a:pt x="511" y="1071"/>
                  </a:lnTo>
                  <a:lnTo>
                    <a:pt x="539" y="1057"/>
                  </a:lnTo>
                  <a:lnTo>
                    <a:pt x="566" y="1039"/>
                  </a:lnTo>
                  <a:lnTo>
                    <a:pt x="592" y="1022"/>
                  </a:lnTo>
                  <a:lnTo>
                    <a:pt x="616" y="1002"/>
                  </a:lnTo>
                  <a:lnTo>
                    <a:pt x="639" y="981"/>
                  </a:lnTo>
                  <a:lnTo>
                    <a:pt x="660" y="959"/>
                  </a:lnTo>
                  <a:lnTo>
                    <a:pt x="680" y="936"/>
                  </a:lnTo>
                  <a:lnTo>
                    <a:pt x="699" y="911"/>
                  </a:lnTo>
                  <a:lnTo>
                    <a:pt x="716" y="885"/>
                  </a:lnTo>
                  <a:lnTo>
                    <a:pt x="732" y="859"/>
                  </a:lnTo>
                  <a:lnTo>
                    <a:pt x="746" y="831"/>
                  </a:lnTo>
                  <a:lnTo>
                    <a:pt x="760" y="802"/>
                  </a:lnTo>
                  <a:lnTo>
                    <a:pt x="772" y="772"/>
                  </a:lnTo>
                  <a:lnTo>
                    <a:pt x="783" y="741"/>
                  </a:lnTo>
                  <a:lnTo>
                    <a:pt x="793" y="709"/>
                  </a:lnTo>
                  <a:lnTo>
                    <a:pt x="802" y="677"/>
                  </a:lnTo>
                  <a:lnTo>
                    <a:pt x="810" y="645"/>
                  </a:lnTo>
                  <a:lnTo>
                    <a:pt x="817" y="612"/>
                  </a:lnTo>
                  <a:lnTo>
                    <a:pt x="823" y="578"/>
                  </a:lnTo>
                  <a:lnTo>
                    <a:pt x="828" y="544"/>
                  </a:lnTo>
                  <a:lnTo>
                    <a:pt x="832" y="510"/>
                  </a:lnTo>
                  <a:lnTo>
                    <a:pt x="835" y="475"/>
                  </a:lnTo>
                  <a:lnTo>
                    <a:pt x="837" y="440"/>
                  </a:lnTo>
                  <a:lnTo>
                    <a:pt x="838" y="406"/>
                  </a:lnTo>
                  <a:lnTo>
                    <a:pt x="838" y="371"/>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44" name="Freeform 31"/>
            <p:cNvSpPr>
              <a:spLocks noEditPoints="1"/>
            </p:cNvSpPr>
            <p:nvPr userDrawn="1">
              <p:custDataLst>
                <p:tags r:id="rId30"/>
              </p:custDataLst>
            </p:nvPr>
          </p:nvSpPr>
          <p:spPr bwMode="gray">
            <a:xfrm>
              <a:off x="3011488" y="3751263"/>
              <a:ext cx="128587" cy="173037"/>
            </a:xfrm>
            <a:custGeom>
              <a:avLst/>
              <a:gdLst/>
              <a:ahLst/>
              <a:cxnLst>
                <a:cxn ang="0">
                  <a:pos x="483" y="229"/>
                </a:cxn>
                <a:cxn ang="0">
                  <a:pos x="160" y="242"/>
                </a:cxn>
                <a:cxn ang="0">
                  <a:pos x="181" y="195"/>
                </a:cxn>
                <a:cxn ang="0">
                  <a:pos x="208" y="154"/>
                </a:cxn>
                <a:cxn ang="0">
                  <a:pos x="242" y="122"/>
                </a:cxn>
                <a:cxn ang="0">
                  <a:pos x="285" y="100"/>
                </a:cxn>
                <a:cxn ang="0">
                  <a:pos x="335" y="89"/>
                </a:cxn>
                <a:cxn ang="0">
                  <a:pos x="380" y="90"/>
                </a:cxn>
                <a:cxn ang="0">
                  <a:pos x="416" y="102"/>
                </a:cxn>
                <a:cxn ang="0">
                  <a:pos x="446" y="121"/>
                </a:cxn>
                <a:cxn ang="0">
                  <a:pos x="467" y="149"/>
                </a:cxn>
                <a:cxn ang="0">
                  <a:pos x="480" y="184"/>
                </a:cxn>
                <a:cxn ang="0">
                  <a:pos x="596" y="218"/>
                </a:cxn>
                <a:cxn ang="0">
                  <a:pos x="594" y="181"/>
                </a:cxn>
                <a:cxn ang="0">
                  <a:pos x="586" y="146"/>
                </a:cxn>
                <a:cxn ang="0">
                  <a:pos x="573" y="116"/>
                </a:cxn>
                <a:cxn ang="0">
                  <a:pos x="556" y="88"/>
                </a:cxn>
                <a:cxn ang="0">
                  <a:pos x="536" y="64"/>
                </a:cxn>
                <a:cxn ang="0">
                  <a:pos x="510" y="44"/>
                </a:cxn>
                <a:cxn ang="0">
                  <a:pos x="473" y="23"/>
                </a:cxn>
                <a:cxn ang="0">
                  <a:pos x="409" y="4"/>
                </a:cxn>
                <a:cxn ang="0">
                  <a:pos x="338" y="1"/>
                </a:cxn>
                <a:cxn ang="0">
                  <a:pos x="271" y="11"/>
                </a:cxn>
                <a:cxn ang="0">
                  <a:pos x="211" y="34"/>
                </a:cxn>
                <a:cxn ang="0">
                  <a:pos x="160" y="66"/>
                </a:cxn>
                <a:cxn ang="0">
                  <a:pos x="117" y="108"/>
                </a:cxn>
                <a:cxn ang="0">
                  <a:pos x="81" y="157"/>
                </a:cxn>
                <a:cxn ang="0">
                  <a:pos x="52" y="212"/>
                </a:cxn>
                <a:cxn ang="0">
                  <a:pos x="30" y="272"/>
                </a:cxn>
                <a:cxn ang="0">
                  <a:pos x="14" y="334"/>
                </a:cxn>
                <a:cxn ang="0">
                  <a:pos x="4" y="398"/>
                </a:cxn>
                <a:cxn ang="0">
                  <a:pos x="0" y="463"/>
                </a:cxn>
                <a:cxn ang="0">
                  <a:pos x="1" y="523"/>
                </a:cxn>
                <a:cxn ang="0">
                  <a:pos x="7" y="578"/>
                </a:cxn>
                <a:cxn ang="0">
                  <a:pos x="19" y="626"/>
                </a:cxn>
                <a:cxn ang="0">
                  <a:pos x="37" y="668"/>
                </a:cxn>
                <a:cxn ang="0">
                  <a:pos x="60" y="705"/>
                </a:cxn>
                <a:cxn ang="0">
                  <a:pos x="88" y="737"/>
                </a:cxn>
                <a:cxn ang="0">
                  <a:pos x="122" y="762"/>
                </a:cxn>
                <a:cxn ang="0">
                  <a:pos x="161" y="782"/>
                </a:cxn>
                <a:cxn ang="0">
                  <a:pos x="206" y="795"/>
                </a:cxn>
                <a:cxn ang="0">
                  <a:pos x="258" y="804"/>
                </a:cxn>
                <a:cxn ang="0">
                  <a:pos x="314" y="806"/>
                </a:cxn>
                <a:cxn ang="0">
                  <a:pos x="377" y="803"/>
                </a:cxn>
                <a:cxn ang="0">
                  <a:pos x="441" y="793"/>
                </a:cxn>
                <a:cxn ang="0">
                  <a:pos x="499" y="693"/>
                </a:cxn>
                <a:cxn ang="0">
                  <a:pos x="424" y="706"/>
                </a:cxn>
                <a:cxn ang="0">
                  <a:pos x="378" y="709"/>
                </a:cxn>
                <a:cxn ang="0">
                  <a:pos x="331" y="707"/>
                </a:cxn>
                <a:cxn ang="0">
                  <a:pos x="289" y="701"/>
                </a:cxn>
                <a:cxn ang="0">
                  <a:pos x="252" y="690"/>
                </a:cxn>
                <a:cxn ang="0">
                  <a:pos x="218" y="674"/>
                </a:cxn>
                <a:cxn ang="0">
                  <a:pos x="191" y="654"/>
                </a:cxn>
                <a:cxn ang="0">
                  <a:pos x="168" y="630"/>
                </a:cxn>
                <a:cxn ang="0">
                  <a:pos x="149" y="601"/>
                </a:cxn>
                <a:cxn ang="0">
                  <a:pos x="135" y="567"/>
                </a:cxn>
                <a:cxn ang="0">
                  <a:pos x="126" y="528"/>
                </a:cxn>
                <a:cxn ang="0">
                  <a:pos x="121" y="484"/>
                </a:cxn>
                <a:cxn ang="0">
                  <a:pos x="120" y="436"/>
                </a:cxn>
                <a:cxn ang="0">
                  <a:pos x="125" y="391"/>
                </a:cxn>
                <a:cxn ang="0">
                  <a:pos x="580" y="330"/>
                </a:cxn>
                <a:cxn ang="0">
                  <a:pos x="592" y="291"/>
                </a:cxn>
                <a:cxn ang="0">
                  <a:pos x="596" y="218"/>
                </a:cxn>
              </a:cxnLst>
              <a:rect l="0" t="0" r="r" b="b"/>
              <a:pathLst>
                <a:path w="596" h="806">
                  <a:moveTo>
                    <a:pt x="483" y="210"/>
                  </a:moveTo>
                  <a:lnTo>
                    <a:pt x="483" y="221"/>
                  </a:lnTo>
                  <a:lnTo>
                    <a:pt x="483" y="229"/>
                  </a:lnTo>
                  <a:lnTo>
                    <a:pt x="483" y="236"/>
                  </a:lnTo>
                  <a:lnTo>
                    <a:pt x="483" y="242"/>
                  </a:lnTo>
                  <a:lnTo>
                    <a:pt x="160" y="242"/>
                  </a:lnTo>
                  <a:lnTo>
                    <a:pt x="167" y="226"/>
                  </a:lnTo>
                  <a:lnTo>
                    <a:pt x="174" y="210"/>
                  </a:lnTo>
                  <a:lnTo>
                    <a:pt x="181" y="195"/>
                  </a:lnTo>
                  <a:lnTo>
                    <a:pt x="189" y="181"/>
                  </a:lnTo>
                  <a:lnTo>
                    <a:pt x="198" y="167"/>
                  </a:lnTo>
                  <a:lnTo>
                    <a:pt x="208" y="154"/>
                  </a:lnTo>
                  <a:lnTo>
                    <a:pt x="218" y="142"/>
                  </a:lnTo>
                  <a:lnTo>
                    <a:pt x="230" y="131"/>
                  </a:lnTo>
                  <a:lnTo>
                    <a:pt x="242" y="122"/>
                  </a:lnTo>
                  <a:lnTo>
                    <a:pt x="256" y="113"/>
                  </a:lnTo>
                  <a:lnTo>
                    <a:pt x="270" y="106"/>
                  </a:lnTo>
                  <a:lnTo>
                    <a:pt x="285" y="100"/>
                  </a:lnTo>
                  <a:lnTo>
                    <a:pt x="300" y="95"/>
                  </a:lnTo>
                  <a:lnTo>
                    <a:pt x="317" y="91"/>
                  </a:lnTo>
                  <a:lnTo>
                    <a:pt x="335" y="89"/>
                  </a:lnTo>
                  <a:lnTo>
                    <a:pt x="354" y="88"/>
                  </a:lnTo>
                  <a:lnTo>
                    <a:pt x="368" y="89"/>
                  </a:lnTo>
                  <a:lnTo>
                    <a:pt x="380" y="90"/>
                  </a:lnTo>
                  <a:lnTo>
                    <a:pt x="393" y="93"/>
                  </a:lnTo>
                  <a:lnTo>
                    <a:pt x="405" y="97"/>
                  </a:lnTo>
                  <a:lnTo>
                    <a:pt x="416" y="102"/>
                  </a:lnTo>
                  <a:lnTo>
                    <a:pt x="427" y="107"/>
                  </a:lnTo>
                  <a:lnTo>
                    <a:pt x="437" y="114"/>
                  </a:lnTo>
                  <a:lnTo>
                    <a:pt x="446" y="121"/>
                  </a:lnTo>
                  <a:lnTo>
                    <a:pt x="454" y="130"/>
                  </a:lnTo>
                  <a:lnTo>
                    <a:pt x="461" y="139"/>
                  </a:lnTo>
                  <a:lnTo>
                    <a:pt x="467" y="149"/>
                  </a:lnTo>
                  <a:lnTo>
                    <a:pt x="473" y="159"/>
                  </a:lnTo>
                  <a:lnTo>
                    <a:pt x="477" y="172"/>
                  </a:lnTo>
                  <a:lnTo>
                    <a:pt x="480" y="184"/>
                  </a:lnTo>
                  <a:lnTo>
                    <a:pt x="482" y="197"/>
                  </a:lnTo>
                  <a:lnTo>
                    <a:pt x="483" y="210"/>
                  </a:lnTo>
                  <a:close/>
                  <a:moveTo>
                    <a:pt x="596" y="218"/>
                  </a:moveTo>
                  <a:lnTo>
                    <a:pt x="596" y="205"/>
                  </a:lnTo>
                  <a:lnTo>
                    <a:pt x="595" y="193"/>
                  </a:lnTo>
                  <a:lnTo>
                    <a:pt x="594" y="181"/>
                  </a:lnTo>
                  <a:lnTo>
                    <a:pt x="592" y="169"/>
                  </a:lnTo>
                  <a:lnTo>
                    <a:pt x="589" y="157"/>
                  </a:lnTo>
                  <a:lnTo>
                    <a:pt x="586" y="146"/>
                  </a:lnTo>
                  <a:lnTo>
                    <a:pt x="582" y="136"/>
                  </a:lnTo>
                  <a:lnTo>
                    <a:pt x="578" y="125"/>
                  </a:lnTo>
                  <a:lnTo>
                    <a:pt x="573" y="116"/>
                  </a:lnTo>
                  <a:lnTo>
                    <a:pt x="568" y="106"/>
                  </a:lnTo>
                  <a:lnTo>
                    <a:pt x="562" y="97"/>
                  </a:lnTo>
                  <a:lnTo>
                    <a:pt x="556" y="88"/>
                  </a:lnTo>
                  <a:lnTo>
                    <a:pt x="550" y="80"/>
                  </a:lnTo>
                  <a:lnTo>
                    <a:pt x="543" y="72"/>
                  </a:lnTo>
                  <a:lnTo>
                    <a:pt x="536" y="64"/>
                  </a:lnTo>
                  <a:lnTo>
                    <a:pt x="528" y="57"/>
                  </a:lnTo>
                  <a:lnTo>
                    <a:pt x="519" y="50"/>
                  </a:lnTo>
                  <a:lnTo>
                    <a:pt x="510" y="44"/>
                  </a:lnTo>
                  <a:lnTo>
                    <a:pt x="502" y="38"/>
                  </a:lnTo>
                  <a:lnTo>
                    <a:pt x="492" y="33"/>
                  </a:lnTo>
                  <a:lnTo>
                    <a:pt x="473" y="23"/>
                  </a:lnTo>
                  <a:lnTo>
                    <a:pt x="453" y="15"/>
                  </a:lnTo>
                  <a:lnTo>
                    <a:pt x="431" y="8"/>
                  </a:lnTo>
                  <a:lnTo>
                    <a:pt x="409" y="4"/>
                  </a:lnTo>
                  <a:lnTo>
                    <a:pt x="386" y="1"/>
                  </a:lnTo>
                  <a:lnTo>
                    <a:pt x="362" y="0"/>
                  </a:lnTo>
                  <a:lnTo>
                    <a:pt x="338" y="1"/>
                  </a:lnTo>
                  <a:lnTo>
                    <a:pt x="314" y="3"/>
                  </a:lnTo>
                  <a:lnTo>
                    <a:pt x="292" y="6"/>
                  </a:lnTo>
                  <a:lnTo>
                    <a:pt x="271" y="11"/>
                  </a:lnTo>
                  <a:lnTo>
                    <a:pt x="250" y="18"/>
                  </a:lnTo>
                  <a:lnTo>
                    <a:pt x="229" y="25"/>
                  </a:lnTo>
                  <a:lnTo>
                    <a:pt x="211" y="34"/>
                  </a:lnTo>
                  <a:lnTo>
                    <a:pt x="193" y="44"/>
                  </a:lnTo>
                  <a:lnTo>
                    <a:pt x="176" y="55"/>
                  </a:lnTo>
                  <a:lnTo>
                    <a:pt x="160" y="66"/>
                  </a:lnTo>
                  <a:lnTo>
                    <a:pt x="145" y="79"/>
                  </a:lnTo>
                  <a:lnTo>
                    <a:pt x="130" y="93"/>
                  </a:lnTo>
                  <a:lnTo>
                    <a:pt x="117" y="108"/>
                  </a:lnTo>
                  <a:lnTo>
                    <a:pt x="104" y="123"/>
                  </a:lnTo>
                  <a:lnTo>
                    <a:pt x="92" y="140"/>
                  </a:lnTo>
                  <a:lnTo>
                    <a:pt x="81" y="157"/>
                  </a:lnTo>
                  <a:lnTo>
                    <a:pt x="71" y="175"/>
                  </a:lnTo>
                  <a:lnTo>
                    <a:pt x="61" y="193"/>
                  </a:lnTo>
                  <a:lnTo>
                    <a:pt x="52" y="212"/>
                  </a:lnTo>
                  <a:lnTo>
                    <a:pt x="44" y="232"/>
                  </a:lnTo>
                  <a:lnTo>
                    <a:pt x="37" y="251"/>
                  </a:lnTo>
                  <a:lnTo>
                    <a:pt x="30" y="272"/>
                  </a:lnTo>
                  <a:lnTo>
                    <a:pt x="24" y="292"/>
                  </a:lnTo>
                  <a:lnTo>
                    <a:pt x="19" y="313"/>
                  </a:lnTo>
                  <a:lnTo>
                    <a:pt x="14" y="334"/>
                  </a:lnTo>
                  <a:lnTo>
                    <a:pt x="10" y="355"/>
                  </a:lnTo>
                  <a:lnTo>
                    <a:pt x="7" y="376"/>
                  </a:lnTo>
                  <a:lnTo>
                    <a:pt x="4" y="398"/>
                  </a:lnTo>
                  <a:lnTo>
                    <a:pt x="2" y="419"/>
                  </a:lnTo>
                  <a:lnTo>
                    <a:pt x="1" y="442"/>
                  </a:lnTo>
                  <a:lnTo>
                    <a:pt x="0" y="463"/>
                  </a:lnTo>
                  <a:lnTo>
                    <a:pt x="0" y="484"/>
                  </a:lnTo>
                  <a:lnTo>
                    <a:pt x="0" y="504"/>
                  </a:lnTo>
                  <a:lnTo>
                    <a:pt x="1" y="523"/>
                  </a:lnTo>
                  <a:lnTo>
                    <a:pt x="2" y="542"/>
                  </a:lnTo>
                  <a:lnTo>
                    <a:pt x="5" y="560"/>
                  </a:lnTo>
                  <a:lnTo>
                    <a:pt x="7" y="578"/>
                  </a:lnTo>
                  <a:lnTo>
                    <a:pt x="11" y="594"/>
                  </a:lnTo>
                  <a:lnTo>
                    <a:pt x="15" y="610"/>
                  </a:lnTo>
                  <a:lnTo>
                    <a:pt x="19" y="626"/>
                  </a:lnTo>
                  <a:lnTo>
                    <a:pt x="24" y="641"/>
                  </a:lnTo>
                  <a:lnTo>
                    <a:pt x="30" y="655"/>
                  </a:lnTo>
                  <a:lnTo>
                    <a:pt x="37" y="668"/>
                  </a:lnTo>
                  <a:lnTo>
                    <a:pt x="44" y="681"/>
                  </a:lnTo>
                  <a:lnTo>
                    <a:pt x="51" y="693"/>
                  </a:lnTo>
                  <a:lnTo>
                    <a:pt x="60" y="705"/>
                  </a:lnTo>
                  <a:lnTo>
                    <a:pt x="68" y="716"/>
                  </a:lnTo>
                  <a:lnTo>
                    <a:pt x="78" y="727"/>
                  </a:lnTo>
                  <a:lnTo>
                    <a:pt x="88" y="737"/>
                  </a:lnTo>
                  <a:lnTo>
                    <a:pt x="99" y="746"/>
                  </a:lnTo>
                  <a:lnTo>
                    <a:pt x="110" y="754"/>
                  </a:lnTo>
                  <a:lnTo>
                    <a:pt x="122" y="762"/>
                  </a:lnTo>
                  <a:lnTo>
                    <a:pt x="135" y="769"/>
                  </a:lnTo>
                  <a:lnTo>
                    <a:pt x="148" y="776"/>
                  </a:lnTo>
                  <a:lnTo>
                    <a:pt x="161" y="782"/>
                  </a:lnTo>
                  <a:lnTo>
                    <a:pt x="176" y="787"/>
                  </a:lnTo>
                  <a:lnTo>
                    <a:pt x="191" y="791"/>
                  </a:lnTo>
                  <a:lnTo>
                    <a:pt x="206" y="795"/>
                  </a:lnTo>
                  <a:lnTo>
                    <a:pt x="223" y="799"/>
                  </a:lnTo>
                  <a:lnTo>
                    <a:pt x="240" y="802"/>
                  </a:lnTo>
                  <a:lnTo>
                    <a:pt x="258" y="804"/>
                  </a:lnTo>
                  <a:lnTo>
                    <a:pt x="276" y="805"/>
                  </a:lnTo>
                  <a:lnTo>
                    <a:pt x="295" y="806"/>
                  </a:lnTo>
                  <a:lnTo>
                    <a:pt x="314" y="806"/>
                  </a:lnTo>
                  <a:lnTo>
                    <a:pt x="335" y="806"/>
                  </a:lnTo>
                  <a:lnTo>
                    <a:pt x="356" y="805"/>
                  </a:lnTo>
                  <a:lnTo>
                    <a:pt x="377" y="803"/>
                  </a:lnTo>
                  <a:lnTo>
                    <a:pt x="398" y="800"/>
                  </a:lnTo>
                  <a:lnTo>
                    <a:pt x="420" y="797"/>
                  </a:lnTo>
                  <a:lnTo>
                    <a:pt x="441" y="793"/>
                  </a:lnTo>
                  <a:lnTo>
                    <a:pt x="462" y="788"/>
                  </a:lnTo>
                  <a:lnTo>
                    <a:pt x="483" y="782"/>
                  </a:lnTo>
                  <a:lnTo>
                    <a:pt x="499" y="693"/>
                  </a:lnTo>
                  <a:lnTo>
                    <a:pt x="469" y="699"/>
                  </a:lnTo>
                  <a:lnTo>
                    <a:pt x="439" y="704"/>
                  </a:lnTo>
                  <a:lnTo>
                    <a:pt x="424" y="706"/>
                  </a:lnTo>
                  <a:lnTo>
                    <a:pt x="408" y="708"/>
                  </a:lnTo>
                  <a:lnTo>
                    <a:pt x="393" y="709"/>
                  </a:lnTo>
                  <a:lnTo>
                    <a:pt x="378" y="709"/>
                  </a:lnTo>
                  <a:lnTo>
                    <a:pt x="362" y="709"/>
                  </a:lnTo>
                  <a:lnTo>
                    <a:pt x="346" y="708"/>
                  </a:lnTo>
                  <a:lnTo>
                    <a:pt x="331" y="707"/>
                  </a:lnTo>
                  <a:lnTo>
                    <a:pt x="316" y="705"/>
                  </a:lnTo>
                  <a:lnTo>
                    <a:pt x="302" y="703"/>
                  </a:lnTo>
                  <a:lnTo>
                    <a:pt x="289" y="701"/>
                  </a:lnTo>
                  <a:lnTo>
                    <a:pt x="276" y="697"/>
                  </a:lnTo>
                  <a:lnTo>
                    <a:pt x="264" y="694"/>
                  </a:lnTo>
                  <a:lnTo>
                    <a:pt x="252" y="690"/>
                  </a:lnTo>
                  <a:lnTo>
                    <a:pt x="239" y="685"/>
                  </a:lnTo>
                  <a:lnTo>
                    <a:pt x="228" y="680"/>
                  </a:lnTo>
                  <a:lnTo>
                    <a:pt x="218" y="674"/>
                  </a:lnTo>
                  <a:lnTo>
                    <a:pt x="208" y="668"/>
                  </a:lnTo>
                  <a:lnTo>
                    <a:pt x="199" y="662"/>
                  </a:lnTo>
                  <a:lnTo>
                    <a:pt x="191" y="654"/>
                  </a:lnTo>
                  <a:lnTo>
                    <a:pt x="182" y="647"/>
                  </a:lnTo>
                  <a:lnTo>
                    <a:pt x="175" y="639"/>
                  </a:lnTo>
                  <a:lnTo>
                    <a:pt x="168" y="630"/>
                  </a:lnTo>
                  <a:lnTo>
                    <a:pt x="161" y="621"/>
                  </a:lnTo>
                  <a:lnTo>
                    <a:pt x="155" y="611"/>
                  </a:lnTo>
                  <a:lnTo>
                    <a:pt x="149" y="601"/>
                  </a:lnTo>
                  <a:lnTo>
                    <a:pt x="144" y="590"/>
                  </a:lnTo>
                  <a:lnTo>
                    <a:pt x="140" y="579"/>
                  </a:lnTo>
                  <a:lnTo>
                    <a:pt x="135" y="567"/>
                  </a:lnTo>
                  <a:lnTo>
                    <a:pt x="132" y="554"/>
                  </a:lnTo>
                  <a:lnTo>
                    <a:pt x="129" y="541"/>
                  </a:lnTo>
                  <a:lnTo>
                    <a:pt x="126" y="528"/>
                  </a:lnTo>
                  <a:lnTo>
                    <a:pt x="124" y="514"/>
                  </a:lnTo>
                  <a:lnTo>
                    <a:pt x="122" y="499"/>
                  </a:lnTo>
                  <a:lnTo>
                    <a:pt x="121" y="484"/>
                  </a:lnTo>
                  <a:lnTo>
                    <a:pt x="120" y="468"/>
                  </a:lnTo>
                  <a:lnTo>
                    <a:pt x="120" y="452"/>
                  </a:lnTo>
                  <a:lnTo>
                    <a:pt x="120" y="436"/>
                  </a:lnTo>
                  <a:lnTo>
                    <a:pt x="122" y="421"/>
                  </a:lnTo>
                  <a:lnTo>
                    <a:pt x="123" y="406"/>
                  </a:lnTo>
                  <a:lnTo>
                    <a:pt x="125" y="391"/>
                  </a:lnTo>
                  <a:lnTo>
                    <a:pt x="130" y="361"/>
                  </a:lnTo>
                  <a:lnTo>
                    <a:pt x="136" y="330"/>
                  </a:lnTo>
                  <a:lnTo>
                    <a:pt x="580" y="330"/>
                  </a:lnTo>
                  <a:lnTo>
                    <a:pt x="585" y="318"/>
                  </a:lnTo>
                  <a:lnTo>
                    <a:pt x="590" y="305"/>
                  </a:lnTo>
                  <a:lnTo>
                    <a:pt x="592" y="291"/>
                  </a:lnTo>
                  <a:lnTo>
                    <a:pt x="594" y="277"/>
                  </a:lnTo>
                  <a:lnTo>
                    <a:pt x="596" y="248"/>
                  </a:lnTo>
                  <a:lnTo>
                    <a:pt x="596" y="218"/>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45" name="Freeform 32"/>
            <p:cNvSpPr>
              <a:spLocks/>
            </p:cNvSpPr>
            <p:nvPr userDrawn="1">
              <p:custDataLst>
                <p:tags r:id="rId31"/>
              </p:custDataLst>
            </p:nvPr>
          </p:nvSpPr>
          <p:spPr bwMode="gray">
            <a:xfrm>
              <a:off x="3151188" y="3679825"/>
              <a:ext cx="73025" cy="241300"/>
            </a:xfrm>
            <a:custGeom>
              <a:avLst/>
              <a:gdLst/>
              <a:ahLst/>
              <a:cxnLst>
                <a:cxn ang="0">
                  <a:pos x="112" y="1121"/>
                </a:cxn>
                <a:cxn ang="0">
                  <a:pos x="0" y="1121"/>
                </a:cxn>
                <a:cxn ang="0">
                  <a:pos x="218" y="0"/>
                </a:cxn>
                <a:cxn ang="0">
                  <a:pos x="330" y="0"/>
                </a:cxn>
                <a:cxn ang="0">
                  <a:pos x="112" y="1121"/>
                </a:cxn>
              </a:cxnLst>
              <a:rect l="0" t="0" r="r" b="b"/>
              <a:pathLst>
                <a:path w="330" h="1121">
                  <a:moveTo>
                    <a:pt x="112" y="1121"/>
                  </a:moveTo>
                  <a:lnTo>
                    <a:pt x="0" y="1121"/>
                  </a:lnTo>
                  <a:lnTo>
                    <a:pt x="218" y="0"/>
                  </a:lnTo>
                  <a:lnTo>
                    <a:pt x="330" y="0"/>
                  </a:lnTo>
                  <a:lnTo>
                    <a:pt x="112" y="1121"/>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46" name="Freeform 33"/>
            <p:cNvSpPr>
              <a:spLocks noEditPoints="1"/>
            </p:cNvSpPr>
            <p:nvPr userDrawn="1">
              <p:custDataLst>
                <p:tags r:id="rId32"/>
              </p:custDataLst>
            </p:nvPr>
          </p:nvSpPr>
          <p:spPr bwMode="gray">
            <a:xfrm>
              <a:off x="3217863" y="3679825"/>
              <a:ext cx="73025" cy="241300"/>
            </a:xfrm>
            <a:custGeom>
              <a:avLst/>
              <a:gdLst/>
              <a:ahLst/>
              <a:cxnLst>
                <a:cxn ang="0">
                  <a:pos x="314" y="145"/>
                </a:cxn>
                <a:cxn ang="0">
                  <a:pos x="170" y="145"/>
                </a:cxn>
                <a:cxn ang="0">
                  <a:pos x="194" y="0"/>
                </a:cxn>
                <a:cxn ang="0">
                  <a:pos x="338" y="0"/>
                </a:cxn>
                <a:cxn ang="0">
                  <a:pos x="314" y="145"/>
                </a:cxn>
                <a:cxn ang="0">
                  <a:pos x="112" y="1121"/>
                </a:cxn>
                <a:cxn ang="0">
                  <a:pos x="0" y="1121"/>
                </a:cxn>
                <a:cxn ang="0">
                  <a:pos x="146" y="347"/>
                </a:cxn>
                <a:cxn ang="0">
                  <a:pos x="258" y="347"/>
                </a:cxn>
                <a:cxn ang="0">
                  <a:pos x="112" y="1121"/>
                </a:cxn>
              </a:cxnLst>
              <a:rect l="0" t="0" r="r" b="b"/>
              <a:pathLst>
                <a:path w="338" h="1121">
                  <a:moveTo>
                    <a:pt x="314" y="145"/>
                  </a:moveTo>
                  <a:lnTo>
                    <a:pt x="170" y="145"/>
                  </a:lnTo>
                  <a:lnTo>
                    <a:pt x="194" y="0"/>
                  </a:lnTo>
                  <a:lnTo>
                    <a:pt x="338" y="0"/>
                  </a:lnTo>
                  <a:lnTo>
                    <a:pt x="314" y="145"/>
                  </a:lnTo>
                  <a:close/>
                  <a:moveTo>
                    <a:pt x="112" y="1121"/>
                  </a:moveTo>
                  <a:lnTo>
                    <a:pt x="0" y="1121"/>
                  </a:lnTo>
                  <a:lnTo>
                    <a:pt x="146" y="347"/>
                  </a:lnTo>
                  <a:lnTo>
                    <a:pt x="258" y="347"/>
                  </a:lnTo>
                  <a:lnTo>
                    <a:pt x="112" y="1121"/>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47" name="Freeform 34"/>
            <p:cNvSpPr>
              <a:spLocks/>
            </p:cNvSpPr>
            <p:nvPr userDrawn="1">
              <p:custDataLst>
                <p:tags r:id="rId33"/>
              </p:custDataLst>
            </p:nvPr>
          </p:nvSpPr>
          <p:spPr bwMode="gray">
            <a:xfrm>
              <a:off x="3290888" y="3756025"/>
              <a:ext cx="144462" cy="165100"/>
            </a:xfrm>
            <a:custGeom>
              <a:avLst/>
              <a:gdLst/>
              <a:ahLst/>
              <a:cxnLst>
                <a:cxn ang="0">
                  <a:pos x="259" y="774"/>
                </a:cxn>
                <a:cxn ang="0">
                  <a:pos x="146" y="774"/>
                </a:cxn>
                <a:cxn ang="0">
                  <a:pos x="0" y="0"/>
                </a:cxn>
                <a:cxn ang="0">
                  <a:pos x="122" y="0"/>
                </a:cxn>
                <a:cxn ang="0">
                  <a:pos x="226" y="613"/>
                </a:cxn>
                <a:cxn ang="0">
                  <a:pos x="549" y="0"/>
                </a:cxn>
                <a:cxn ang="0">
                  <a:pos x="670" y="0"/>
                </a:cxn>
                <a:cxn ang="0">
                  <a:pos x="259" y="774"/>
                </a:cxn>
              </a:cxnLst>
              <a:rect l="0" t="0" r="r" b="b"/>
              <a:pathLst>
                <a:path w="670" h="774">
                  <a:moveTo>
                    <a:pt x="259" y="774"/>
                  </a:moveTo>
                  <a:lnTo>
                    <a:pt x="146" y="774"/>
                  </a:lnTo>
                  <a:lnTo>
                    <a:pt x="0" y="0"/>
                  </a:lnTo>
                  <a:lnTo>
                    <a:pt x="122" y="0"/>
                  </a:lnTo>
                  <a:lnTo>
                    <a:pt x="226" y="613"/>
                  </a:lnTo>
                  <a:lnTo>
                    <a:pt x="549" y="0"/>
                  </a:lnTo>
                  <a:lnTo>
                    <a:pt x="670" y="0"/>
                  </a:lnTo>
                  <a:lnTo>
                    <a:pt x="259" y="774"/>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48" name="Freeform 35"/>
            <p:cNvSpPr>
              <a:spLocks noEditPoints="1"/>
            </p:cNvSpPr>
            <p:nvPr userDrawn="1">
              <p:custDataLst>
                <p:tags r:id="rId34"/>
              </p:custDataLst>
            </p:nvPr>
          </p:nvSpPr>
          <p:spPr bwMode="gray">
            <a:xfrm>
              <a:off x="3422650" y="3751263"/>
              <a:ext cx="131763" cy="173037"/>
            </a:xfrm>
            <a:custGeom>
              <a:avLst/>
              <a:gdLst/>
              <a:ahLst/>
              <a:cxnLst>
                <a:cxn ang="0">
                  <a:pos x="487" y="229"/>
                </a:cxn>
                <a:cxn ang="0">
                  <a:pos x="161" y="242"/>
                </a:cxn>
                <a:cxn ang="0">
                  <a:pos x="185" y="195"/>
                </a:cxn>
                <a:cxn ang="0">
                  <a:pos x="214" y="154"/>
                </a:cxn>
                <a:cxn ang="0">
                  <a:pos x="248" y="122"/>
                </a:cxn>
                <a:cxn ang="0">
                  <a:pos x="290" y="100"/>
                </a:cxn>
                <a:cxn ang="0">
                  <a:pos x="337" y="89"/>
                </a:cxn>
                <a:cxn ang="0">
                  <a:pos x="384" y="90"/>
                </a:cxn>
                <a:cxn ang="0">
                  <a:pos x="422" y="102"/>
                </a:cxn>
                <a:cxn ang="0">
                  <a:pos x="453" y="121"/>
                </a:cxn>
                <a:cxn ang="0">
                  <a:pos x="476" y="149"/>
                </a:cxn>
                <a:cxn ang="0">
                  <a:pos x="489" y="184"/>
                </a:cxn>
                <a:cxn ang="0">
                  <a:pos x="605" y="218"/>
                </a:cxn>
                <a:cxn ang="0">
                  <a:pos x="602" y="181"/>
                </a:cxn>
                <a:cxn ang="0">
                  <a:pos x="594" y="146"/>
                </a:cxn>
                <a:cxn ang="0">
                  <a:pos x="580" y="116"/>
                </a:cxn>
                <a:cxn ang="0">
                  <a:pos x="562" y="88"/>
                </a:cxn>
                <a:cxn ang="0">
                  <a:pos x="540" y="64"/>
                </a:cxn>
                <a:cxn ang="0">
                  <a:pos x="514" y="44"/>
                </a:cxn>
                <a:cxn ang="0">
                  <a:pos x="476" y="23"/>
                </a:cxn>
                <a:cxn ang="0">
                  <a:pos x="410" y="4"/>
                </a:cxn>
                <a:cxn ang="0">
                  <a:pos x="339" y="1"/>
                </a:cxn>
                <a:cxn ang="0">
                  <a:pos x="272" y="11"/>
                </a:cxn>
                <a:cxn ang="0">
                  <a:pos x="214" y="34"/>
                </a:cxn>
                <a:cxn ang="0">
                  <a:pos x="164" y="66"/>
                </a:cxn>
                <a:cxn ang="0">
                  <a:pos x="121" y="108"/>
                </a:cxn>
                <a:cxn ang="0">
                  <a:pos x="85" y="157"/>
                </a:cxn>
                <a:cxn ang="0">
                  <a:pos x="55" y="212"/>
                </a:cxn>
                <a:cxn ang="0">
                  <a:pos x="32" y="272"/>
                </a:cxn>
                <a:cxn ang="0">
                  <a:pos x="16" y="334"/>
                </a:cxn>
                <a:cxn ang="0">
                  <a:pos x="5" y="398"/>
                </a:cxn>
                <a:cxn ang="0">
                  <a:pos x="0" y="463"/>
                </a:cxn>
                <a:cxn ang="0">
                  <a:pos x="1" y="523"/>
                </a:cxn>
                <a:cxn ang="0">
                  <a:pos x="8" y="578"/>
                </a:cxn>
                <a:cxn ang="0">
                  <a:pos x="20" y="626"/>
                </a:cxn>
                <a:cxn ang="0">
                  <a:pos x="38" y="668"/>
                </a:cxn>
                <a:cxn ang="0">
                  <a:pos x="61" y="705"/>
                </a:cxn>
                <a:cxn ang="0">
                  <a:pos x="90" y="737"/>
                </a:cxn>
                <a:cxn ang="0">
                  <a:pos x="125" y="762"/>
                </a:cxn>
                <a:cxn ang="0">
                  <a:pos x="165" y="782"/>
                </a:cxn>
                <a:cxn ang="0">
                  <a:pos x="211" y="795"/>
                </a:cxn>
                <a:cxn ang="0">
                  <a:pos x="264" y="804"/>
                </a:cxn>
                <a:cxn ang="0">
                  <a:pos x="323" y="806"/>
                </a:cxn>
                <a:cxn ang="0">
                  <a:pos x="385" y="803"/>
                </a:cxn>
                <a:cxn ang="0">
                  <a:pos x="446" y="793"/>
                </a:cxn>
                <a:cxn ang="0">
                  <a:pos x="499" y="693"/>
                </a:cxn>
                <a:cxn ang="0">
                  <a:pos x="424" y="706"/>
                </a:cxn>
                <a:cxn ang="0">
                  <a:pos x="379" y="709"/>
                </a:cxn>
                <a:cxn ang="0">
                  <a:pos x="332" y="707"/>
                </a:cxn>
                <a:cxn ang="0">
                  <a:pos x="290" y="701"/>
                </a:cxn>
                <a:cxn ang="0">
                  <a:pos x="253" y="690"/>
                </a:cxn>
                <a:cxn ang="0">
                  <a:pos x="221" y="674"/>
                </a:cxn>
                <a:cxn ang="0">
                  <a:pos x="195" y="654"/>
                </a:cxn>
                <a:cxn ang="0">
                  <a:pos x="173" y="630"/>
                </a:cxn>
                <a:cxn ang="0">
                  <a:pos x="156" y="601"/>
                </a:cxn>
                <a:cxn ang="0">
                  <a:pos x="143" y="567"/>
                </a:cxn>
                <a:cxn ang="0">
                  <a:pos x="134" y="528"/>
                </a:cxn>
                <a:cxn ang="0">
                  <a:pos x="129" y="452"/>
                </a:cxn>
                <a:cxn ang="0">
                  <a:pos x="132" y="406"/>
                </a:cxn>
                <a:cxn ang="0">
                  <a:pos x="145" y="330"/>
                </a:cxn>
                <a:cxn ang="0">
                  <a:pos x="600" y="277"/>
                </a:cxn>
                <a:cxn ang="0">
                  <a:pos x="605" y="233"/>
                </a:cxn>
              </a:cxnLst>
              <a:rect l="0" t="0" r="r" b="b"/>
              <a:pathLst>
                <a:path w="605" h="806">
                  <a:moveTo>
                    <a:pt x="491" y="210"/>
                  </a:moveTo>
                  <a:lnTo>
                    <a:pt x="490" y="221"/>
                  </a:lnTo>
                  <a:lnTo>
                    <a:pt x="487" y="229"/>
                  </a:lnTo>
                  <a:lnTo>
                    <a:pt x="485" y="236"/>
                  </a:lnTo>
                  <a:lnTo>
                    <a:pt x="483" y="242"/>
                  </a:lnTo>
                  <a:lnTo>
                    <a:pt x="161" y="242"/>
                  </a:lnTo>
                  <a:lnTo>
                    <a:pt x="169" y="226"/>
                  </a:lnTo>
                  <a:lnTo>
                    <a:pt x="177" y="210"/>
                  </a:lnTo>
                  <a:lnTo>
                    <a:pt x="185" y="195"/>
                  </a:lnTo>
                  <a:lnTo>
                    <a:pt x="194" y="181"/>
                  </a:lnTo>
                  <a:lnTo>
                    <a:pt x="204" y="167"/>
                  </a:lnTo>
                  <a:lnTo>
                    <a:pt x="214" y="154"/>
                  </a:lnTo>
                  <a:lnTo>
                    <a:pt x="225" y="142"/>
                  </a:lnTo>
                  <a:lnTo>
                    <a:pt x="236" y="131"/>
                  </a:lnTo>
                  <a:lnTo>
                    <a:pt x="248" y="122"/>
                  </a:lnTo>
                  <a:lnTo>
                    <a:pt x="261" y="113"/>
                  </a:lnTo>
                  <a:lnTo>
                    <a:pt x="274" y="106"/>
                  </a:lnTo>
                  <a:lnTo>
                    <a:pt x="290" y="100"/>
                  </a:lnTo>
                  <a:lnTo>
                    <a:pt x="305" y="95"/>
                  </a:lnTo>
                  <a:lnTo>
                    <a:pt x="320" y="91"/>
                  </a:lnTo>
                  <a:lnTo>
                    <a:pt x="337" y="89"/>
                  </a:lnTo>
                  <a:lnTo>
                    <a:pt x="355" y="88"/>
                  </a:lnTo>
                  <a:lnTo>
                    <a:pt x="370" y="89"/>
                  </a:lnTo>
                  <a:lnTo>
                    <a:pt x="384" y="90"/>
                  </a:lnTo>
                  <a:lnTo>
                    <a:pt x="397" y="93"/>
                  </a:lnTo>
                  <a:lnTo>
                    <a:pt x="410" y="97"/>
                  </a:lnTo>
                  <a:lnTo>
                    <a:pt x="422" y="102"/>
                  </a:lnTo>
                  <a:lnTo>
                    <a:pt x="433" y="107"/>
                  </a:lnTo>
                  <a:lnTo>
                    <a:pt x="444" y="114"/>
                  </a:lnTo>
                  <a:lnTo>
                    <a:pt x="453" y="121"/>
                  </a:lnTo>
                  <a:lnTo>
                    <a:pt x="462" y="130"/>
                  </a:lnTo>
                  <a:lnTo>
                    <a:pt x="469" y="139"/>
                  </a:lnTo>
                  <a:lnTo>
                    <a:pt x="476" y="149"/>
                  </a:lnTo>
                  <a:lnTo>
                    <a:pt x="481" y="159"/>
                  </a:lnTo>
                  <a:lnTo>
                    <a:pt x="486" y="172"/>
                  </a:lnTo>
                  <a:lnTo>
                    <a:pt x="489" y="184"/>
                  </a:lnTo>
                  <a:lnTo>
                    <a:pt x="491" y="197"/>
                  </a:lnTo>
                  <a:lnTo>
                    <a:pt x="491" y="210"/>
                  </a:lnTo>
                  <a:close/>
                  <a:moveTo>
                    <a:pt x="605" y="218"/>
                  </a:moveTo>
                  <a:lnTo>
                    <a:pt x="605" y="205"/>
                  </a:lnTo>
                  <a:lnTo>
                    <a:pt x="604" y="193"/>
                  </a:lnTo>
                  <a:lnTo>
                    <a:pt x="602" y="181"/>
                  </a:lnTo>
                  <a:lnTo>
                    <a:pt x="600" y="169"/>
                  </a:lnTo>
                  <a:lnTo>
                    <a:pt x="597" y="157"/>
                  </a:lnTo>
                  <a:lnTo>
                    <a:pt x="594" y="146"/>
                  </a:lnTo>
                  <a:lnTo>
                    <a:pt x="590" y="136"/>
                  </a:lnTo>
                  <a:lnTo>
                    <a:pt x="585" y="125"/>
                  </a:lnTo>
                  <a:lnTo>
                    <a:pt x="580" y="116"/>
                  </a:lnTo>
                  <a:lnTo>
                    <a:pt x="575" y="106"/>
                  </a:lnTo>
                  <a:lnTo>
                    <a:pt x="569" y="97"/>
                  </a:lnTo>
                  <a:lnTo>
                    <a:pt x="562" y="88"/>
                  </a:lnTo>
                  <a:lnTo>
                    <a:pt x="556" y="80"/>
                  </a:lnTo>
                  <a:lnTo>
                    <a:pt x="547" y="72"/>
                  </a:lnTo>
                  <a:lnTo>
                    <a:pt x="540" y="64"/>
                  </a:lnTo>
                  <a:lnTo>
                    <a:pt x="532" y="57"/>
                  </a:lnTo>
                  <a:lnTo>
                    <a:pt x="523" y="50"/>
                  </a:lnTo>
                  <a:lnTo>
                    <a:pt x="514" y="44"/>
                  </a:lnTo>
                  <a:lnTo>
                    <a:pt x="505" y="38"/>
                  </a:lnTo>
                  <a:lnTo>
                    <a:pt x="496" y="33"/>
                  </a:lnTo>
                  <a:lnTo>
                    <a:pt x="476" y="23"/>
                  </a:lnTo>
                  <a:lnTo>
                    <a:pt x="455" y="15"/>
                  </a:lnTo>
                  <a:lnTo>
                    <a:pt x="433" y="8"/>
                  </a:lnTo>
                  <a:lnTo>
                    <a:pt x="410" y="4"/>
                  </a:lnTo>
                  <a:lnTo>
                    <a:pt x="387" y="1"/>
                  </a:lnTo>
                  <a:lnTo>
                    <a:pt x="363" y="0"/>
                  </a:lnTo>
                  <a:lnTo>
                    <a:pt x="339" y="1"/>
                  </a:lnTo>
                  <a:lnTo>
                    <a:pt x="316" y="3"/>
                  </a:lnTo>
                  <a:lnTo>
                    <a:pt x="294" y="6"/>
                  </a:lnTo>
                  <a:lnTo>
                    <a:pt x="272" y="11"/>
                  </a:lnTo>
                  <a:lnTo>
                    <a:pt x="252" y="18"/>
                  </a:lnTo>
                  <a:lnTo>
                    <a:pt x="233" y="25"/>
                  </a:lnTo>
                  <a:lnTo>
                    <a:pt x="214" y="34"/>
                  </a:lnTo>
                  <a:lnTo>
                    <a:pt x="197" y="44"/>
                  </a:lnTo>
                  <a:lnTo>
                    <a:pt x="180" y="55"/>
                  </a:lnTo>
                  <a:lnTo>
                    <a:pt x="164" y="66"/>
                  </a:lnTo>
                  <a:lnTo>
                    <a:pt x="149" y="79"/>
                  </a:lnTo>
                  <a:lnTo>
                    <a:pt x="134" y="93"/>
                  </a:lnTo>
                  <a:lnTo>
                    <a:pt x="121" y="108"/>
                  </a:lnTo>
                  <a:lnTo>
                    <a:pt x="108" y="123"/>
                  </a:lnTo>
                  <a:lnTo>
                    <a:pt x="96" y="140"/>
                  </a:lnTo>
                  <a:lnTo>
                    <a:pt x="85" y="157"/>
                  </a:lnTo>
                  <a:lnTo>
                    <a:pt x="74" y="175"/>
                  </a:lnTo>
                  <a:lnTo>
                    <a:pt x="64" y="193"/>
                  </a:lnTo>
                  <a:lnTo>
                    <a:pt x="55" y="212"/>
                  </a:lnTo>
                  <a:lnTo>
                    <a:pt x="47" y="232"/>
                  </a:lnTo>
                  <a:lnTo>
                    <a:pt x="39" y="251"/>
                  </a:lnTo>
                  <a:lnTo>
                    <a:pt x="32" y="272"/>
                  </a:lnTo>
                  <a:lnTo>
                    <a:pt x="26" y="292"/>
                  </a:lnTo>
                  <a:lnTo>
                    <a:pt x="21" y="313"/>
                  </a:lnTo>
                  <a:lnTo>
                    <a:pt x="16" y="334"/>
                  </a:lnTo>
                  <a:lnTo>
                    <a:pt x="12" y="355"/>
                  </a:lnTo>
                  <a:lnTo>
                    <a:pt x="8" y="376"/>
                  </a:lnTo>
                  <a:lnTo>
                    <a:pt x="5" y="398"/>
                  </a:lnTo>
                  <a:lnTo>
                    <a:pt x="3" y="419"/>
                  </a:lnTo>
                  <a:lnTo>
                    <a:pt x="1" y="442"/>
                  </a:lnTo>
                  <a:lnTo>
                    <a:pt x="0" y="463"/>
                  </a:lnTo>
                  <a:lnTo>
                    <a:pt x="0" y="484"/>
                  </a:lnTo>
                  <a:lnTo>
                    <a:pt x="0" y="504"/>
                  </a:lnTo>
                  <a:lnTo>
                    <a:pt x="1" y="523"/>
                  </a:lnTo>
                  <a:lnTo>
                    <a:pt x="3" y="542"/>
                  </a:lnTo>
                  <a:lnTo>
                    <a:pt x="5" y="560"/>
                  </a:lnTo>
                  <a:lnTo>
                    <a:pt x="8" y="578"/>
                  </a:lnTo>
                  <a:lnTo>
                    <a:pt x="11" y="594"/>
                  </a:lnTo>
                  <a:lnTo>
                    <a:pt x="15" y="610"/>
                  </a:lnTo>
                  <a:lnTo>
                    <a:pt x="20" y="626"/>
                  </a:lnTo>
                  <a:lnTo>
                    <a:pt x="25" y="641"/>
                  </a:lnTo>
                  <a:lnTo>
                    <a:pt x="31" y="655"/>
                  </a:lnTo>
                  <a:lnTo>
                    <a:pt x="38" y="668"/>
                  </a:lnTo>
                  <a:lnTo>
                    <a:pt x="45" y="681"/>
                  </a:lnTo>
                  <a:lnTo>
                    <a:pt x="52" y="693"/>
                  </a:lnTo>
                  <a:lnTo>
                    <a:pt x="61" y="705"/>
                  </a:lnTo>
                  <a:lnTo>
                    <a:pt x="70" y="716"/>
                  </a:lnTo>
                  <a:lnTo>
                    <a:pt x="80" y="727"/>
                  </a:lnTo>
                  <a:lnTo>
                    <a:pt x="90" y="737"/>
                  </a:lnTo>
                  <a:lnTo>
                    <a:pt x="101" y="746"/>
                  </a:lnTo>
                  <a:lnTo>
                    <a:pt x="112" y="754"/>
                  </a:lnTo>
                  <a:lnTo>
                    <a:pt x="125" y="762"/>
                  </a:lnTo>
                  <a:lnTo>
                    <a:pt x="137" y="769"/>
                  </a:lnTo>
                  <a:lnTo>
                    <a:pt x="151" y="776"/>
                  </a:lnTo>
                  <a:lnTo>
                    <a:pt x="165" y="782"/>
                  </a:lnTo>
                  <a:lnTo>
                    <a:pt x="180" y="787"/>
                  </a:lnTo>
                  <a:lnTo>
                    <a:pt x="195" y="791"/>
                  </a:lnTo>
                  <a:lnTo>
                    <a:pt x="211" y="795"/>
                  </a:lnTo>
                  <a:lnTo>
                    <a:pt x="228" y="799"/>
                  </a:lnTo>
                  <a:lnTo>
                    <a:pt x="246" y="802"/>
                  </a:lnTo>
                  <a:lnTo>
                    <a:pt x="264" y="804"/>
                  </a:lnTo>
                  <a:lnTo>
                    <a:pt x="283" y="805"/>
                  </a:lnTo>
                  <a:lnTo>
                    <a:pt x="303" y="806"/>
                  </a:lnTo>
                  <a:lnTo>
                    <a:pt x="323" y="806"/>
                  </a:lnTo>
                  <a:lnTo>
                    <a:pt x="344" y="806"/>
                  </a:lnTo>
                  <a:lnTo>
                    <a:pt x="365" y="805"/>
                  </a:lnTo>
                  <a:lnTo>
                    <a:pt x="385" y="803"/>
                  </a:lnTo>
                  <a:lnTo>
                    <a:pt x="406" y="800"/>
                  </a:lnTo>
                  <a:lnTo>
                    <a:pt x="426" y="797"/>
                  </a:lnTo>
                  <a:lnTo>
                    <a:pt x="446" y="793"/>
                  </a:lnTo>
                  <a:lnTo>
                    <a:pt x="465" y="788"/>
                  </a:lnTo>
                  <a:lnTo>
                    <a:pt x="483" y="782"/>
                  </a:lnTo>
                  <a:lnTo>
                    <a:pt x="499" y="693"/>
                  </a:lnTo>
                  <a:lnTo>
                    <a:pt x="469" y="699"/>
                  </a:lnTo>
                  <a:lnTo>
                    <a:pt x="439" y="704"/>
                  </a:lnTo>
                  <a:lnTo>
                    <a:pt x="424" y="706"/>
                  </a:lnTo>
                  <a:lnTo>
                    <a:pt x="409" y="708"/>
                  </a:lnTo>
                  <a:lnTo>
                    <a:pt x="394" y="709"/>
                  </a:lnTo>
                  <a:lnTo>
                    <a:pt x="379" y="709"/>
                  </a:lnTo>
                  <a:lnTo>
                    <a:pt x="363" y="709"/>
                  </a:lnTo>
                  <a:lnTo>
                    <a:pt x="347" y="708"/>
                  </a:lnTo>
                  <a:lnTo>
                    <a:pt x="332" y="707"/>
                  </a:lnTo>
                  <a:lnTo>
                    <a:pt x="317" y="705"/>
                  </a:lnTo>
                  <a:lnTo>
                    <a:pt x="304" y="703"/>
                  </a:lnTo>
                  <a:lnTo>
                    <a:pt x="290" y="701"/>
                  </a:lnTo>
                  <a:lnTo>
                    <a:pt x="278" y="697"/>
                  </a:lnTo>
                  <a:lnTo>
                    <a:pt x="264" y="694"/>
                  </a:lnTo>
                  <a:lnTo>
                    <a:pt x="253" y="690"/>
                  </a:lnTo>
                  <a:lnTo>
                    <a:pt x="242" y="685"/>
                  </a:lnTo>
                  <a:lnTo>
                    <a:pt x="231" y="680"/>
                  </a:lnTo>
                  <a:lnTo>
                    <a:pt x="221" y="674"/>
                  </a:lnTo>
                  <a:lnTo>
                    <a:pt x="212" y="668"/>
                  </a:lnTo>
                  <a:lnTo>
                    <a:pt x="203" y="662"/>
                  </a:lnTo>
                  <a:lnTo>
                    <a:pt x="195" y="654"/>
                  </a:lnTo>
                  <a:lnTo>
                    <a:pt x="187" y="647"/>
                  </a:lnTo>
                  <a:lnTo>
                    <a:pt x="180" y="639"/>
                  </a:lnTo>
                  <a:lnTo>
                    <a:pt x="173" y="630"/>
                  </a:lnTo>
                  <a:lnTo>
                    <a:pt x="167" y="621"/>
                  </a:lnTo>
                  <a:lnTo>
                    <a:pt x="161" y="611"/>
                  </a:lnTo>
                  <a:lnTo>
                    <a:pt x="156" y="601"/>
                  </a:lnTo>
                  <a:lnTo>
                    <a:pt x="151" y="590"/>
                  </a:lnTo>
                  <a:lnTo>
                    <a:pt x="147" y="579"/>
                  </a:lnTo>
                  <a:lnTo>
                    <a:pt x="143" y="567"/>
                  </a:lnTo>
                  <a:lnTo>
                    <a:pt x="139" y="554"/>
                  </a:lnTo>
                  <a:lnTo>
                    <a:pt x="137" y="541"/>
                  </a:lnTo>
                  <a:lnTo>
                    <a:pt x="134" y="528"/>
                  </a:lnTo>
                  <a:lnTo>
                    <a:pt x="132" y="514"/>
                  </a:lnTo>
                  <a:lnTo>
                    <a:pt x="130" y="484"/>
                  </a:lnTo>
                  <a:lnTo>
                    <a:pt x="129" y="452"/>
                  </a:lnTo>
                  <a:lnTo>
                    <a:pt x="129" y="436"/>
                  </a:lnTo>
                  <a:lnTo>
                    <a:pt x="130" y="421"/>
                  </a:lnTo>
                  <a:lnTo>
                    <a:pt x="132" y="406"/>
                  </a:lnTo>
                  <a:lnTo>
                    <a:pt x="134" y="391"/>
                  </a:lnTo>
                  <a:lnTo>
                    <a:pt x="139" y="361"/>
                  </a:lnTo>
                  <a:lnTo>
                    <a:pt x="145" y="330"/>
                  </a:lnTo>
                  <a:lnTo>
                    <a:pt x="589" y="330"/>
                  </a:lnTo>
                  <a:lnTo>
                    <a:pt x="595" y="305"/>
                  </a:lnTo>
                  <a:lnTo>
                    <a:pt x="600" y="277"/>
                  </a:lnTo>
                  <a:lnTo>
                    <a:pt x="602" y="263"/>
                  </a:lnTo>
                  <a:lnTo>
                    <a:pt x="604" y="248"/>
                  </a:lnTo>
                  <a:lnTo>
                    <a:pt x="605" y="233"/>
                  </a:lnTo>
                  <a:lnTo>
                    <a:pt x="605" y="218"/>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49" name="Freeform 36"/>
            <p:cNvSpPr>
              <a:spLocks/>
            </p:cNvSpPr>
            <p:nvPr userDrawn="1">
              <p:custDataLst>
                <p:tags r:id="rId35"/>
              </p:custDataLst>
            </p:nvPr>
          </p:nvSpPr>
          <p:spPr bwMode="gray">
            <a:xfrm>
              <a:off x="3563938" y="3751263"/>
              <a:ext cx="114300" cy="169862"/>
            </a:xfrm>
            <a:custGeom>
              <a:avLst/>
              <a:gdLst/>
              <a:ahLst/>
              <a:cxnLst>
                <a:cxn ang="0">
                  <a:pos x="500" y="120"/>
                </a:cxn>
                <a:cxn ang="0">
                  <a:pos x="480" y="121"/>
                </a:cxn>
                <a:cxn ang="0">
                  <a:pos x="459" y="123"/>
                </a:cxn>
                <a:cxn ang="0">
                  <a:pos x="440" y="125"/>
                </a:cxn>
                <a:cxn ang="0">
                  <a:pos x="422" y="129"/>
                </a:cxn>
                <a:cxn ang="0">
                  <a:pos x="405" y="134"/>
                </a:cxn>
                <a:cxn ang="0">
                  <a:pos x="389" y="139"/>
                </a:cxn>
                <a:cxn ang="0">
                  <a:pos x="373" y="146"/>
                </a:cxn>
                <a:cxn ang="0">
                  <a:pos x="359" y="153"/>
                </a:cxn>
                <a:cxn ang="0">
                  <a:pos x="345" y="163"/>
                </a:cxn>
                <a:cxn ang="0">
                  <a:pos x="331" y="172"/>
                </a:cxn>
                <a:cxn ang="0">
                  <a:pos x="319" y="182"/>
                </a:cxn>
                <a:cxn ang="0">
                  <a:pos x="307" y="192"/>
                </a:cxn>
                <a:cxn ang="0">
                  <a:pos x="295" y="203"/>
                </a:cxn>
                <a:cxn ang="0">
                  <a:pos x="285" y="215"/>
                </a:cxn>
                <a:cxn ang="0">
                  <a:pos x="275" y="228"/>
                </a:cxn>
                <a:cxn ang="0">
                  <a:pos x="265" y="241"/>
                </a:cxn>
                <a:cxn ang="0">
                  <a:pos x="256" y="255"/>
                </a:cxn>
                <a:cxn ang="0">
                  <a:pos x="248" y="269"/>
                </a:cxn>
                <a:cxn ang="0">
                  <a:pos x="240" y="283"/>
                </a:cxn>
                <a:cxn ang="0">
                  <a:pos x="232" y="298"/>
                </a:cxn>
                <a:cxn ang="0">
                  <a:pos x="219" y="330"/>
                </a:cxn>
                <a:cxn ang="0">
                  <a:pos x="207" y="362"/>
                </a:cxn>
                <a:cxn ang="0">
                  <a:pos x="196" y="396"/>
                </a:cxn>
                <a:cxn ang="0">
                  <a:pos x="186" y="430"/>
                </a:cxn>
                <a:cxn ang="0">
                  <a:pos x="177" y="465"/>
                </a:cxn>
                <a:cxn ang="0">
                  <a:pos x="169" y="500"/>
                </a:cxn>
                <a:cxn ang="0">
                  <a:pos x="121" y="790"/>
                </a:cxn>
                <a:cxn ang="0">
                  <a:pos x="0" y="790"/>
                </a:cxn>
                <a:cxn ang="0">
                  <a:pos x="153" y="16"/>
                </a:cxn>
                <a:cxn ang="0">
                  <a:pos x="266" y="16"/>
                </a:cxn>
                <a:cxn ang="0">
                  <a:pos x="234" y="170"/>
                </a:cxn>
                <a:cxn ang="0">
                  <a:pos x="242" y="170"/>
                </a:cxn>
                <a:cxn ang="0">
                  <a:pos x="253" y="147"/>
                </a:cxn>
                <a:cxn ang="0">
                  <a:pos x="265" y="127"/>
                </a:cxn>
                <a:cxn ang="0">
                  <a:pos x="278" y="108"/>
                </a:cxn>
                <a:cxn ang="0">
                  <a:pos x="292" y="91"/>
                </a:cxn>
                <a:cxn ang="0">
                  <a:pos x="306" y="76"/>
                </a:cxn>
                <a:cxn ang="0">
                  <a:pos x="322" y="62"/>
                </a:cxn>
                <a:cxn ang="0">
                  <a:pos x="338" y="50"/>
                </a:cxn>
                <a:cxn ang="0">
                  <a:pos x="356" y="39"/>
                </a:cxn>
                <a:cxn ang="0">
                  <a:pos x="374" y="30"/>
                </a:cxn>
                <a:cxn ang="0">
                  <a:pos x="393" y="22"/>
                </a:cxn>
                <a:cxn ang="0">
                  <a:pos x="413" y="15"/>
                </a:cxn>
                <a:cxn ang="0">
                  <a:pos x="433" y="9"/>
                </a:cxn>
                <a:cxn ang="0">
                  <a:pos x="455" y="5"/>
                </a:cxn>
                <a:cxn ang="0">
                  <a:pos x="478" y="2"/>
                </a:cxn>
                <a:cxn ang="0">
                  <a:pos x="501" y="0"/>
                </a:cxn>
                <a:cxn ang="0">
                  <a:pos x="524" y="0"/>
                </a:cxn>
                <a:cxn ang="0">
                  <a:pos x="500" y="120"/>
                </a:cxn>
              </a:cxnLst>
              <a:rect l="0" t="0" r="r" b="b"/>
              <a:pathLst>
                <a:path w="524" h="790">
                  <a:moveTo>
                    <a:pt x="500" y="120"/>
                  </a:moveTo>
                  <a:lnTo>
                    <a:pt x="480" y="121"/>
                  </a:lnTo>
                  <a:lnTo>
                    <a:pt x="459" y="123"/>
                  </a:lnTo>
                  <a:lnTo>
                    <a:pt x="440" y="125"/>
                  </a:lnTo>
                  <a:lnTo>
                    <a:pt x="422" y="129"/>
                  </a:lnTo>
                  <a:lnTo>
                    <a:pt x="405" y="134"/>
                  </a:lnTo>
                  <a:lnTo>
                    <a:pt x="389" y="139"/>
                  </a:lnTo>
                  <a:lnTo>
                    <a:pt x="373" y="146"/>
                  </a:lnTo>
                  <a:lnTo>
                    <a:pt x="359" y="153"/>
                  </a:lnTo>
                  <a:lnTo>
                    <a:pt x="345" y="163"/>
                  </a:lnTo>
                  <a:lnTo>
                    <a:pt x="331" y="172"/>
                  </a:lnTo>
                  <a:lnTo>
                    <a:pt x="319" y="182"/>
                  </a:lnTo>
                  <a:lnTo>
                    <a:pt x="307" y="192"/>
                  </a:lnTo>
                  <a:lnTo>
                    <a:pt x="295" y="203"/>
                  </a:lnTo>
                  <a:lnTo>
                    <a:pt x="285" y="215"/>
                  </a:lnTo>
                  <a:lnTo>
                    <a:pt x="275" y="228"/>
                  </a:lnTo>
                  <a:lnTo>
                    <a:pt x="265" y="241"/>
                  </a:lnTo>
                  <a:lnTo>
                    <a:pt x="256" y="255"/>
                  </a:lnTo>
                  <a:lnTo>
                    <a:pt x="248" y="269"/>
                  </a:lnTo>
                  <a:lnTo>
                    <a:pt x="240" y="283"/>
                  </a:lnTo>
                  <a:lnTo>
                    <a:pt x="232" y="298"/>
                  </a:lnTo>
                  <a:lnTo>
                    <a:pt x="219" y="330"/>
                  </a:lnTo>
                  <a:lnTo>
                    <a:pt x="207" y="362"/>
                  </a:lnTo>
                  <a:lnTo>
                    <a:pt x="196" y="396"/>
                  </a:lnTo>
                  <a:lnTo>
                    <a:pt x="186" y="430"/>
                  </a:lnTo>
                  <a:lnTo>
                    <a:pt x="177" y="465"/>
                  </a:lnTo>
                  <a:lnTo>
                    <a:pt x="169" y="500"/>
                  </a:lnTo>
                  <a:lnTo>
                    <a:pt x="121" y="790"/>
                  </a:lnTo>
                  <a:lnTo>
                    <a:pt x="0" y="790"/>
                  </a:lnTo>
                  <a:lnTo>
                    <a:pt x="153" y="16"/>
                  </a:lnTo>
                  <a:lnTo>
                    <a:pt x="266" y="16"/>
                  </a:lnTo>
                  <a:lnTo>
                    <a:pt x="234" y="170"/>
                  </a:lnTo>
                  <a:lnTo>
                    <a:pt x="242" y="170"/>
                  </a:lnTo>
                  <a:lnTo>
                    <a:pt x="253" y="147"/>
                  </a:lnTo>
                  <a:lnTo>
                    <a:pt x="265" y="127"/>
                  </a:lnTo>
                  <a:lnTo>
                    <a:pt x="278" y="108"/>
                  </a:lnTo>
                  <a:lnTo>
                    <a:pt x="292" y="91"/>
                  </a:lnTo>
                  <a:lnTo>
                    <a:pt x="306" y="76"/>
                  </a:lnTo>
                  <a:lnTo>
                    <a:pt x="322" y="62"/>
                  </a:lnTo>
                  <a:lnTo>
                    <a:pt x="338" y="50"/>
                  </a:lnTo>
                  <a:lnTo>
                    <a:pt x="356" y="39"/>
                  </a:lnTo>
                  <a:lnTo>
                    <a:pt x="374" y="30"/>
                  </a:lnTo>
                  <a:lnTo>
                    <a:pt x="393" y="22"/>
                  </a:lnTo>
                  <a:lnTo>
                    <a:pt x="413" y="15"/>
                  </a:lnTo>
                  <a:lnTo>
                    <a:pt x="433" y="9"/>
                  </a:lnTo>
                  <a:lnTo>
                    <a:pt x="455" y="5"/>
                  </a:lnTo>
                  <a:lnTo>
                    <a:pt x="478" y="2"/>
                  </a:lnTo>
                  <a:lnTo>
                    <a:pt x="501" y="0"/>
                  </a:lnTo>
                  <a:lnTo>
                    <a:pt x="524" y="0"/>
                  </a:lnTo>
                  <a:lnTo>
                    <a:pt x="500" y="120"/>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50" name="Freeform 37"/>
            <p:cNvSpPr>
              <a:spLocks noEditPoints="1"/>
            </p:cNvSpPr>
            <p:nvPr userDrawn="1">
              <p:custDataLst>
                <p:tags r:id="rId36"/>
              </p:custDataLst>
            </p:nvPr>
          </p:nvSpPr>
          <p:spPr bwMode="gray">
            <a:xfrm>
              <a:off x="3665538" y="3751263"/>
              <a:ext cx="130175" cy="173037"/>
            </a:xfrm>
            <a:custGeom>
              <a:avLst/>
              <a:gdLst/>
              <a:ahLst/>
              <a:cxnLst>
                <a:cxn ang="0">
                  <a:pos x="483" y="229"/>
                </a:cxn>
                <a:cxn ang="0">
                  <a:pos x="161" y="242"/>
                </a:cxn>
                <a:cxn ang="0">
                  <a:pos x="182" y="195"/>
                </a:cxn>
                <a:cxn ang="0">
                  <a:pos x="209" y="154"/>
                </a:cxn>
                <a:cxn ang="0">
                  <a:pos x="242" y="122"/>
                </a:cxn>
                <a:cxn ang="0">
                  <a:pos x="285" y="100"/>
                </a:cxn>
                <a:cxn ang="0">
                  <a:pos x="336" y="89"/>
                </a:cxn>
                <a:cxn ang="0">
                  <a:pos x="383" y="90"/>
                </a:cxn>
                <a:cxn ang="0">
                  <a:pos x="420" y="102"/>
                </a:cxn>
                <a:cxn ang="0">
                  <a:pos x="449" y="121"/>
                </a:cxn>
                <a:cxn ang="0">
                  <a:pos x="470" y="149"/>
                </a:cxn>
                <a:cxn ang="0">
                  <a:pos x="481" y="184"/>
                </a:cxn>
                <a:cxn ang="0">
                  <a:pos x="605" y="218"/>
                </a:cxn>
                <a:cxn ang="0">
                  <a:pos x="602" y="181"/>
                </a:cxn>
                <a:cxn ang="0">
                  <a:pos x="594" y="146"/>
                </a:cxn>
                <a:cxn ang="0">
                  <a:pos x="580" y="116"/>
                </a:cxn>
                <a:cxn ang="0">
                  <a:pos x="563" y="88"/>
                </a:cxn>
                <a:cxn ang="0">
                  <a:pos x="541" y="64"/>
                </a:cxn>
                <a:cxn ang="0">
                  <a:pos x="514" y="44"/>
                </a:cxn>
                <a:cxn ang="0">
                  <a:pos x="476" y="23"/>
                </a:cxn>
                <a:cxn ang="0">
                  <a:pos x="410" y="4"/>
                </a:cxn>
                <a:cxn ang="0">
                  <a:pos x="339" y="1"/>
                </a:cxn>
                <a:cxn ang="0">
                  <a:pos x="273" y="11"/>
                </a:cxn>
                <a:cxn ang="0">
                  <a:pos x="214" y="34"/>
                </a:cxn>
                <a:cxn ang="0">
                  <a:pos x="164" y="66"/>
                </a:cxn>
                <a:cxn ang="0">
                  <a:pos x="121" y="108"/>
                </a:cxn>
                <a:cxn ang="0">
                  <a:pos x="85" y="157"/>
                </a:cxn>
                <a:cxn ang="0">
                  <a:pos x="55" y="212"/>
                </a:cxn>
                <a:cxn ang="0">
                  <a:pos x="32" y="272"/>
                </a:cxn>
                <a:cxn ang="0">
                  <a:pos x="16" y="334"/>
                </a:cxn>
                <a:cxn ang="0">
                  <a:pos x="5" y="398"/>
                </a:cxn>
                <a:cxn ang="0">
                  <a:pos x="1" y="463"/>
                </a:cxn>
                <a:cxn ang="0">
                  <a:pos x="1" y="523"/>
                </a:cxn>
                <a:cxn ang="0">
                  <a:pos x="8" y="578"/>
                </a:cxn>
                <a:cxn ang="0">
                  <a:pos x="20" y="626"/>
                </a:cxn>
                <a:cxn ang="0">
                  <a:pos x="38" y="668"/>
                </a:cxn>
                <a:cxn ang="0">
                  <a:pos x="61" y="705"/>
                </a:cxn>
                <a:cxn ang="0">
                  <a:pos x="90" y="737"/>
                </a:cxn>
                <a:cxn ang="0">
                  <a:pos x="125" y="762"/>
                </a:cxn>
                <a:cxn ang="0">
                  <a:pos x="165" y="782"/>
                </a:cxn>
                <a:cxn ang="0">
                  <a:pos x="211" y="795"/>
                </a:cxn>
                <a:cxn ang="0">
                  <a:pos x="265" y="804"/>
                </a:cxn>
                <a:cxn ang="0">
                  <a:pos x="323" y="806"/>
                </a:cxn>
                <a:cxn ang="0">
                  <a:pos x="383" y="803"/>
                </a:cxn>
                <a:cxn ang="0">
                  <a:pos x="442" y="793"/>
                </a:cxn>
                <a:cxn ang="0">
                  <a:pos x="499" y="693"/>
                </a:cxn>
                <a:cxn ang="0">
                  <a:pos x="424" y="706"/>
                </a:cxn>
                <a:cxn ang="0">
                  <a:pos x="379" y="709"/>
                </a:cxn>
                <a:cxn ang="0">
                  <a:pos x="332" y="707"/>
                </a:cxn>
                <a:cxn ang="0">
                  <a:pos x="290" y="701"/>
                </a:cxn>
                <a:cxn ang="0">
                  <a:pos x="253" y="690"/>
                </a:cxn>
                <a:cxn ang="0">
                  <a:pos x="221" y="674"/>
                </a:cxn>
                <a:cxn ang="0">
                  <a:pos x="195" y="654"/>
                </a:cxn>
                <a:cxn ang="0">
                  <a:pos x="173" y="630"/>
                </a:cxn>
                <a:cxn ang="0">
                  <a:pos x="156" y="601"/>
                </a:cxn>
                <a:cxn ang="0">
                  <a:pos x="143" y="567"/>
                </a:cxn>
                <a:cxn ang="0">
                  <a:pos x="134" y="528"/>
                </a:cxn>
                <a:cxn ang="0">
                  <a:pos x="129" y="452"/>
                </a:cxn>
                <a:cxn ang="0">
                  <a:pos x="131" y="376"/>
                </a:cxn>
                <a:cxn ang="0">
                  <a:pos x="137" y="330"/>
                </a:cxn>
                <a:cxn ang="0">
                  <a:pos x="600" y="277"/>
                </a:cxn>
                <a:cxn ang="0">
                  <a:pos x="605" y="233"/>
                </a:cxn>
              </a:cxnLst>
              <a:rect l="0" t="0" r="r" b="b"/>
              <a:pathLst>
                <a:path w="605" h="806">
                  <a:moveTo>
                    <a:pt x="483" y="210"/>
                  </a:moveTo>
                  <a:lnTo>
                    <a:pt x="483" y="221"/>
                  </a:lnTo>
                  <a:lnTo>
                    <a:pt x="483" y="229"/>
                  </a:lnTo>
                  <a:lnTo>
                    <a:pt x="483" y="236"/>
                  </a:lnTo>
                  <a:lnTo>
                    <a:pt x="483" y="242"/>
                  </a:lnTo>
                  <a:lnTo>
                    <a:pt x="161" y="242"/>
                  </a:lnTo>
                  <a:lnTo>
                    <a:pt x="167" y="226"/>
                  </a:lnTo>
                  <a:lnTo>
                    <a:pt x="174" y="210"/>
                  </a:lnTo>
                  <a:lnTo>
                    <a:pt x="182" y="195"/>
                  </a:lnTo>
                  <a:lnTo>
                    <a:pt x="190" y="181"/>
                  </a:lnTo>
                  <a:lnTo>
                    <a:pt x="199" y="167"/>
                  </a:lnTo>
                  <a:lnTo>
                    <a:pt x="209" y="154"/>
                  </a:lnTo>
                  <a:lnTo>
                    <a:pt x="219" y="142"/>
                  </a:lnTo>
                  <a:lnTo>
                    <a:pt x="230" y="131"/>
                  </a:lnTo>
                  <a:lnTo>
                    <a:pt x="242" y="122"/>
                  </a:lnTo>
                  <a:lnTo>
                    <a:pt x="255" y="113"/>
                  </a:lnTo>
                  <a:lnTo>
                    <a:pt x="270" y="106"/>
                  </a:lnTo>
                  <a:lnTo>
                    <a:pt x="285" y="100"/>
                  </a:lnTo>
                  <a:lnTo>
                    <a:pt x="301" y="95"/>
                  </a:lnTo>
                  <a:lnTo>
                    <a:pt x="318" y="91"/>
                  </a:lnTo>
                  <a:lnTo>
                    <a:pt x="336" y="89"/>
                  </a:lnTo>
                  <a:lnTo>
                    <a:pt x="355" y="88"/>
                  </a:lnTo>
                  <a:lnTo>
                    <a:pt x="369" y="89"/>
                  </a:lnTo>
                  <a:lnTo>
                    <a:pt x="383" y="90"/>
                  </a:lnTo>
                  <a:lnTo>
                    <a:pt x="396" y="93"/>
                  </a:lnTo>
                  <a:lnTo>
                    <a:pt x="409" y="97"/>
                  </a:lnTo>
                  <a:lnTo>
                    <a:pt x="420" y="102"/>
                  </a:lnTo>
                  <a:lnTo>
                    <a:pt x="431" y="107"/>
                  </a:lnTo>
                  <a:lnTo>
                    <a:pt x="440" y="114"/>
                  </a:lnTo>
                  <a:lnTo>
                    <a:pt x="449" y="121"/>
                  </a:lnTo>
                  <a:lnTo>
                    <a:pt x="457" y="130"/>
                  </a:lnTo>
                  <a:lnTo>
                    <a:pt x="464" y="139"/>
                  </a:lnTo>
                  <a:lnTo>
                    <a:pt x="470" y="149"/>
                  </a:lnTo>
                  <a:lnTo>
                    <a:pt x="475" y="159"/>
                  </a:lnTo>
                  <a:lnTo>
                    <a:pt x="478" y="172"/>
                  </a:lnTo>
                  <a:lnTo>
                    <a:pt x="481" y="184"/>
                  </a:lnTo>
                  <a:lnTo>
                    <a:pt x="483" y="197"/>
                  </a:lnTo>
                  <a:lnTo>
                    <a:pt x="483" y="210"/>
                  </a:lnTo>
                  <a:close/>
                  <a:moveTo>
                    <a:pt x="605" y="218"/>
                  </a:moveTo>
                  <a:lnTo>
                    <a:pt x="605" y="205"/>
                  </a:lnTo>
                  <a:lnTo>
                    <a:pt x="604" y="193"/>
                  </a:lnTo>
                  <a:lnTo>
                    <a:pt x="602" y="181"/>
                  </a:lnTo>
                  <a:lnTo>
                    <a:pt x="600" y="169"/>
                  </a:lnTo>
                  <a:lnTo>
                    <a:pt x="597" y="157"/>
                  </a:lnTo>
                  <a:lnTo>
                    <a:pt x="594" y="146"/>
                  </a:lnTo>
                  <a:lnTo>
                    <a:pt x="590" y="136"/>
                  </a:lnTo>
                  <a:lnTo>
                    <a:pt x="585" y="125"/>
                  </a:lnTo>
                  <a:lnTo>
                    <a:pt x="580" y="116"/>
                  </a:lnTo>
                  <a:lnTo>
                    <a:pt x="575" y="106"/>
                  </a:lnTo>
                  <a:lnTo>
                    <a:pt x="569" y="97"/>
                  </a:lnTo>
                  <a:lnTo>
                    <a:pt x="563" y="88"/>
                  </a:lnTo>
                  <a:lnTo>
                    <a:pt x="556" y="80"/>
                  </a:lnTo>
                  <a:lnTo>
                    <a:pt x="548" y="72"/>
                  </a:lnTo>
                  <a:lnTo>
                    <a:pt x="541" y="64"/>
                  </a:lnTo>
                  <a:lnTo>
                    <a:pt x="532" y="57"/>
                  </a:lnTo>
                  <a:lnTo>
                    <a:pt x="523" y="50"/>
                  </a:lnTo>
                  <a:lnTo>
                    <a:pt x="514" y="44"/>
                  </a:lnTo>
                  <a:lnTo>
                    <a:pt x="505" y="38"/>
                  </a:lnTo>
                  <a:lnTo>
                    <a:pt x="496" y="33"/>
                  </a:lnTo>
                  <a:lnTo>
                    <a:pt x="476" y="23"/>
                  </a:lnTo>
                  <a:lnTo>
                    <a:pt x="455" y="15"/>
                  </a:lnTo>
                  <a:lnTo>
                    <a:pt x="433" y="8"/>
                  </a:lnTo>
                  <a:lnTo>
                    <a:pt x="410" y="4"/>
                  </a:lnTo>
                  <a:lnTo>
                    <a:pt x="387" y="1"/>
                  </a:lnTo>
                  <a:lnTo>
                    <a:pt x="363" y="0"/>
                  </a:lnTo>
                  <a:lnTo>
                    <a:pt x="339" y="1"/>
                  </a:lnTo>
                  <a:lnTo>
                    <a:pt x="316" y="3"/>
                  </a:lnTo>
                  <a:lnTo>
                    <a:pt x="294" y="6"/>
                  </a:lnTo>
                  <a:lnTo>
                    <a:pt x="273" y="11"/>
                  </a:lnTo>
                  <a:lnTo>
                    <a:pt x="252" y="18"/>
                  </a:lnTo>
                  <a:lnTo>
                    <a:pt x="233" y="25"/>
                  </a:lnTo>
                  <a:lnTo>
                    <a:pt x="214" y="34"/>
                  </a:lnTo>
                  <a:lnTo>
                    <a:pt x="197" y="44"/>
                  </a:lnTo>
                  <a:lnTo>
                    <a:pt x="180" y="55"/>
                  </a:lnTo>
                  <a:lnTo>
                    <a:pt x="164" y="66"/>
                  </a:lnTo>
                  <a:lnTo>
                    <a:pt x="149" y="79"/>
                  </a:lnTo>
                  <a:lnTo>
                    <a:pt x="134" y="93"/>
                  </a:lnTo>
                  <a:lnTo>
                    <a:pt x="121" y="108"/>
                  </a:lnTo>
                  <a:lnTo>
                    <a:pt x="108" y="123"/>
                  </a:lnTo>
                  <a:lnTo>
                    <a:pt x="96" y="140"/>
                  </a:lnTo>
                  <a:lnTo>
                    <a:pt x="85" y="157"/>
                  </a:lnTo>
                  <a:lnTo>
                    <a:pt x="74" y="175"/>
                  </a:lnTo>
                  <a:lnTo>
                    <a:pt x="64" y="193"/>
                  </a:lnTo>
                  <a:lnTo>
                    <a:pt x="55" y="212"/>
                  </a:lnTo>
                  <a:lnTo>
                    <a:pt x="47" y="232"/>
                  </a:lnTo>
                  <a:lnTo>
                    <a:pt x="39" y="251"/>
                  </a:lnTo>
                  <a:lnTo>
                    <a:pt x="32" y="272"/>
                  </a:lnTo>
                  <a:lnTo>
                    <a:pt x="26" y="292"/>
                  </a:lnTo>
                  <a:lnTo>
                    <a:pt x="21" y="313"/>
                  </a:lnTo>
                  <a:lnTo>
                    <a:pt x="16" y="334"/>
                  </a:lnTo>
                  <a:lnTo>
                    <a:pt x="12" y="355"/>
                  </a:lnTo>
                  <a:lnTo>
                    <a:pt x="8" y="376"/>
                  </a:lnTo>
                  <a:lnTo>
                    <a:pt x="5" y="398"/>
                  </a:lnTo>
                  <a:lnTo>
                    <a:pt x="3" y="419"/>
                  </a:lnTo>
                  <a:lnTo>
                    <a:pt x="1" y="442"/>
                  </a:lnTo>
                  <a:lnTo>
                    <a:pt x="1" y="463"/>
                  </a:lnTo>
                  <a:lnTo>
                    <a:pt x="0" y="484"/>
                  </a:lnTo>
                  <a:lnTo>
                    <a:pt x="1" y="504"/>
                  </a:lnTo>
                  <a:lnTo>
                    <a:pt x="1" y="523"/>
                  </a:lnTo>
                  <a:lnTo>
                    <a:pt x="3" y="542"/>
                  </a:lnTo>
                  <a:lnTo>
                    <a:pt x="5" y="560"/>
                  </a:lnTo>
                  <a:lnTo>
                    <a:pt x="8" y="578"/>
                  </a:lnTo>
                  <a:lnTo>
                    <a:pt x="11" y="594"/>
                  </a:lnTo>
                  <a:lnTo>
                    <a:pt x="15" y="610"/>
                  </a:lnTo>
                  <a:lnTo>
                    <a:pt x="20" y="626"/>
                  </a:lnTo>
                  <a:lnTo>
                    <a:pt x="25" y="641"/>
                  </a:lnTo>
                  <a:lnTo>
                    <a:pt x="31" y="655"/>
                  </a:lnTo>
                  <a:lnTo>
                    <a:pt x="38" y="668"/>
                  </a:lnTo>
                  <a:lnTo>
                    <a:pt x="45" y="681"/>
                  </a:lnTo>
                  <a:lnTo>
                    <a:pt x="52" y="693"/>
                  </a:lnTo>
                  <a:lnTo>
                    <a:pt x="61" y="705"/>
                  </a:lnTo>
                  <a:lnTo>
                    <a:pt x="70" y="716"/>
                  </a:lnTo>
                  <a:lnTo>
                    <a:pt x="80" y="727"/>
                  </a:lnTo>
                  <a:lnTo>
                    <a:pt x="90" y="737"/>
                  </a:lnTo>
                  <a:lnTo>
                    <a:pt x="101" y="746"/>
                  </a:lnTo>
                  <a:lnTo>
                    <a:pt x="112" y="754"/>
                  </a:lnTo>
                  <a:lnTo>
                    <a:pt x="125" y="762"/>
                  </a:lnTo>
                  <a:lnTo>
                    <a:pt x="137" y="769"/>
                  </a:lnTo>
                  <a:lnTo>
                    <a:pt x="151" y="776"/>
                  </a:lnTo>
                  <a:lnTo>
                    <a:pt x="165" y="782"/>
                  </a:lnTo>
                  <a:lnTo>
                    <a:pt x="180" y="787"/>
                  </a:lnTo>
                  <a:lnTo>
                    <a:pt x="195" y="791"/>
                  </a:lnTo>
                  <a:lnTo>
                    <a:pt x="211" y="795"/>
                  </a:lnTo>
                  <a:lnTo>
                    <a:pt x="228" y="799"/>
                  </a:lnTo>
                  <a:lnTo>
                    <a:pt x="246" y="802"/>
                  </a:lnTo>
                  <a:lnTo>
                    <a:pt x="265" y="804"/>
                  </a:lnTo>
                  <a:lnTo>
                    <a:pt x="283" y="805"/>
                  </a:lnTo>
                  <a:lnTo>
                    <a:pt x="303" y="806"/>
                  </a:lnTo>
                  <a:lnTo>
                    <a:pt x="323" y="806"/>
                  </a:lnTo>
                  <a:lnTo>
                    <a:pt x="343" y="806"/>
                  </a:lnTo>
                  <a:lnTo>
                    <a:pt x="364" y="805"/>
                  </a:lnTo>
                  <a:lnTo>
                    <a:pt x="383" y="803"/>
                  </a:lnTo>
                  <a:lnTo>
                    <a:pt x="403" y="800"/>
                  </a:lnTo>
                  <a:lnTo>
                    <a:pt x="423" y="797"/>
                  </a:lnTo>
                  <a:lnTo>
                    <a:pt x="442" y="793"/>
                  </a:lnTo>
                  <a:lnTo>
                    <a:pt x="463" y="788"/>
                  </a:lnTo>
                  <a:lnTo>
                    <a:pt x="483" y="782"/>
                  </a:lnTo>
                  <a:lnTo>
                    <a:pt x="499" y="693"/>
                  </a:lnTo>
                  <a:lnTo>
                    <a:pt x="469" y="699"/>
                  </a:lnTo>
                  <a:lnTo>
                    <a:pt x="439" y="704"/>
                  </a:lnTo>
                  <a:lnTo>
                    <a:pt x="424" y="706"/>
                  </a:lnTo>
                  <a:lnTo>
                    <a:pt x="409" y="708"/>
                  </a:lnTo>
                  <a:lnTo>
                    <a:pt x="394" y="709"/>
                  </a:lnTo>
                  <a:lnTo>
                    <a:pt x="379" y="709"/>
                  </a:lnTo>
                  <a:lnTo>
                    <a:pt x="363" y="709"/>
                  </a:lnTo>
                  <a:lnTo>
                    <a:pt x="347" y="708"/>
                  </a:lnTo>
                  <a:lnTo>
                    <a:pt x="332" y="707"/>
                  </a:lnTo>
                  <a:lnTo>
                    <a:pt x="317" y="705"/>
                  </a:lnTo>
                  <a:lnTo>
                    <a:pt x="304" y="703"/>
                  </a:lnTo>
                  <a:lnTo>
                    <a:pt x="290" y="701"/>
                  </a:lnTo>
                  <a:lnTo>
                    <a:pt x="278" y="697"/>
                  </a:lnTo>
                  <a:lnTo>
                    <a:pt x="265" y="694"/>
                  </a:lnTo>
                  <a:lnTo>
                    <a:pt x="253" y="690"/>
                  </a:lnTo>
                  <a:lnTo>
                    <a:pt x="242" y="685"/>
                  </a:lnTo>
                  <a:lnTo>
                    <a:pt x="231" y="680"/>
                  </a:lnTo>
                  <a:lnTo>
                    <a:pt x="221" y="674"/>
                  </a:lnTo>
                  <a:lnTo>
                    <a:pt x="212" y="668"/>
                  </a:lnTo>
                  <a:lnTo>
                    <a:pt x="203" y="662"/>
                  </a:lnTo>
                  <a:lnTo>
                    <a:pt x="195" y="654"/>
                  </a:lnTo>
                  <a:lnTo>
                    <a:pt x="187" y="647"/>
                  </a:lnTo>
                  <a:lnTo>
                    <a:pt x="180" y="639"/>
                  </a:lnTo>
                  <a:lnTo>
                    <a:pt x="173" y="630"/>
                  </a:lnTo>
                  <a:lnTo>
                    <a:pt x="167" y="621"/>
                  </a:lnTo>
                  <a:lnTo>
                    <a:pt x="161" y="611"/>
                  </a:lnTo>
                  <a:lnTo>
                    <a:pt x="156" y="601"/>
                  </a:lnTo>
                  <a:lnTo>
                    <a:pt x="151" y="590"/>
                  </a:lnTo>
                  <a:lnTo>
                    <a:pt x="147" y="579"/>
                  </a:lnTo>
                  <a:lnTo>
                    <a:pt x="143" y="567"/>
                  </a:lnTo>
                  <a:lnTo>
                    <a:pt x="139" y="554"/>
                  </a:lnTo>
                  <a:lnTo>
                    <a:pt x="137" y="541"/>
                  </a:lnTo>
                  <a:lnTo>
                    <a:pt x="134" y="528"/>
                  </a:lnTo>
                  <a:lnTo>
                    <a:pt x="132" y="514"/>
                  </a:lnTo>
                  <a:lnTo>
                    <a:pt x="130" y="484"/>
                  </a:lnTo>
                  <a:lnTo>
                    <a:pt x="129" y="452"/>
                  </a:lnTo>
                  <a:lnTo>
                    <a:pt x="129" y="421"/>
                  </a:lnTo>
                  <a:lnTo>
                    <a:pt x="130" y="391"/>
                  </a:lnTo>
                  <a:lnTo>
                    <a:pt x="131" y="376"/>
                  </a:lnTo>
                  <a:lnTo>
                    <a:pt x="132" y="361"/>
                  </a:lnTo>
                  <a:lnTo>
                    <a:pt x="134" y="345"/>
                  </a:lnTo>
                  <a:lnTo>
                    <a:pt x="137" y="330"/>
                  </a:lnTo>
                  <a:lnTo>
                    <a:pt x="589" y="330"/>
                  </a:lnTo>
                  <a:lnTo>
                    <a:pt x="595" y="305"/>
                  </a:lnTo>
                  <a:lnTo>
                    <a:pt x="600" y="277"/>
                  </a:lnTo>
                  <a:lnTo>
                    <a:pt x="602" y="263"/>
                  </a:lnTo>
                  <a:lnTo>
                    <a:pt x="604" y="248"/>
                  </a:lnTo>
                  <a:lnTo>
                    <a:pt x="605" y="233"/>
                  </a:lnTo>
                  <a:lnTo>
                    <a:pt x="605" y="218"/>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51" name="Freeform 38"/>
            <p:cNvSpPr>
              <a:spLocks noEditPoints="1"/>
            </p:cNvSpPr>
            <p:nvPr userDrawn="1">
              <p:custDataLst>
                <p:tags r:id="rId37"/>
              </p:custDataLst>
            </p:nvPr>
          </p:nvSpPr>
          <p:spPr bwMode="gray">
            <a:xfrm>
              <a:off x="3808413" y="3679825"/>
              <a:ext cx="157162" cy="244475"/>
            </a:xfrm>
            <a:custGeom>
              <a:avLst/>
              <a:gdLst/>
              <a:ahLst/>
              <a:cxnLst>
                <a:cxn ang="0">
                  <a:pos x="481" y="686"/>
                </a:cxn>
                <a:cxn ang="0">
                  <a:pos x="464" y="786"/>
                </a:cxn>
                <a:cxn ang="0">
                  <a:pos x="444" y="854"/>
                </a:cxn>
                <a:cxn ang="0">
                  <a:pos x="423" y="902"/>
                </a:cxn>
                <a:cxn ang="0">
                  <a:pos x="398" y="946"/>
                </a:cxn>
                <a:cxn ang="0">
                  <a:pos x="369" y="984"/>
                </a:cxn>
                <a:cxn ang="0">
                  <a:pos x="334" y="1014"/>
                </a:cxn>
                <a:cxn ang="0">
                  <a:pos x="295" y="1033"/>
                </a:cxn>
                <a:cxn ang="0">
                  <a:pos x="250" y="1040"/>
                </a:cxn>
                <a:cxn ang="0">
                  <a:pos x="223" y="1037"/>
                </a:cxn>
                <a:cxn ang="0">
                  <a:pos x="200" y="1030"/>
                </a:cxn>
                <a:cxn ang="0">
                  <a:pos x="181" y="1018"/>
                </a:cxn>
                <a:cxn ang="0">
                  <a:pos x="166" y="1003"/>
                </a:cxn>
                <a:cxn ang="0">
                  <a:pos x="144" y="964"/>
                </a:cxn>
                <a:cxn ang="0">
                  <a:pos x="133" y="918"/>
                </a:cxn>
                <a:cxn ang="0">
                  <a:pos x="129" y="871"/>
                </a:cxn>
                <a:cxn ang="0">
                  <a:pos x="131" y="800"/>
                </a:cxn>
                <a:cxn ang="0">
                  <a:pos x="147" y="697"/>
                </a:cxn>
                <a:cxn ang="0">
                  <a:pos x="178" y="589"/>
                </a:cxn>
                <a:cxn ang="0">
                  <a:pos x="199" y="539"/>
                </a:cxn>
                <a:cxn ang="0">
                  <a:pos x="225" y="495"/>
                </a:cxn>
                <a:cxn ang="0">
                  <a:pos x="256" y="458"/>
                </a:cxn>
                <a:cxn ang="0">
                  <a:pos x="291" y="433"/>
                </a:cxn>
                <a:cxn ang="0">
                  <a:pos x="332" y="420"/>
                </a:cxn>
                <a:cxn ang="0">
                  <a:pos x="365" y="421"/>
                </a:cxn>
                <a:cxn ang="0">
                  <a:pos x="390" y="428"/>
                </a:cxn>
                <a:cxn ang="0">
                  <a:pos x="412" y="439"/>
                </a:cxn>
                <a:cxn ang="0">
                  <a:pos x="430" y="456"/>
                </a:cxn>
                <a:cxn ang="0">
                  <a:pos x="455" y="492"/>
                </a:cxn>
                <a:cxn ang="0">
                  <a:pos x="474" y="542"/>
                </a:cxn>
                <a:cxn ang="0">
                  <a:pos x="483" y="595"/>
                </a:cxn>
                <a:cxn ang="0">
                  <a:pos x="734" y="0"/>
                </a:cxn>
                <a:cxn ang="0">
                  <a:pos x="526" y="453"/>
                </a:cxn>
                <a:cxn ang="0">
                  <a:pos x="501" y="412"/>
                </a:cxn>
                <a:cxn ang="0">
                  <a:pos x="469" y="379"/>
                </a:cxn>
                <a:cxn ang="0">
                  <a:pos x="430" y="353"/>
                </a:cxn>
                <a:cxn ang="0">
                  <a:pos x="386" y="337"/>
                </a:cxn>
                <a:cxn ang="0">
                  <a:pos x="339" y="331"/>
                </a:cxn>
                <a:cxn ang="0">
                  <a:pos x="275" y="339"/>
                </a:cxn>
                <a:cxn ang="0">
                  <a:pos x="218" y="363"/>
                </a:cxn>
                <a:cxn ang="0">
                  <a:pos x="168" y="400"/>
                </a:cxn>
                <a:cxn ang="0">
                  <a:pos x="125" y="448"/>
                </a:cxn>
                <a:cxn ang="0">
                  <a:pos x="89" y="506"/>
                </a:cxn>
                <a:cxn ang="0">
                  <a:pos x="60" y="568"/>
                </a:cxn>
                <a:cxn ang="0">
                  <a:pos x="36" y="634"/>
                </a:cxn>
                <a:cxn ang="0">
                  <a:pos x="19" y="701"/>
                </a:cxn>
                <a:cxn ang="0">
                  <a:pos x="7" y="768"/>
                </a:cxn>
                <a:cxn ang="0">
                  <a:pos x="1" y="832"/>
                </a:cxn>
                <a:cxn ang="0">
                  <a:pos x="1" y="895"/>
                </a:cxn>
                <a:cxn ang="0">
                  <a:pos x="11" y="967"/>
                </a:cxn>
                <a:cxn ang="0">
                  <a:pos x="31" y="1022"/>
                </a:cxn>
                <a:cxn ang="0">
                  <a:pos x="47" y="1053"/>
                </a:cxn>
                <a:cxn ang="0">
                  <a:pos x="68" y="1080"/>
                </a:cxn>
                <a:cxn ang="0">
                  <a:pos x="93" y="1102"/>
                </a:cxn>
                <a:cxn ang="0">
                  <a:pos x="122" y="1119"/>
                </a:cxn>
                <a:cxn ang="0">
                  <a:pos x="156" y="1131"/>
                </a:cxn>
                <a:cxn ang="0">
                  <a:pos x="196" y="1137"/>
                </a:cxn>
                <a:cxn ang="0">
                  <a:pos x="250" y="1135"/>
                </a:cxn>
                <a:cxn ang="0">
                  <a:pos x="300" y="1122"/>
                </a:cxn>
                <a:cxn ang="0">
                  <a:pos x="343" y="1098"/>
                </a:cxn>
                <a:cxn ang="0">
                  <a:pos x="378" y="1066"/>
                </a:cxn>
                <a:cxn ang="0">
                  <a:pos x="408" y="1023"/>
                </a:cxn>
                <a:cxn ang="0">
                  <a:pos x="403" y="1121"/>
                </a:cxn>
              </a:cxnLst>
              <a:rect l="0" t="0" r="r" b="b"/>
              <a:pathLst>
                <a:path w="734" h="1137">
                  <a:moveTo>
                    <a:pt x="484" y="629"/>
                  </a:moveTo>
                  <a:lnTo>
                    <a:pt x="484" y="656"/>
                  </a:lnTo>
                  <a:lnTo>
                    <a:pt x="481" y="686"/>
                  </a:lnTo>
                  <a:lnTo>
                    <a:pt x="477" y="718"/>
                  </a:lnTo>
                  <a:lnTo>
                    <a:pt x="472" y="751"/>
                  </a:lnTo>
                  <a:lnTo>
                    <a:pt x="464" y="786"/>
                  </a:lnTo>
                  <a:lnTo>
                    <a:pt x="455" y="820"/>
                  </a:lnTo>
                  <a:lnTo>
                    <a:pt x="450" y="837"/>
                  </a:lnTo>
                  <a:lnTo>
                    <a:pt x="444" y="854"/>
                  </a:lnTo>
                  <a:lnTo>
                    <a:pt x="437" y="870"/>
                  </a:lnTo>
                  <a:lnTo>
                    <a:pt x="430" y="886"/>
                  </a:lnTo>
                  <a:lnTo>
                    <a:pt x="423" y="902"/>
                  </a:lnTo>
                  <a:lnTo>
                    <a:pt x="415" y="918"/>
                  </a:lnTo>
                  <a:lnTo>
                    <a:pt x="407" y="932"/>
                  </a:lnTo>
                  <a:lnTo>
                    <a:pt x="398" y="946"/>
                  </a:lnTo>
                  <a:lnTo>
                    <a:pt x="389" y="960"/>
                  </a:lnTo>
                  <a:lnTo>
                    <a:pt x="379" y="973"/>
                  </a:lnTo>
                  <a:lnTo>
                    <a:pt x="369" y="984"/>
                  </a:lnTo>
                  <a:lnTo>
                    <a:pt x="358" y="995"/>
                  </a:lnTo>
                  <a:lnTo>
                    <a:pt x="346" y="1005"/>
                  </a:lnTo>
                  <a:lnTo>
                    <a:pt x="334" y="1014"/>
                  </a:lnTo>
                  <a:lnTo>
                    <a:pt x="322" y="1022"/>
                  </a:lnTo>
                  <a:lnTo>
                    <a:pt x="309" y="1028"/>
                  </a:lnTo>
                  <a:lnTo>
                    <a:pt x="295" y="1033"/>
                  </a:lnTo>
                  <a:lnTo>
                    <a:pt x="281" y="1037"/>
                  </a:lnTo>
                  <a:lnTo>
                    <a:pt x="266" y="1039"/>
                  </a:lnTo>
                  <a:lnTo>
                    <a:pt x="250" y="1040"/>
                  </a:lnTo>
                  <a:lnTo>
                    <a:pt x="241" y="1040"/>
                  </a:lnTo>
                  <a:lnTo>
                    <a:pt x="232" y="1039"/>
                  </a:lnTo>
                  <a:lnTo>
                    <a:pt x="223" y="1037"/>
                  </a:lnTo>
                  <a:lnTo>
                    <a:pt x="215" y="1035"/>
                  </a:lnTo>
                  <a:lnTo>
                    <a:pt x="207" y="1033"/>
                  </a:lnTo>
                  <a:lnTo>
                    <a:pt x="200" y="1030"/>
                  </a:lnTo>
                  <a:lnTo>
                    <a:pt x="194" y="1026"/>
                  </a:lnTo>
                  <a:lnTo>
                    <a:pt x="187" y="1022"/>
                  </a:lnTo>
                  <a:lnTo>
                    <a:pt x="181" y="1018"/>
                  </a:lnTo>
                  <a:lnTo>
                    <a:pt x="176" y="1013"/>
                  </a:lnTo>
                  <a:lnTo>
                    <a:pt x="171" y="1008"/>
                  </a:lnTo>
                  <a:lnTo>
                    <a:pt x="166" y="1003"/>
                  </a:lnTo>
                  <a:lnTo>
                    <a:pt x="157" y="991"/>
                  </a:lnTo>
                  <a:lnTo>
                    <a:pt x="150" y="978"/>
                  </a:lnTo>
                  <a:lnTo>
                    <a:pt x="144" y="964"/>
                  </a:lnTo>
                  <a:lnTo>
                    <a:pt x="139" y="949"/>
                  </a:lnTo>
                  <a:lnTo>
                    <a:pt x="136" y="934"/>
                  </a:lnTo>
                  <a:lnTo>
                    <a:pt x="133" y="918"/>
                  </a:lnTo>
                  <a:lnTo>
                    <a:pt x="131" y="902"/>
                  </a:lnTo>
                  <a:lnTo>
                    <a:pt x="130" y="886"/>
                  </a:lnTo>
                  <a:lnTo>
                    <a:pt x="129" y="871"/>
                  </a:lnTo>
                  <a:lnTo>
                    <a:pt x="129" y="855"/>
                  </a:lnTo>
                  <a:lnTo>
                    <a:pt x="129" y="829"/>
                  </a:lnTo>
                  <a:lnTo>
                    <a:pt x="131" y="800"/>
                  </a:lnTo>
                  <a:lnTo>
                    <a:pt x="135" y="766"/>
                  </a:lnTo>
                  <a:lnTo>
                    <a:pt x="140" y="732"/>
                  </a:lnTo>
                  <a:lnTo>
                    <a:pt x="147" y="697"/>
                  </a:lnTo>
                  <a:lnTo>
                    <a:pt x="155" y="660"/>
                  </a:lnTo>
                  <a:lnTo>
                    <a:pt x="166" y="624"/>
                  </a:lnTo>
                  <a:lnTo>
                    <a:pt x="178" y="589"/>
                  </a:lnTo>
                  <a:lnTo>
                    <a:pt x="185" y="572"/>
                  </a:lnTo>
                  <a:lnTo>
                    <a:pt x="192" y="555"/>
                  </a:lnTo>
                  <a:lnTo>
                    <a:pt x="199" y="539"/>
                  </a:lnTo>
                  <a:lnTo>
                    <a:pt x="207" y="524"/>
                  </a:lnTo>
                  <a:lnTo>
                    <a:pt x="216" y="509"/>
                  </a:lnTo>
                  <a:lnTo>
                    <a:pt x="225" y="495"/>
                  </a:lnTo>
                  <a:lnTo>
                    <a:pt x="235" y="481"/>
                  </a:lnTo>
                  <a:lnTo>
                    <a:pt x="245" y="469"/>
                  </a:lnTo>
                  <a:lnTo>
                    <a:pt x="256" y="458"/>
                  </a:lnTo>
                  <a:lnTo>
                    <a:pt x="267" y="448"/>
                  </a:lnTo>
                  <a:lnTo>
                    <a:pt x="279" y="440"/>
                  </a:lnTo>
                  <a:lnTo>
                    <a:pt x="291" y="433"/>
                  </a:lnTo>
                  <a:lnTo>
                    <a:pt x="304" y="427"/>
                  </a:lnTo>
                  <a:lnTo>
                    <a:pt x="318" y="423"/>
                  </a:lnTo>
                  <a:lnTo>
                    <a:pt x="332" y="420"/>
                  </a:lnTo>
                  <a:lnTo>
                    <a:pt x="347" y="419"/>
                  </a:lnTo>
                  <a:lnTo>
                    <a:pt x="356" y="420"/>
                  </a:lnTo>
                  <a:lnTo>
                    <a:pt x="365" y="421"/>
                  </a:lnTo>
                  <a:lnTo>
                    <a:pt x="374" y="422"/>
                  </a:lnTo>
                  <a:lnTo>
                    <a:pt x="383" y="425"/>
                  </a:lnTo>
                  <a:lnTo>
                    <a:pt x="390" y="428"/>
                  </a:lnTo>
                  <a:lnTo>
                    <a:pt x="398" y="431"/>
                  </a:lnTo>
                  <a:lnTo>
                    <a:pt x="405" y="435"/>
                  </a:lnTo>
                  <a:lnTo>
                    <a:pt x="412" y="439"/>
                  </a:lnTo>
                  <a:lnTo>
                    <a:pt x="419" y="445"/>
                  </a:lnTo>
                  <a:lnTo>
                    <a:pt x="425" y="450"/>
                  </a:lnTo>
                  <a:lnTo>
                    <a:pt x="430" y="456"/>
                  </a:lnTo>
                  <a:lnTo>
                    <a:pt x="436" y="462"/>
                  </a:lnTo>
                  <a:lnTo>
                    <a:pt x="447" y="476"/>
                  </a:lnTo>
                  <a:lnTo>
                    <a:pt x="455" y="492"/>
                  </a:lnTo>
                  <a:lnTo>
                    <a:pt x="462" y="508"/>
                  </a:lnTo>
                  <a:lnTo>
                    <a:pt x="469" y="524"/>
                  </a:lnTo>
                  <a:lnTo>
                    <a:pt x="474" y="542"/>
                  </a:lnTo>
                  <a:lnTo>
                    <a:pt x="478" y="559"/>
                  </a:lnTo>
                  <a:lnTo>
                    <a:pt x="481" y="577"/>
                  </a:lnTo>
                  <a:lnTo>
                    <a:pt x="483" y="595"/>
                  </a:lnTo>
                  <a:lnTo>
                    <a:pt x="484" y="612"/>
                  </a:lnTo>
                  <a:lnTo>
                    <a:pt x="484" y="629"/>
                  </a:lnTo>
                  <a:close/>
                  <a:moveTo>
                    <a:pt x="734" y="0"/>
                  </a:moveTo>
                  <a:lnTo>
                    <a:pt x="621" y="0"/>
                  </a:lnTo>
                  <a:lnTo>
                    <a:pt x="533" y="467"/>
                  </a:lnTo>
                  <a:lnTo>
                    <a:pt x="526" y="453"/>
                  </a:lnTo>
                  <a:lnTo>
                    <a:pt x="519" y="439"/>
                  </a:lnTo>
                  <a:lnTo>
                    <a:pt x="510" y="425"/>
                  </a:lnTo>
                  <a:lnTo>
                    <a:pt x="501" y="412"/>
                  </a:lnTo>
                  <a:lnTo>
                    <a:pt x="491" y="400"/>
                  </a:lnTo>
                  <a:lnTo>
                    <a:pt x="481" y="389"/>
                  </a:lnTo>
                  <a:lnTo>
                    <a:pt x="469" y="379"/>
                  </a:lnTo>
                  <a:lnTo>
                    <a:pt x="457" y="369"/>
                  </a:lnTo>
                  <a:lnTo>
                    <a:pt x="444" y="361"/>
                  </a:lnTo>
                  <a:lnTo>
                    <a:pt x="430" y="353"/>
                  </a:lnTo>
                  <a:lnTo>
                    <a:pt x="416" y="346"/>
                  </a:lnTo>
                  <a:lnTo>
                    <a:pt x="402" y="341"/>
                  </a:lnTo>
                  <a:lnTo>
                    <a:pt x="386" y="337"/>
                  </a:lnTo>
                  <a:lnTo>
                    <a:pt x="371" y="333"/>
                  </a:lnTo>
                  <a:lnTo>
                    <a:pt x="355" y="332"/>
                  </a:lnTo>
                  <a:lnTo>
                    <a:pt x="339" y="331"/>
                  </a:lnTo>
                  <a:lnTo>
                    <a:pt x="316" y="332"/>
                  </a:lnTo>
                  <a:lnTo>
                    <a:pt x="295" y="335"/>
                  </a:lnTo>
                  <a:lnTo>
                    <a:pt x="275" y="339"/>
                  </a:lnTo>
                  <a:lnTo>
                    <a:pt x="255" y="346"/>
                  </a:lnTo>
                  <a:lnTo>
                    <a:pt x="236" y="354"/>
                  </a:lnTo>
                  <a:lnTo>
                    <a:pt x="218" y="363"/>
                  </a:lnTo>
                  <a:lnTo>
                    <a:pt x="201" y="374"/>
                  </a:lnTo>
                  <a:lnTo>
                    <a:pt x="184" y="387"/>
                  </a:lnTo>
                  <a:lnTo>
                    <a:pt x="168" y="400"/>
                  </a:lnTo>
                  <a:lnTo>
                    <a:pt x="153" y="415"/>
                  </a:lnTo>
                  <a:lnTo>
                    <a:pt x="138" y="431"/>
                  </a:lnTo>
                  <a:lnTo>
                    <a:pt x="125" y="448"/>
                  </a:lnTo>
                  <a:lnTo>
                    <a:pt x="112" y="466"/>
                  </a:lnTo>
                  <a:lnTo>
                    <a:pt x="100" y="485"/>
                  </a:lnTo>
                  <a:lnTo>
                    <a:pt x="89" y="506"/>
                  </a:lnTo>
                  <a:lnTo>
                    <a:pt x="79" y="526"/>
                  </a:lnTo>
                  <a:lnTo>
                    <a:pt x="69" y="547"/>
                  </a:lnTo>
                  <a:lnTo>
                    <a:pt x="60" y="568"/>
                  </a:lnTo>
                  <a:lnTo>
                    <a:pt x="51" y="590"/>
                  </a:lnTo>
                  <a:lnTo>
                    <a:pt x="43" y="612"/>
                  </a:lnTo>
                  <a:lnTo>
                    <a:pt x="36" y="634"/>
                  </a:lnTo>
                  <a:lnTo>
                    <a:pt x="30" y="656"/>
                  </a:lnTo>
                  <a:lnTo>
                    <a:pt x="24" y="679"/>
                  </a:lnTo>
                  <a:lnTo>
                    <a:pt x="19" y="701"/>
                  </a:lnTo>
                  <a:lnTo>
                    <a:pt x="14" y="724"/>
                  </a:lnTo>
                  <a:lnTo>
                    <a:pt x="11" y="746"/>
                  </a:lnTo>
                  <a:lnTo>
                    <a:pt x="7" y="768"/>
                  </a:lnTo>
                  <a:lnTo>
                    <a:pt x="5" y="791"/>
                  </a:lnTo>
                  <a:lnTo>
                    <a:pt x="3" y="812"/>
                  </a:lnTo>
                  <a:lnTo>
                    <a:pt x="1" y="832"/>
                  </a:lnTo>
                  <a:lnTo>
                    <a:pt x="0" y="852"/>
                  </a:lnTo>
                  <a:lnTo>
                    <a:pt x="0" y="871"/>
                  </a:lnTo>
                  <a:lnTo>
                    <a:pt x="1" y="895"/>
                  </a:lnTo>
                  <a:lnTo>
                    <a:pt x="3" y="920"/>
                  </a:lnTo>
                  <a:lnTo>
                    <a:pt x="6" y="944"/>
                  </a:lnTo>
                  <a:lnTo>
                    <a:pt x="11" y="967"/>
                  </a:lnTo>
                  <a:lnTo>
                    <a:pt x="18" y="990"/>
                  </a:lnTo>
                  <a:lnTo>
                    <a:pt x="26" y="1012"/>
                  </a:lnTo>
                  <a:lnTo>
                    <a:pt x="31" y="1022"/>
                  </a:lnTo>
                  <a:lnTo>
                    <a:pt x="36" y="1033"/>
                  </a:lnTo>
                  <a:lnTo>
                    <a:pt x="41" y="1043"/>
                  </a:lnTo>
                  <a:lnTo>
                    <a:pt x="47" y="1053"/>
                  </a:lnTo>
                  <a:lnTo>
                    <a:pt x="54" y="1062"/>
                  </a:lnTo>
                  <a:lnTo>
                    <a:pt x="61" y="1071"/>
                  </a:lnTo>
                  <a:lnTo>
                    <a:pt x="68" y="1080"/>
                  </a:lnTo>
                  <a:lnTo>
                    <a:pt x="76" y="1088"/>
                  </a:lnTo>
                  <a:lnTo>
                    <a:pt x="84" y="1095"/>
                  </a:lnTo>
                  <a:lnTo>
                    <a:pt x="93" y="1102"/>
                  </a:lnTo>
                  <a:lnTo>
                    <a:pt x="102" y="1108"/>
                  </a:lnTo>
                  <a:lnTo>
                    <a:pt x="112" y="1114"/>
                  </a:lnTo>
                  <a:lnTo>
                    <a:pt x="122" y="1119"/>
                  </a:lnTo>
                  <a:lnTo>
                    <a:pt x="133" y="1124"/>
                  </a:lnTo>
                  <a:lnTo>
                    <a:pt x="144" y="1128"/>
                  </a:lnTo>
                  <a:lnTo>
                    <a:pt x="156" y="1131"/>
                  </a:lnTo>
                  <a:lnTo>
                    <a:pt x="170" y="1134"/>
                  </a:lnTo>
                  <a:lnTo>
                    <a:pt x="183" y="1136"/>
                  </a:lnTo>
                  <a:lnTo>
                    <a:pt x="196" y="1137"/>
                  </a:lnTo>
                  <a:lnTo>
                    <a:pt x="210" y="1137"/>
                  </a:lnTo>
                  <a:lnTo>
                    <a:pt x="231" y="1137"/>
                  </a:lnTo>
                  <a:lnTo>
                    <a:pt x="250" y="1135"/>
                  </a:lnTo>
                  <a:lnTo>
                    <a:pt x="268" y="1132"/>
                  </a:lnTo>
                  <a:lnTo>
                    <a:pt x="285" y="1127"/>
                  </a:lnTo>
                  <a:lnTo>
                    <a:pt x="300" y="1122"/>
                  </a:lnTo>
                  <a:lnTo>
                    <a:pt x="315" y="1115"/>
                  </a:lnTo>
                  <a:lnTo>
                    <a:pt x="329" y="1107"/>
                  </a:lnTo>
                  <a:lnTo>
                    <a:pt x="343" y="1098"/>
                  </a:lnTo>
                  <a:lnTo>
                    <a:pt x="355" y="1088"/>
                  </a:lnTo>
                  <a:lnTo>
                    <a:pt x="367" y="1078"/>
                  </a:lnTo>
                  <a:lnTo>
                    <a:pt x="378" y="1066"/>
                  </a:lnTo>
                  <a:lnTo>
                    <a:pt x="389" y="1053"/>
                  </a:lnTo>
                  <a:lnTo>
                    <a:pt x="399" y="1038"/>
                  </a:lnTo>
                  <a:lnTo>
                    <a:pt x="408" y="1023"/>
                  </a:lnTo>
                  <a:lnTo>
                    <a:pt x="418" y="1008"/>
                  </a:lnTo>
                  <a:lnTo>
                    <a:pt x="427" y="992"/>
                  </a:lnTo>
                  <a:lnTo>
                    <a:pt x="403" y="1121"/>
                  </a:lnTo>
                  <a:lnTo>
                    <a:pt x="516" y="1121"/>
                  </a:lnTo>
                  <a:lnTo>
                    <a:pt x="734" y="0"/>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52" name="Freeform 39"/>
            <p:cNvSpPr>
              <a:spLocks/>
            </p:cNvSpPr>
            <p:nvPr userDrawn="1">
              <p:custDataLst>
                <p:tags r:id="rId38"/>
              </p:custDataLst>
            </p:nvPr>
          </p:nvSpPr>
          <p:spPr bwMode="gray">
            <a:xfrm>
              <a:off x="3951288" y="3887788"/>
              <a:ext cx="38100" cy="33337"/>
            </a:xfrm>
            <a:custGeom>
              <a:avLst/>
              <a:gdLst/>
              <a:ahLst/>
              <a:cxnLst>
                <a:cxn ang="0">
                  <a:pos x="154" y="161"/>
                </a:cxn>
                <a:cxn ang="0">
                  <a:pos x="0" y="161"/>
                </a:cxn>
                <a:cxn ang="0">
                  <a:pos x="24" y="0"/>
                </a:cxn>
                <a:cxn ang="0">
                  <a:pos x="186" y="0"/>
                </a:cxn>
                <a:cxn ang="0">
                  <a:pos x="154" y="161"/>
                </a:cxn>
              </a:cxnLst>
              <a:rect l="0" t="0" r="r" b="b"/>
              <a:pathLst>
                <a:path w="186" h="161">
                  <a:moveTo>
                    <a:pt x="154" y="161"/>
                  </a:moveTo>
                  <a:lnTo>
                    <a:pt x="0" y="161"/>
                  </a:lnTo>
                  <a:lnTo>
                    <a:pt x="24" y="0"/>
                  </a:lnTo>
                  <a:lnTo>
                    <a:pt x="186" y="0"/>
                  </a:lnTo>
                  <a:lnTo>
                    <a:pt x="154" y="161"/>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grpSp>
      <p:sp>
        <p:nvSpPr>
          <p:cNvPr id="53" name="AMC_Footer"/>
          <p:cNvSpPr txBox="1">
            <a:spLocks/>
          </p:cNvSpPr>
          <p:nvPr userDrawn="1"/>
        </p:nvSpPr>
        <p:spPr>
          <a:xfrm>
            <a:off x="250823" y="6669360"/>
            <a:ext cx="6264000"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GB" sz="800" b="1" dirty="0" smtClean="0">
                <a:solidFill>
                  <a:prstClr val="black"/>
                </a:solidFill>
                <a:cs typeface="Arial" charset="0"/>
              </a:rPr>
              <a:t>Confidential - Do Not forward  - For Internal Management Planning purposes. </a:t>
            </a:r>
            <a:r>
              <a:rPr lang="en-GB" sz="800" dirty="0" smtClean="0">
                <a:solidFill>
                  <a:prstClr val="black"/>
                </a:solidFill>
                <a:cs typeface="Arial" pitchFamily="34" charset="0"/>
              </a:rPr>
              <a:t>Copyright © 2013 Accenture. All rights reserved.</a:t>
            </a:r>
            <a:endParaRPr lang="en-GB" sz="800" dirty="0">
              <a:solidFill>
                <a:prstClr val="black"/>
              </a:solidFill>
              <a:cs typeface="Arial" pitchFamily="34" charset="0"/>
            </a:endParaRPr>
          </a:p>
        </p:txBody>
      </p:sp>
    </p:spTree>
    <p:extLst>
      <p:ext uri="{BB962C8B-B14F-4D97-AF65-F5344CB8AC3E}">
        <p14:creationId xmlns:p14="http://schemas.microsoft.com/office/powerpoint/2010/main" val="1937518456"/>
      </p:ext>
    </p:extLst>
  </p:cSld>
  <p:clrMapOvr>
    <a:masterClrMapping/>
  </p:clrMapOvr>
  <p:timing>
    <p:tnLst>
      <p:par>
        <p:cTn id="1" dur="indefinite" restart="never" nodeType="tmRoot"/>
      </p:par>
    </p:tnLst>
  </p:timing>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90CBDC3A-D49F-4631-A8C7-55D59B33E5FA}" type="slidenum">
              <a:rPr lang="en-US" smtClean="0"/>
              <a:pPr>
                <a:defRPr/>
              </a:pPr>
              <a:t>‹#›</a:t>
            </a:fld>
            <a:endParaRPr lang="en-US" dirty="0"/>
          </a:p>
        </p:txBody>
      </p:sp>
      <p:sp>
        <p:nvSpPr>
          <p:cNvPr id="5" name="Title 4"/>
          <p:cNvSpPr>
            <a:spLocks noGrp="1"/>
          </p:cNvSpPr>
          <p:nvPr>
            <p:ph type="title"/>
          </p:nvPr>
        </p:nvSpPr>
        <p:spPr/>
        <p:txBody>
          <a:bodyPr/>
          <a:lstStyle/>
          <a:p>
            <a:r>
              <a:rPr lang="en-US" smtClean="0"/>
              <a:t>Click to edit Master title style</a:t>
            </a:r>
            <a:endParaRPr lang="en-AU"/>
          </a:p>
        </p:txBody>
      </p:sp>
      <p:sp>
        <p:nvSpPr>
          <p:cNvPr id="2" name="Footer Placeholder 1"/>
          <p:cNvSpPr>
            <a:spLocks noGrp="1"/>
          </p:cNvSpPr>
          <p:nvPr>
            <p:ph type="ftr" sz="quarter" idx="12"/>
          </p:nvPr>
        </p:nvSpPr>
        <p:spPr>
          <a:xfrm>
            <a:off x="458788" y="6324600"/>
            <a:ext cx="4489450" cy="457200"/>
          </a:xfrm>
          <a:prstGeom prst="rect">
            <a:avLst/>
          </a:prstGeom>
        </p:spPr>
        <p:txBody>
          <a:bodyPr/>
          <a:lstStyle/>
          <a:p>
            <a:r>
              <a:rPr lang="en-AU" smtClean="0"/>
              <a:t>Copyright © 2013 Accenture  All rights reserved.</a:t>
            </a:r>
            <a:endParaRPr lang="en-AU" dirty="0"/>
          </a:p>
        </p:txBody>
      </p:sp>
    </p:spTree>
    <p:extLst>
      <p:ext uri="{BB962C8B-B14F-4D97-AF65-F5344CB8AC3E}">
        <p14:creationId xmlns:p14="http://schemas.microsoft.com/office/powerpoint/2010/main" val="204447454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GB" dirty="0" smtClean="0"/>
              <a:t>Click to edit Master title style</a:t>
            </a:r>
            <a:endParaRPr lang="en-GB"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GB" dirty="0"/>
          </a:p>
        </p:txBody>
      </p:sp>
      <p:sp>
        <p:nvSpPr>
          <p:cNvPr id="4" name="Date Placeholder 3"/>
          <p:cNvSpPr>
            <a:spLocks noGrp="1"/>
          </p:cNvSpPr>
          <p:nvPr>
            <p:ph type="dt" sz="half" idx="10"/>
          </p:nvPr>
        </p:nvSpPr>
        <p:spPr/>
        <p:txBody>
          <a:bodyPr/>
          <a:lstStyle/>
          <a:p>
            <a:fld id="{BE0B76D7-FDBC-489E-9237-2935B94CB01D}" type="datetimeFigureOut">
              <a:rPr lang="en-GB" smtClean="0">
                <a:solidFill>
                  <a:prstClr val="black">
                    <a:tint val="75000"/>
                  </a:prstClr>
                </a:solidFill>
              </a:rPr>
              <a:pPr/>
              <a:t>10/12/2014</a:t>
            </a:fld>
            <a:endParaRPr lang="en-GB"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GB"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3A76D019-A1B2-451D-8550-ADC4714D8A0F}"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38132038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Date Placeholder 3"/>
          <p:cNvSpPr>
            <a:spLocks noGrp="1"/>
          </p:cNvSpPr>
          <p:nvPr>
            <p:ph type="dt" sz="half" idx="10"/>
          </p:nvPr>
        </p:nvSpPr>
        <p:spPr/>
        <p:txBody>
          <a:bodyPr/>
          <a:lstStyle/>
          <a:p>
            <a:fld id="{BE0B76D7-FDBC-489E-9237-2935B94CB01D}" type="datetimeFigureOut">
              <a:rPr lang="en-GB" smtClean="0">
                <a:solidFill>
                  <a:prstClr val="black">
                    <a:tint val="75000"/>
                  </a:prstClr>
                </a:solidFill>
              </a:rPr>
              <a:pPr/>
              <a:t>10/12/2014</a:t>
            </a:fld>
            <a:endParaRPr lang="en-GB"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GB"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3A76D019-A1B2-451D-8550-ADC4714D8A0F}"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3515865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GB" dirty="0" smtClean="0"/>
              <a:t>Click to edit Master title style</a:t>
            </a:r>
            <a:endParaRPr lang="en-GB"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smtClean="0"/>
              <a:t>Click to edit Master text styles</a:t>
            </a:r>
          </a:p>
        </p:txBody>
      </p:sp>
      <p:sp>
        <p:nvSpPr>
          <p:cNvPr id="4" name="Date Placeholder 3"/>
          <p:cNvSpPr>
            <a:spLocks noGrp="1"/>
          </p:cNvSpPr>
          <p:nvPr>
            <p:ph type="dt" sz="half" idx="10"/>
          </p:nvPr>
        </p:nvSpPr>
        <p:spPr/>
        <p:txBody>
          <a:bodyPr/>
          <a:lstStyle/>
          <a:p>
            <a:fld id="{BE0B76D7-FDBC-489E-9237-2935B94CB01D}" type="datetimeFigureOut">
              <a:rPr lang="en-GB" smtClean="0">
                <a:solidFill>
                  <a:prstClr val="black">
                    <a:tint val="75000"/>
                  </a:prstClr>
                </a:solidFill>
              </a:rPr>
              <a:pPr/>
              <a:t>10/12/2014</a:t>
            </a:fld>
            <a:endParaRPr lang="en-GB"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GB"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3A76D019-A1B2-451D-8550-ADC4714D8A0F}"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1615689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Date Placeholder 4"/>
          <p:cNvSpPr>
            <a:spLocks noGrp="1"/>
          </p:cNvSpPr>
          <p:nvPr>
            <p:ph type="dt" sz="half" idx="10"/>
          </p:nvPr>
        </p:nvSpPr>
        <p:spPr/>
        <p:txBody>
          <a:bodyPr/>
          <a:lstStyle/>
          <a:p>
            <a:fld id="{BE0B76D7-FDBC-489E-9237-2935B94CB01D}" type="datetimeFigureOut">
              <a:rPr lang="en-GB" smtClean="0">
                <a:solidFill>
                  <a:prstClr val="black">
                    <a:tint val="75000"/>
                  </a:prstClr>
                </a:solidFill>
              </a:rPr>
              <a:pPr/>
              <a:t>10/12/2014</a:t>
            </a:fld>
            <a:endParaRPr lang="en-GB"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GB"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3A76D019-A1B2-451D-8550-ADC4714D8A0F}"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1017675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dirty="0" smtClean="0"/>
              <a:t>Click to edit Master title style</a:t>
            </a:r>
            <a:endParaRPr lang="en-GB"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Date Placeholder 6"/>
          <p:cNvSpPr>
            <a:spLocks noGrp="1"/>
          </p:cNvSpPr>
          <p:nvPr>
            <p:ph type="dt" sz="half" idx="10"/>
          </p:nvPr>
        </p:nvSpPr>
        <p:spPr/>
        <p:txBody>
          <a:bodyPr/>
          <a:lstStyle/>
          <a:p>
            <a:fld id="{BE0B76D7-FDBC-489E-9237-2935B94CB01D}" type="datetimeFigureOut">
              <a:rPr lang="en-GB" smtClean="0">
                <a:solidFill>
                  <a:prstClr val="black">
                    <a:tint val="75000"/>
                  </a:prstClr>
                </a:solidFill>
              </a:rPr>
              <a:pPr/>
              <a:t>10/12/2014</a:t>
            </a:fld>
            <a:endParaRPr lang="en-GB"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GB"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3A76D019-A1B2-451D-8550-ADC4714D8A0F}"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0884553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3" name="Date Placeholder 2"/>
          <p:cNvSpPr>
            <a:spLocks noGrp="1"/>
          </p:cNvSpPr>
          <p:nvPr>
            <p:ph type="dt" sz="half" idx="10"/>
          </p:nvPr>
        </p:nvSpPr>
        <p:spPr/>
        <p:txBody>
          <a:bodyPr/>
          <a:lstStyle/>
          <a:p>
            <a:fld id="{BE0B76D7-FDBC-489E-9237-2935B94CB01D}" type="datetimeFigureOut">
              <a:rPr lang="en-GB" smtClean="0">
                <a:solidFill>
                  <a:prstClr val="black">
                    <a:tint val="75000"/>
                  </a:prstClr>
                </a:solidFill>
              </a:rPr>
              <a:pPr/>
              <a:t>10/12/2014</a:t>
            </a:fld>
            <a:endParaRPr lang="en-GB"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GB"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3A76D019-A1B2-451D-8550-ADC4714D8A0F}"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1702913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E0B76D7-FDBC-489E-9237-2935B94CB01D}" type="datetimeFigureOut">
              <a:rPr lang="en-GB" smtClean="0">
                <a:solidFill>
                  <a:prstClr val="black">
                    <a:tint val="75000"/>
                  </a:prstClr>
                </a:solidFill>
              </a:rPr>
              <a:pPr/>
              <a:t>10/12/2014</a:t>
            </a:fld>
            <a:endParaRPr lang="en-GB"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GB"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3A76D019-A1B2-451D-8550-ADC4714D8A0F}"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33278756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GB" dirty="0" smtClean="0"/>
              <a:t>Click to edit Master title style</a:t>
            </a:r>
            <a:endParaRPr lang="en-GB" dirty="0"/>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dirty="0" smtClean="0"/>
              <a:t>Click to edit Master text styles</a:t>
            </a:r>
          </a:p>
        </p:txBody>
      </p:sp>
      <p:sp>
        <p:nvSpPr>
          <p:cNvPr id="5" name="Date Placeholder 4"/>
          <p:cNvSpPr>
            <a:spLocks noGrp="1"/>
          </p:cNvSpPr>
          <p:nvPr>
            <p:ph type="dt" sz="half" idx="10"/>
          </p:nvPr>
        </p:nvSpPr>
        <p:spPr/>
        <p:txBody>
          <a:bodyPr/>
          <a:lstStyle/>
          <a:p>
            <a:fld id="{BE0B76D7-FDBC-489E-9237-2935B94CB01D}" type="datetimeFigureOut">
              <a:rPr lang="en-GB" smtClean="0">
                <a:solidFill>
                  <a:prstClr val="black">
                    <a:tint val="75000"/>
                  </a:prstClr>
                </a:solidFill>
              </a:rPr>
              <a:pPr/>
              <a:t>10/12/2014</a:t>
            </a:fld>
            <a:endParaRPr lang="en-GB"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GB"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3A76D019-A1B2-451D-8550-ADC4714D8A0F}"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22903976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GB" dirty="0" smtClean="0"/>
              <a:t>Click to edit Master title style</a:t>
            </a:r>
            <a:endParaRPr lang="en-GB" dirty="0"/>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GB"/>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dirty="0" smtClean="0"/>
              <a:t>Click to edit Master text styles</a:t>
            </a:r>
          </a:p>
        </p:txBody>
      </p:sp>
      <p:sp>
        <p:nvSpPr>
          <p:cNvPr id="5" name="Date Placeholder 4"/>
          <p:cNvSpPr>
            <a:spLocks noGrp="1"/>
          </p:cNvSpPr>
          <p:nvPr>
            <p:ph type="dt" sz="half" idx="10"/>
          </p:nvPr>
        </p:nvSpPr>
        <p:spPr/>
        <p:txBody>
          <a:bodyPr/>
          <a:lstStyle/>
          <a:p>
            <a:fld id="{BE0B76D7-FDBC-489E-9237-2935B94CB01D}" type="datetimeFigureOut">
              <a:rPr lang="en-GB" smtClean="0">
                <a:solidFill>
                  <a:prstClr val="black">
                    <a:tint val="75000"/>
                  </a:prstClr>
                </a:solidFill>
              </a:rPr>
              <a:pPr/>
              <a:t>10/12/2014</a:t>
            </a:fld>
            <a:endParaRPr lang="en-GB"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GB"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3A76D019-A1B2-451D-8550-ADC4714D8A0F}"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33946621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Rectangle 4"/>
          <p:cNvSpPr>
            <a:spLocks noGrp="1" noChangeArrowheads="1"/>
          </p:cNvSpPr>
          <p:nvPr>
            <p:ph idx="1"/>
          </p:nvPr>
        </p:nvSpPr>
        <p:spPr bwMode="gray">
          <a:xfrm>
            <a:off x="323527" y="1052740"/>
            <a:ext cx="8496945" cy="5472607"/>
          </a:xfrm>
          <a:prstGeom prst="rect">
            <a:avLst/>
          </a:prstGeom>
          <a:noFill/>
          <a:ln w="12700">
            <a:noFill/>
            <a:miter lim="800000"/>
            <a:headEnd/>
            <a:tailEnd/>
          </a:ln>
          <a:effectLst/>
        </p:spPr>
        <p:txBody>
          <a:bodyPr vert="horz" wrap="square" lIns="90488" tIns="44450" rIns="90488" bIns="44450" numCol="1" anchor="t" anchorCtr="0" compatLnSpc="1">
            <a:prstTxWarp prst="textNoShape">
              <a:avLst/>
            </a:prstTxWarp>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7" name="Rectangle 5"/>
          <p:cNvSpPr>
            <a:spLocks noGrp="1" noChangeArrowheads="1"/>
          </p:cNvSpPr>
          <p:nvPr>
            <p:ph type="sldNum" sz="quarter" idx="4"/>
          </p:nvPr>
        </p:nvSpPr>
        <p:spPr bwMode="gray">
          <a:xfrm>
            <a:off x="7164388" y="6511929"/>
            <a:ext cx="1693862" cy="269875"/>
          </a:xfrm>
          <a:prstGeom prst="rect">
            <a:avLst/>
          </a:prstGeom>
          <a:noFill/>
          <a:ln w="12700">
            <a:noFill/>
            <a:miter lim="800000"/>
            <a:headEnd/>
            <a:tailEnd/>
          </a:ln>
          <a:effectLst/>
        </p:spPr>
        <p:txBody>
          <a:bodyPr vert="horz" wrap="square" lIns="90488" tIns="44450" rIns="90488" bIns="44450" numCol="1" anchor="b" anchorCtr="0" compatLnSpc="1">
            <a:prstTxWarp prst="textNoShape">
              <a:avLst/>
            </a:prstTxWarp>
          </a:bodyPr>
          <a:lstStyle>
            <a:lvl1pPr algn="r">
              <a:defRPr sz="1000" b="0"/>
            </a:lvl1pPr>
          </a:lstStyle>
          <a:p>
            <a:fld id="{46E3B560-07B0-4853-AE85-4967240282D4}" type="slidenum">
              <a:rPr lang="en-GB" smtClean="0"/>
              <a:pPr/>
              <a:t>‹#›</a:t>
            </a:fld>
            <a:endParaRPr lang="en-GB" dirty="0"/>
          </a:p>
        </p:txBody>
      </p:sp>
      <p:sp>
        <p:nvSpPr>
          <p:cNvPr id="8" name="Rectangle 6"/>
          <p:cNvSpPr>
            <a:spLocks noGrp="1" noChangeArrowheads="1"/>
          </p:cNvSpPr>
          <p:nvPr>
            <p:ph type="ftr" sz="quarter" idx="3"/>
          </p:nvPr>
        </p:nvSpPr>
        <p:spPr bwMode="gray">
          <a:xfrm>
            <a:off x="458788" y="6324600"/>
            <a:ext cx="4489450" cy="457200"/>
          </a:xfrm>
          <a:prstGeom prst="rect">
            <a:avLst/>
          </a:prstGeom>
          <a:noFill/>
          <a:ln w="12700">
            <a:noFill/>
            <a:miter lim="800000"/>
            <a:headEnd/>
            <a:tailEnd/>
          </a:ln>
          <a:effectLst/>
        </p:spPr>
        <p:txBody>
          <a:bodyPr vert="horz" wrap="square" lIns="91440" tIns="45720" rIns="91440" bIns="45720" numCol="1" anchor="b" anchorCtr="0" compatLnSpc="1">
            <a:prstTxWarp prst="textNoShape">
              <a:avLst/>
            </a:prstTxWarp>
          </a:bodyPr>
          <a:lstStyle>
            <a:lvl1pPr>
              <a:lnSpc>
                <a:spcPct val="100000"/>
              </a:lnSpc>
              <a:defRPr sz="1000" b="0"/>
            </a:lvl1pPr>
          </a:lstStyle>
          <a:p>
            <a:r>
              <a:rPr lang="en-GB" dirty="0" smtClean="0"/>
              <a:t>Copyright © 2013 Accenture All Rights Reserved.</a:t>
            </a:r>
            <a:endParaRPr lang="en-GB" dirty="0"/>
          </a:p>
        </p:txBody>
      </p:sp>
      <p:sp>
        <p:nvSpPr>
          <p:cNvPr id="9" name="Rectangle 7"/>
          <p:cNvSpPr>
            <a:spLocks noGrp="1" noChangeArrowheads="1"/>
          </p:cNvSpPr>
          <p:nvPr>
            <p:ph type="title"/>
          </p:nvPr>
        </p:nvSpPr>
        <p:spPr bwMode="gray">
          <a:xfrm>
            <a:off x="296228" y="129310"/>
            <a:ext cx="8524244" cy="779410"/>
          </a:xfrm>
          <a:prstGeom prst="rect">
            <a:avLst/>
          </a:prstGeom>
          <a:noFill/>
          <a:ln w="12700">
            <a:noFill/>
            <a:miter lim="800000"/>
            <a:headEnd/>
            <a:tailEnd/>
          </a:ln>
          <a:effectLst/>
        </p:spPr>
        <p:txBody>
          <a:bodyPr vert="horz" wrap="square" lIns="90488" tIns="44450" rIns="90488" bIns="44450" numCol="1" anchor="b" anchorCtr="0" compatLnSpc="1">
            <a:prstTxWarp prst="textNoShape">
              <a:avLst/>
            </a:prstTxWarp>
          </a:bodyPr>
          <a:lstStyle>
            <a:lvl1pPr>
              <a:defRPr sz="2800">
                <a:latin typeface="+mj-lt"/>
              </a:defRPr>
            </a:lvl1pPr>
          </a:lstStyle>
          <a:p>
            <a:pPr lvl="0"/>
            <a:r>
              <a:rPr lang="en-GB" dirty="0" smtClean="0"/>
              <a:t>Click to edit Master title style</a:t>
            </a:r>
          </a:p>
        </p:txBody>
      </p:sp>
    </p:spTree>
    <p:extLst>
      <p:ext uri="{BB962C8B-B14F-4D97-AF65-F5344CB8AC3E}">
        <p14:creationId xmlns:p14="http://schemas.microsoft.com/office/powerpoint/2010/main" val="1045527591"/>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3" name="Vertical Text Placeholder 2"/>
          <p:cNvSpPr>
            <a:spLocks noGrp="1"/>
          </p:cNvSpPr>
          <p:nvPr>
            <p:ph type="body" orient="vert" idx="1"/>
          </p:nvPr>
        </p:nvSpPr>
        <p:spPr/>
        <p:txBody>
          <a:bodyPr vert="eaVert"/>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Date Placeholder 3"/>
          <p:cNvSpPr>
            <a:spLocks noGrp="1"/>
          </p:cNvSpPr>
          <p:nvPr>
            <p:ph type="dt" sz="half" idx="10"/>
          </p:nvPr>
        </p:nvSpPr>
        <p:spPr/>
        <p:txBody>
          <a:bodyPr/>
          <a:lstStyle/>
          <a:p>
            <a:fld id="{BE0B76D7-FDBC-489E-9237-2935B94CB01D}" type="datetimeFigureOut">
              <a:rPr lang="en-GB" smtClean="0">
                <a:solidFill>
                  <a:prstClr val="black">
                    <a:tint val="75000"/>
                  </a:prstClr>
                </a:solidFill>
              </a:rPr>
              <a:pPr/>
              <a:t>10/12/2014</a:t>
            </a:fld>
            <a:endParaRPr lang="en-GB"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GB"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3A76D019-A1B2-451D-8550-ADC4714D8A0F}"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285078716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GB" dirty="0" smtClean="0"/>
              <a:t>Click to edit Master title style</a:t>
            </a:r>
            <a:endParaRPr lang="en-GB" dirty="0"/>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Date Placeholder 3"/>
          <p:cNvSpPr>
            <a:spLocks noGrp="1"/>
          </p:cNvSpPr>
          <p:nvPr>
            <p:ph type="dt" sz="half" idx="10"/>
          </p:nvPr>
        </p:nvSpPr>
        <p:spPr/>
        <p:txBody>
          <a:bodyPr/>
          <a:lstStyle/>
          <a:p>
            <a:fld id="{BE0B76D7-FDBC-489E-9237-2935B94CB01D}" type="datetimeFigureOut">
              <a:rPr lang="en-GB" smtClean="0">
                <a:solidFill>
                  <a:prstClr val="black">
                    <a:tint val="75000"/>
                  </a:prstClr>
                </a:solidFill>
              </a:rPr>
              <a:pPr/>
              <a:t>10/12/2014</a:t>
            </a:fld>
            <a:endParaRPr lang="en-GB"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GB"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3A76D019-A1B2-451D-8550-ADC4714D8A0F}"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304662304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3074" name="Picture 2" descr="C:\Users\joel.manstoff\Documents\DCSC\Monsoon\working drafts\Road_to_clouds_jpg.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Q:\Clients\Accenture\Laurie Shiro - 09-2438 - Technology Word document\Working Files\Illustrator\Outsourcing title.png"/>
          <p:cNvPicPr>
            <a:picLocks noChangeAspect="1" noChangeArrowheads="1"/>
          </p:cNvPicPr>
          <p:nvPr userDrawn="1"/>
        </p:nvPicPr>
        <p:blipFill>
          <a:blip r:embed="rId3" cstate="email"/>
          <a:stretch>
            <a:fillRect/>
          </a:stretch>
        </p:blipFill>
        <p:spPr bwMode="auto">
          <a:xfrm>
            <a:off x="500803" y="3741306"/>
            <a:ext cx="1323975" cy="323850"/>
          </a:xfrm>
          <a:prstGeom prst="rect">
            <a:avLst/>
          </a:prstGeom>
          <a:noFill/>
          <a:ln>
            <a:noFill/>
          </a:ln>
        </p:spPr>
      </p:pic>
      <p:sp>
        <p:nvSpPr>
          <p:cNvPr id="21511" name="Rectangle 7"/>
          <p:cNvSpPr>
            <a:spLocks noGrp="1" noChangeArrowheads="1"/>
          </p:cNvSpPr>
          <p:nvPr>
            <p:ph type="ctrTitle" sz="quarter"/>
          </p:nvPr>
        </p:nvSpPr>
        <p:spPr>
          <a:xfrm>
            <a:off x="376511" y="4135270"/>
            <a:ext cx="6443663" cy="656832"/>
          </a:xfrm>
          <a:ln w="9525"/>
        </p:spPr>
        <p:txBody>
          <a:bodyPr lIns="91440" tIns="45720" rIns="91440" bIns="45720" anchor="t"/>
          <a:lstStyle>
            <a:lvl1pPr>
              <a:lnSpc>
                <a:spcPct val="90000"/>
              </a:lnSpc>
              <a:defRPr sz="3200" b="0">
                <a:solidFill>
                  <a:schemeClr val="bg1"/>
                </a:solidFill>
              </a:defRPr>
            </a:lvl1pPr>
          </a:lstStyle>
          <a:p>
            <a:r>
              <a:rPr lang="en-GB" dirty="0" smtClean="0"/>
              <a:t>Click to edit Master title style</a:t>
            </a:r>
            <a:endParaRPr lang="en-GB" dirty="0"/>
          </a:p>
        </p:txBody>
      </p:sp>
      <p:sp>
        <p:nvSpPr>
          <p:cNvPr id="21512" name="Rectangle 8"/>
          <p:cNvSpPr>
            <a:spLocks noGrp="1" noChangeArrowheads="1"/>
          </p:cNvSpPr>
          <p:nvPr>
            <p:ph type="subTitle" sz="quarter" idx="1"/>
          </p:nvPr>
        </p:nvSpPr>
        <p:spPr>
          <a:xfrm>
            <a:off x="399204" y="4814718"/>
            <a:ext cx="6438900" cy="555811"/>
          </a:xfrm>
          <a:ln w="9525"/>
        </p:spPr>
        <p:txBody>
          <a:bodyPr lIns="91440" tIns="45720" rIns="91440" bIns="45720"/>
          <a:lstStyle>
            <a:lvl1pPr marL="0" indent="0">
              <a:buFontTx/>
              <a:buNone/>
              <a:defRPr sz="2000">
                <a:solidFill>
                  <a:schemeClr val="bg1"/>
                </a:solidFill>
              </a:defRPr>
            </a:lvl1pPr>
          </a:lstStyle>
          <a:p>
            <a:r>
              <a:rPr lang="en-GB" dirty="0" smtClean="0"/>
              <a:t>Click to edit Master subtitle style</a:t>
            </a:r>
            <a:endParaRPr lang="en-GB" dirty="0"/>
          </a:p>
        </p:txBody>
      </p:sp>
      <p:pic>
        <p:nvPicPr>
          <p:cNvPr id="10" name="Picture 9" descr="Acc_Sig_orange_rgb.emf"/>
          <p:cNvPicPr>
            <a:picLocks noChangeAspect="1"/>
          </p:cNvPicPr>
          <p:nvPr userDrawn="1"/>
        </p:nvPicPr>
        <p:blipFill>
          <a:blip r:embed="rId4" cstate="print"/>
          <a:stretch>
            <a:fillRect/>
          </a:stretch>
        </p:blipFill>
        <p:spPr>
          <a:xfrm>
            <a:off x="490880" y="5594341"/>
            <a:ext cx="2880000" cy="832500"/>
          </a:xfrm>
          <a:prstGeom prst="rect">
            <a:avLst/>
          </a:prstGeom>
        </p:spPr>
      </p:pic>
      <p:cxnSp>
        <p:nvCxnSpPr>
          <p:cNvPr id="13" name="Straight Connector 12"/>
          <p:cNvCxnSpPr/>
          <p:nvPr userDrawn="1"/>
        </p:nvCxnSpPr>
        <p:spPr bwMode="auto">
          <a:xfrm>
            <a:off x="497866" y="6580385"/>
            <a:ext cx="8646136" cy="0"/>
          </a:xfrm>
          <a:prstGeom prst="line">
            <a:avLst/>
          </a:prstGeom>
          <a:solidFill>
            <a:schemeClr val="accent1"/>
          </a:solidFill>
          <a:ln w="12700" cap="flat" cmpd="sng" algn="ctr">
            <a:solidFill>
              <a:schemeClr val="bg1"/>
            </a:solidFill>
            <a:prstDash val="solid"/>
            <a:round/>
            <a:headEnd type="none" w="med" len="med"/>
            <a:tailEnd type="none" w="med" len="med"/>
          </a:ln>
          <a:effectLst/>
        </p:spPr>
      </p:cxnSp>
      <p:pic>
        <p:nvPicPr>
          <p:cNvPr id="14" name="Picture 13" descr="Acc_StrategyLine_English_blk_white.emf"/>
          <p:cNvPicPr>
            <a:picLocks noChangeAspect="1"/>
          </p:cNvPicPr>
          <p:nvPr userDrawn="1"/>
        </p:nvPicPr>
        <p:blipFill>
          <a:blip r:embed="rId5" cstate="print"/>
          <a:stretch>
            <a:fillRect/>
          </a:stretch>
        </p:blipFill>
        <p:spPr>
          <a:xfrm>
            <a:off x="5503120" y="6252103"/>
            <a:ext cx="3150000" cy="225000"/>
          </a:xfrm>
          <a:prstGeom prst="rect">
            <a:avLst/>
          </a:prstGeom>
        </p:spPr>
      </p:pic>
      <p:pic>
        <p:nvPicPr>
          <p:cNvPr id="15" name="Picture 14" descr="ACC_Greater_Than_Lockup_orange_rgb.emf"/>
          <p:cNvPicPr>
            <a:picLocks noChangeAspect="1"/>
          </p:cNvPicPr>
          <p:nvPr userDrawn="1"/>
        </p:nvPicPr>
        <p:blipFill>
          <a:blip r:embed="rId6" cstate="print"/>
          <a:stretch>
            <a:fillRect/>
          </a:stretch>
        </p:blipFill>
        <p:spPr>
          <a:xfrm>
            <a:off x="4516874" y="-327546"/>
            <a:ext cx="4627126" cy="3513375"/>
          </a:xfrm>
          <a:prstGeom prst="rect">
            <a:avLst/>
          </a:prstGeom>
        </p:spPr>
      </p:pic>
    </p:spTree>
    <p:extLst>
      <p:ext uri="{BB962C8B-B14F-4D97-AF65-F5344CB8AC3E}">
        <p14:creationId xmlns:p14="http://schemas.microsoft.com/office/powerpoint/2010/main" val="1789215021"/>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Rectangle 4"/>
          <p:cNvSpPr>
            <a:spLocks noGrp="1" noChangeArrowheads="1"/>
          </p:cNvSpPr>
          <p:nvPr>
            <p:ph idx="1"/>
          </p:nvPr>
        </p:nvSpPr>
        <p:spPr bwMode="gray">
          <a:xfrm>
            <a:off x="323527" y="1052740"/>
            <a:ext cx="8496945" cy="5472607"/>
          </a:xfrm>
          <a:prstGeom prst="rect">
            <a:avLst/>
          </a:prstGeom>
          <a:noFill/>
          <a:ln w="12700">
            <a:noFill/>
            <a:miter lim="800000"/>
            <a:headEnd/>
            <a:tailEnd/>
          </a:ln>
          <a:effectLst/>
        </p:spPr>
        <p:txBody>
          <a:bodyPr vert="horz" wrap="square" lIns="90488" tIns="44450" rIns="90488" bIns="44450" numCol="1" anchor="t" anchorCtr="0" compatLnSpc="1">
            <a:prstTxWarp prst="textNoShape">
              <a:avLst/>
            </a:prstTxWarp>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7" name="Rectangle 5"/>
          <p:cNvSpPr>
            <a:spLocks noGrp="1" noChangeArrowheads="1"/>
          </p:cNvSpPr>
          <p:nvPr>
            <p:ph type="sldNum" sz="quarter" idx="4"/>
          </p:nvPr>
        </p:nvSpPr>
        <p:spPr bwMode="gray">
          <a:xfrm>
            <a:off x="7164388" y="6511929"/>
            <a:ext cx="1693862" cy="269875"/>
          </a:xfrm>
          <a:prstGeom prst="rect">
            <a:avLst/>
          </a:prstGeom>
          <a:noFill/>
          <a:ln w="12700">
            <a:noFill/>
            <a:miter lim="800000"/>
            <a:headEnd/>
            <a:tailEnd/>
          </a:ln>
          <a:effectLst/>
        </p:spPr>
        <p:txBody>
          <a:bodyPr vert="horz" wrap="square" lIns="90488" tIns="44450" rIns="90488" bIns="44450" numCol="1" anchor="b" anchorCtr="0" compatLnSpc="1">
            <a:prstTxWarp prst="textNoShape">
              <a:avLst/>
            </a:prstTxWarp>
          </a:bodyPr>
          <a:lstStyle>
            <a:lvl1pPr algn="r">
              <a:defRPr sz="1000" b="0"/>
            </a:lvl1pPr>
          </a:lstStyle>
          <a:p>
            <a:fld id="{46E3B560-07B0-4853-AE85-4967240282D4}" type="slidenum">
              <a:rPr lang="en-GB" smtClean="0">
                <a:solidFill>
                  <a:srgbClr val="000000"/>
                </a:solidFill>
              </a:rPr>
              <a:pPr/>
              <a:t>‹#›</a:t>
            </a:fld>
            <a:endParaRPr lang="en-GB" dirty="0">
              <a:solidFill>
                <a:srgbClr val="000000"/>
              </a:solidFill>
            </a:endParaRPr>
          </a:p>
        </p:txBody>
      </p:sp>
      <p:sp>
        <p:nvSpPr>
          <p:cNvPr id="8" name="Rectangle 6"/>
          <p:cNvSpPr>
            <a:spLocks noGrp="1" noChangeArrowheads="1"/>
          </p:cNvSpPr>
          <p:nvPr>
            <p:ph type="ftr" sz="quarter" idx="3"/>
          </p:nvPr>
        </p:nvSpPr>
        <p:spPr bwMode="gray">
          <a:xfrm>
            <a:off x="458788" y="6324600"/>
            <a:ext cx="4489450" cy="457200"/>
          </a:xfrm>
          <a:prstGeom prst="rect">
            <a:avLst/>
          </a:prstGeom>
          <a:noFill/>
          <a:ln w="12700">
            <a:noFill/>
            <a:miter lim="800000"/>
            <a:headEnd/>
            <a:tailEnd/>
          </a:ln>
          <a:effectLst/>
        </p:spPr>
        <p:txBody>
          <a:bodyPr vert="horz" wrap="square" lIns="91440" tIns="45720" rIns="91440" bIns="45720" numCol="1" anchor="b" anchorCtr="0" compatLnSpc="1">
            <a:prstTxWarp prst="textNoShape">
              <a:avLst/>
            </a:prstTxWarp>
          </a:bodyPr>
          <a:lstStyle>
            <a:lvl1pPr>
              <a:lnSpc>
                <a:spcPct val="100000"/>
              </a:lnSpc>
              <a:defRPr sz="1000" b="0"/>
            </a:lvl1pPr>
          </a:lstStyle>
          <a:p>
            <a:r>
              <a:rPr lang="en-GB" dirty="0" smtClean="0">
                <a:solidFill>
                  <a:srgbClr val="000000"/>
                </a:solidFill>
              </a:rPr>
              <a:t>Copyright © 2013 Accenture All Rights Reserved.</a:t>
            </a:r>
            <a:endParaRPr lang="en-GB" dirty="0">
              <a:solidFill>
                <a:srgbClr val="000000"/>
              </a:solidFill>
            </a:endParaRPr>
          </a:p>
        </p:txBody>
      </p:sp>
      <p:sp>
        <p:nvSpPr>
          <p:cNvPr id="9" name="Rectangle 7"/>
          <p:cNvSpPr>
            <a:spLocks noGrp="1" noChangeArrowheads="1"/>
          </p:cNvSpPr>
          <p:nvPr>
            <p:ph type="title"/>
          </p:nvPr>
        </p:nvSpPr>
        <p:spPr bwMode="gray">
          <a:xfrm>
            <a:off x="296228" y="129310"/>
            <a:ext cx="8524244" cy="779410"/>
          </a:xfrm>
          <a:prstGeom prst="rect">
            <a:avLst/>
          </a:prstGeom>
          <a:noFill/>
          <a:ln w="12700">
            <a:noFill/>
            <a:miter lim="800000"/>
            <a:headEnd/>
            <a:tailEnd/>
          </a:ln>
          <a:effectLst/>
        </p:spPr>
        <p:txBody>
          <a:bodyPr vert="horz" wrap="square" lIns="90488" tIns="44450" rIns="90488" bIns="44450" numCol="1" anchor="b" anchorCtr="0" compatLnSpc="1">
            <a:prstTxWarp prst="textNoShape">
              <a:avLst/>
            </a:prstTxWarp>
          </a:bodyPr>
          <a:lstStyle>
            <a:lvl1pPr>
              <a:defRPr sz="2800">
                <a:latin typeface="+mj-lt"/>
              </a:defRPr>
            </a:lvl1pPr>
          </a:lstStyle>
          <a:p>
            <a:pPr lvl="0"/>
            <a:r>
              <a:rPr lang="en-GB" dirty="0" smtClean="0"/>
              <a:t>Click to edit Master title style</a:t>
            </a:r>
          </a:p>
        </p:txBody>
      </p:sp>
      <p:cxnSp>
        <p:nvCxnSpPr>
          <p:cNvPr id="10" name="Straight Connector 9"/>
          <p:cNvCxnSpPr/>
          <p:nvPr userDrawn="1"/>
        </p:nvCxnSpPr>
        <p:spPr bwMode="auto">
          <a:xfrm>
            <a:off x="395536" y="908720"/>
            <a:ext cx="8748464" cy="0"/>
          </a:xfrm>
          <a:prstGeom prst="line">
            <a:avLst/>
          </a:prstGeom>
          <a:solidFill>
            <a:schemeClr val="accent1"/>
          </a:solidFill>
          <a:ln w="9525" cap="flat" cmpd="sng" algn="ctr">
            <a:solidFill>
              <a:srgbClr val="0070C0"/>
            </a:solidFill>
            <a:prstDash val="solid"/>
            <a:round/>
            <a:headEnd type="none" w="med" len="med"/>
            <a:tailEnd type="none" w="med" len="med"/>
          </a:ln>
          <a:effectLst/>
        </p:spPr>
      </p:cxnSp>
    </p:spTree>
    <p:extLst>
      <p:ext uri="{BB962C8B-B14F-4D97-AF65-F5344CB8AC3E}">
        <p14:creationId xmlns:p14="http://schemas.microsoft.com/office/powerpoint/2010/main" val="294466284"/>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with Black Signature">
    <p:spTree>
      <p:nvGrpSpPr>
        <p:cNvPr id="1" name=""/>
        <p:cNvGrpSpPr/>
        <p:nvPr/>
      </p:nvGrpSpPr>
      <p:grpSpPr>
        <a:xfrm>
          <a:off x="0" y="0"/>
          <a:ext cx="0" cy="0"/>
          <a:chOff x="0" y="0"/>
          <a:chExt cx="0" cy="0"/>
        </a:xfrm>
      </p:grpSpPr>
      <p:pic>
        <p:nvPicPr>
          <p:cNvPr id="13" name="Picture 9" descr="StrawSwirl.png"/>
          <p:cNvPicPr>
            <a:picLocks noChangeAspect="1"/>
          </p:cNvPicPr>
          <p:nvPr userDrawn="1"/>
        </p:nvPicPr>
        <p:blipFill>
          <a:blip r:embed="rId2" cstate="print"/>
          <a:srcRect t="28233"/>
          <a:stretch>
            <a:fillRect/>
          </a:stretch>
        </p:blipFill>
        <p:spPr bwMode="auto">
          <a:xfrm>
            <a:off x="276232" y="0"/>
            <a:ext cx="4479925" cy="3185088"/>
          </a:xfrm>
          <a:prstGeom prst="rect">
            <a:avLst/>
          </a:prstGeom>
          <a:noFill/>
          <a:ln w="9525">
            <a:noFill/>
            <a:miter lim="800000"/>
            <a:headEnd/>
            <a:tailEnd/>
          </a:ln>
        </p:spPr>
      </p:pic>
      <p:sp>
        <p:nvSpPr>
          <p:cNvPr id="9" name="Text Placeholder 8"/>
          <p:cNvSpPr>
            <a:spLocks noGrp="1"/>
          </p:cNvSpPr>
          <p:nvPr>
            <p:ph type="body" sz="quarter" idx="10" hasCustomPrompt="1"/>
          </p:nvPr>
        </p:nvSpPr>
        <p:spPr>
          <a:xfrm>
            <a:off x="458788" y="3705420"/>
            <a:ext cx="4024312" cy="1233311"/>
          </a:xfrm>
        </p:spPr>
        <p:txBody>
          <a:bodyPr>
            <a:noAutofit/>
          </a:bodyPr>
          <a:lstStyle>
            <a:lvl1pPr marL="0" indent="0">
              <a:lnSpc>
                <a:spcPts val="3900"/>
              </a:lnSpc>
              <a:spcBef>
                <a:spcPts val="0"/>
              </a:spcBef>
              <a:spcAft>
                <a:spcPts val="0"/>
              </a:spcAft>
              <a:buNone/>
              <a:defRPr sz="3600" baseline="0">
                <a:solidFill>
                  <a:schemeClr val="tx1"/>
                </a:solidFill>
              </a:defRPr>
            </a:lvl1pPr>
            <a:lvl2pPr marL="0" indent="0">
              <a:lnSpc>
                <a:spcPct val="100000"/>
              </a:lnSpc>
              <a:spcAft>
                <a:spcPts val="0"/>
              </a:spcAft>
              <a:buNone/>
              <a:defRPr sz="1900">
                <a:solidFill>
                  <a:schemeClr val="bg1"/>
                </a:solidFill>
              </a:defRPr>
            </a:lvl2pPr>
            <a:lvl3pPr marL="467976" indent="0">
              <a:buNone/>
              <a:defRPr/>
            </a:lvl3pPr>
          </a:lstStyle>
          <a:p>
            <a:pPr lvl="0"/>
            <a:r>
              <a:rPr lang="en-GB" dirty="0" smtClean="0"/>
              <a:t>Master Title Slide Headline</a:t>
            </a:r>
          </a:p>
        </p:txBody>
      </p:sp>
      <p:grpSp>
        <p:nvGrpSpPr>
          <p:cNvPr id="4" name="Group 3"/>
          <p:cNvGrpSpPr/>
          <p:nvPr userDrawn="1"/>
        </p:nvGrpSpPr>
        <p:grpSpPr>
          <a:xfrm>
            <a:off x="5701705" y="682761"/>
            <a:ext cx="3074395" cy="2060440"/>
            <a:chOff x="5701703" y="682760"/>
            <a:chExt cx="3074395" cy="2060440"/>
          </a:xfrm>
        </p:grpSpPr>
        <p:sp>
          <p:nvSpPr>
            <p:cNvPr id="5" name="Freeform 4"/>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prstClr val="white"/>
                </a:solidFill>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01703" y="1523009"/>
              <a:ext cx="3074395" cy="251999"/>
            </a:xfrm>
            <a:prstGeom prst="rect">
              <a:avLst/>
            </a:prstGeom>
          </p:spPr>
        </p:pic>
      </p:grpSp>
      <p:grpSp>
        <p:nvGrpSpPr>
          <p:cNvPr id="7" name="Group 6"/>
          <p:cNvGrpSpPr/>
          <p:nvPr userDrawn="1"/>
        </p:nvGrpSpPr>
        <p:grpSpPr>
          <a:xfrm>
            <a:off x="459323" y="5788820"/>
            <a:ext cx="2183716" cy="635721"/>
            <a:chOff x="459321" y="5788818"/>
            <a:chExt cx="2183716" cy="635721"/>
          </a:xfrm>
        </p:grpSpPr>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9321" y="6039743"/>
              <a:ext cx="2183716" cy="384796"/>
            </a:xfrm>
            <a:prstGeom prst="rect">
              <a:avLst/>
            </a:prstGeom>
          </p:spPr>
        </p:pic>
        <p:sp>
          <p:nvSpPr>
            <p:cNvPr id="10" name="Freeform 9"/>
            <p:cNvSpPr/>
            <p:nvPr/>
          </p:nvSpPr>
          <p:spPr>
            <a:xfrm>
              <a:off x="1741785" y="5788818"/>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prstClr val="white"/>
                </a:solidFill>
              </a:endParaRPr>
            </a:p>
          </p:txBody>
        </p:sp>
      </p:grpSp>
      <p:pic>
        <p:nvPicPr>
          <p:cNvPr id="11" name="Picture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173817" y="6279325"/>
            <a:ext cx="2520923" cy="176078"/>
          </a:xfrm>
          <a:prstGeom prst="rect">
            <a:avLst/>
          </a:prstGeom>
        </p:spPr>
      </p:pic>
      <p:cxnSp>
        <p:nvCxnSpPr>
          <p:cNvPr id="12" name="Straight Connector 11"/>
          <p:cNvCxnSpPr/>
          <p:nvPr userDrawn="1"/>
        </p:nvCxnSpPr>
        <p:spPr>
          <a:xfrm>
            <a:off x="457200" y="6570921"/>
            <a:ext cx="86868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1151117"/>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Slide ">
    <p:spTree>
      <p:nvGrpSpPr>
        <p:cNvPr id="1" name=""/>
        <p:cNvGrpSpPr/>
        <p:nvPr/>
      </p:nvGrpSpPr>
      <p:grpSpPr>
        <a:xfrm>
          <a:off x="0" y="0"/>
          <a:ext cx="0" cy="0"/>
          <a:chOff x="0" y="0"/>
          <a:chExt cx="0" cy="0"/>
        </a:xfrm>
      </p:grpSpPr>
      <p:sp>
        <p:nvSpPr>
          <p:cNvPr id="5" name="Text Placeholder 8"/>
          <p:cNvSpPr>
            <a:spLocks noGrp="1"/>
          </p:cNvSpPr>
          <p:nvPr>
            <p:ph type="body" sz="quarter" idx="10" hasCustomPrompt="1"/>
          </p:nvPr>
        </p:nvSpPr>
        <p:spPr>
          <a:xfrm>
            <a:off x="457200" y="3910061"/>
            <a:ext cx="8228013" cy="2622222"/>
          </a:xfrm>
        </p:spPr>
        <p:txBody>
          <a:bodyPr lIns="0" rIns="0" anchor="b" anchorCtr="0">
            <a:noAutofit/>
          </a:bodyPr>
          <a:lstStyle>
            <a:lvl1pPr marL="0" indent="0" algn="l">
              <a:lnSpc>
                <a:spcPts val="3900"/>
              </a:lnSpc>
              <a:spcBef>
                <a:spcPts val="0"/>
              </a:spcBef>
              <a:spcAft>
                <a:spcPts val="0"/>
              </a:spcAft>
              <a:buNone/>
              <a:defRPr sz="4000" b="0" baseline="0">
                <a:solidFill>
                  <a:schemeClr val="bg1"/>
                </a:solidFill>
              </a:defRPr>
            </a:lvl1pPr>
            <a:lvl2pPr marL="0" indent="0">
              <a:lnSpc>
                <a:spcPct val="100000"/>
              </a:lnSpc>
              <a:spcAft>
                <a:spcPts val="0"/>
              </a:spcAft>
              <a:buNone/>
              <a:defRPr sz="1900">
                <a:solidFill>
                  <a:schemeClr val="bg1"/>
                </a:solidFill>
              </a:defRPr>
            </a:lvl2pPr>
            <a:lvl3pPr marL="467976" indent="0">
              <a:buNone/>
              <a:defRPr/>
            </a:lvl3pPr>
          </a:lstStyle>
          <a:p>
            <a:pPr lvl="0"/>
            <a:r>
              <a:rPr lang="en-GB" dirty="0" smtClean="0"/>
              <a:t>Master Divider Slide Headline</a:t>
            </a:r>
          </a:p>
        </p:txBody>
      </p:sp>
    </p:spTree>
    <p:extLst>
      <p:ext uri="{BB962C8B-B14F-4D97-AF65-F5344CB8AC3E}">
        <p14:creationId xmlns:p14="http://schemas.microsoft.com/office/powerpoint/2010/main" val="3364194037"/>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p:txBody>
          <a:bodyPr/>
          <a:lstStyle>
            <a:lvl2pPr>
              <a:defRPr/>
            </a:lvl2pPr>
            <a:lvl3pPr>
              <a:defRPr/>
            </a:lvl3pPr>
          </a:lstStyle>
          <a:p>
            <a:pPr lvl="0"/>
            <a:r>
              <a:rPr lang="en-GB" dirty="0" smtClean="0"/>
              <a:t>First Level Text</a:t>
            </a:r>
          </a:p>
          <a:p>
            <a:pPr lvl="1"/>
            <a:r>
              <a:rPr lang="en-GB" dirty="0" smtClean="0"/>
              <a:t>Second Level Text</a:t>
            </a:r>
          </a:p>
          <a:p>
            <a:pPr lvl="2"/>
            <a:r>
              <a:rPr lang="en-GB" dirty="0" smtClean="0"/>
              <a:t>Third Level Text</a:t>
            </a:r>
          </a:p>
          <a:p>
            <a:pPr lvl="3"/>
            <a:r>
              <a:rPr lang="en-GB" dirty="0" smtClean="0"/>
              <a:t>Fourth Level Text</a:t>
            </a:r>
          </a:p>
          <a:p>
            <a:pPr lvl="4"/>
            <a:r>
              <a:rPr lang="en-GB" dirty="0" smtClean="0"/>
              <a:t>Fifth Level Text</a:t>
            </a:r>
          </a:p>
        </p:txBody>
      </p:sp>
      <p:cxnSp>
        <p:nvCxnSpPr>
          <p:cNvPr id="7" name="Straight Connector 6"/>
          <p:cNvCxnSpPr/>
          <p:nvPr userDrawn="1"/>
        </p:nvCxnSpPr>
        <p:spPr>
          <a:xfrm>
            <a:off x="457995" y="1162050"/>
            <a:ext cx="8686007" cy="0"/>
          </a:xfrm>
          <a:prstGeom prst="line">
            <a:avLst/>
          </a:prstGeom>
          <a:ln w="12700">
            <a:solidFill>
              <a:srgbClr val="FF9900"/>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444501" y="6572250"/>
            <a:ext cx="2573227" cy="230832"/>
          </a:xfrm>
          <a:prstGeom prst="rect">
            <a:avLst/>
          </a:prstGeom>
          <a:noFill/>
        </p:spPr>
        <p:txBody>
          <a:bodyPr wrap="square" lIns="0">
            <a:spAutoFit/>
          </a:bodyPr>
          <a:lstStyle/>
          <a:p>
            <a:pPr algn="ctr">
              <a:defRPr/>
            </a:pPr>
            <a:r>
              <a:rPr lang="en-GB" sz="900" dirty="0" smtClean="0">
                <a:solidFill>
                  <a:srgbClr val="7F7F7F"/>
                </a:solidFill>
                <a:latin typeface="Calibri" panose="020F0502020204030204" pitchFamily="34" charset="0"/>
                <a:cs typeface="Arial" pitchFamily="34" charset="0"/>
              </a:rPr>
              <a:t>Copyright © 2014 Accenture  All rights reserved.</a:t>
            </a:r>
            <a:endParaRPr lang="en-GB" sz="900" dirty="0">
              <a:solidFill>
                <a:srgbClr val="7F7F7F"/>
              </a:solidFill>
              <a:latin typeface="Calibri" panose="020F0502020204030204" pitchFamily="34" charset="0"/>
              <a:cs typeface="Arial" pitchFamily="34" charset="0"/>
            </a:endParaRPr>
          </a:p>
        </p:txBody>
      </p:sp>
      <p:sp>
        <p:nvSpPr>
          <p:cNvPr id="4" name="Title 3"/>
          <p:cNvSpPr>
            <a:spLocks noGrp="1"/>
          </p:cNvSpPr>
          <p:nvPr>
            <p:ph type="title" hasCustomPrompt="1"/>
          </p:nvPr>
        </p:nvSpPr>
        <p:spPr/>
        <p:txBody>
          <a:bodyPr/>
          <a:lstStyle/>
          <a:p>
            <a:r>
              <a:rPr lang="en-GB" dirty="0" smtClean="0"/>
              <a:t>Master Title Slide Headline</a:t>
            </a:r>
            <a:endParaRPr lang="en-GB" dirty="0"/>
          </a:p>
        </p:txBody>
      </p:sp>
      <p:sp>
        <p:nvSpPr>
          <p:cNvPr id="8" name="TextBox 7"/>
          <p:cNvSpPr txBox="1"/>
          <p:nvPr userDrawn="1"/>
        </p:nvSpPr>
        <p:spPr>
          <a:xfrm>
            <a:off x="8144699" y="6562940"/>
            <a:ext cx="536400" cy="244800"/>
          </a:xfrm>
          <a:prstGeom prst="rect">
            <a:avLst/>
          </a:prstGeom>
          <a:noFill/>
        </p:spPr>
        <p:txBody>
          <a:bodyPr wrap="square" lIns="0" tIns="0" rIns="0" bIns="0" rtlCol="0" anchor="ctr" anchorCtr="0">
            <a:noAutofit/>
          </a:bodyPr>
          <a:lstStyle/>
          <a:p>
            <a:pPr algn="r"/>
            <a:fld id="{597A8DCA-8F96-49CD-B4D5-7AC92F955860}" type="slidenum">
              <a:rPr lang="en-GB" sz="900" smtClean="0">
                <a:solidFill>
                  <a:srgbClr val="7F7F7F"/>
                </a:solidFill>
                <a:latin typeface="Calibri" panose="020F0502020204030204" pitchFamily="34" charset="0"/>
                <a:cs typeface="Arial" pitchFamily="34" charset="0"/>
              </a:rPr>
              <a:pPr algn="r"/>
              <a:t>‹#›</a:t>
            </a:fld>
            <a:endParaRPr lang="en-GB" sz="900" dirty="0">
              <a:solidFill>
                <a:srgbClr val="7F7F7F"/>
              </a:solidFill>
              <a:latin typeface="Calibri" panose="020F0502020204030204" pitchFamily="34" charset="0"/>
              <a:cs typeface="Arial" pitchFamily="34" charset="0"/>
            </a:endParaRPr>
          </a:p>
        </p:txBody>
      </p:sp>
    </p:spTree>
    <p:extLst>
      <p:ext uri="{BB962C8B-B14F-4D97-AF65-F5344CB8AC3E}">
        <p14:creationId xmlns:p14="http://schemas.microsoft.com/office/powerpoint/2010/main" val="3987850432"/>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Paragraphs">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p:txBody>
          <a:bodyPr/>
          <a:lstStyle>
            <a:lvl1pPr marL="0" indent="0">
              <a:spcBef>
                <a:spcPts val="1200"/>
              </a:spcBef>
              <a:spcAft>
                <a:spcPts val="0"/>
              </a:spcAft>
              <a:buNone/>
              <a:defRPr sz="2400" b="1">
                <a:solidFill>
                  <a:srgbClr val="FF9900"/>
                </a:solidFill>
              </a:defRPr>
            </a:lvl1pPr>
            <a:lvl2pPr marL="231764" indent="-231764">
              <a:spcBef>
                <a:spcPts val="624"/>
              </a:spcBef>
              <a:buFont typeface="Arial" pitchFamily="34" charset="0"/>
              <a:buChar char="•"/>
              <a:defRPr/>
            </a:lvl2pPr>
            <a:lvl3pPr marL="457178" indent="-231764">
              <a:buFont typeface="Arial" pitchFamily="34" charset="0"/>
              <a:buChar char="–"/>
              <a:defRPr/>
            </a:lvl3pPr>
            <a:lvl4pPr marL="688940" indent="-225414">
              <a:buFont typeface="Arial" pitchFamily="34" charset="0"/>
              <a:buChar char="•"/>
              <a:defRPr/>
            </a:lvl4pPr>
            <a:lvl5pPr marL="914354" indent="-225414">
              <a:buFont typeface="Arial" pitchFamily="34" charset="0"/>
              <a:buChar char="–"/>
              <a:tabLst/>
              <a:defRPr/>
            </a:lvl5pPr>
          </a:lstStyle>
          <a:p>
            <a:pPr lvl="0"/>
            <a:r>
              <a:rPr lang="en-GB" dirty="0" smtClean="0"/>
              <a:t>First Level Text</a:t>
            </a:r>
          </a:p>
          <a:p>
            <a:pPr lvl="1"/>
            <a:r>
              <a:rPr lang="en-GB" dirty="0" smtClean="0"/>
              <a:t>Second Level Text</a:t>
            </a:r>
          </a:p>
          <a:p>
            <a:pPr lvl="2"/>
            <a:r>
              <a:rPr lang="en-GB" dirty="0" smtClean="0"/>
              <a:t>Third Level Text</a:t>
            </a:r>
          </a:p>
          <a:p>
            <a:pPr lvl="3"/>
            <a:r>
              <a:rPr lang="en-GB" dirty="0" smtClean="0"/>
              <a:t>Fourth Level Text</a:t>
            </a:r>
          </a:p>
          <a:p>
            <a:pPr lvl="4"/>
            <a:r>
              <a:rPr lang="en-GB" dirty="0" smtClean="0"/>
              <a:t>Fifth Level Text</a:t>
            </a:r>
          </a:p>
        </p:txBody>
      </p:sp>
      <p:sp>
        <p:nvSpPr>
          <p:cNvPr id="7" name="TextBox 6"/>
          <p:cNvSpPr txBox="1"/>
          <p:nvPr userDrawn="1"/>
        </p:nvSpPr>
        <p:spPr>
          <a:xfrm>
            <a:off x="444501" y="6572250"/>
            <a:ext cx="2573227" cy="230832"/>
          </a:xfrm>
          <a:prstGeom prst="rect">
            <a:avLst/>
          </a:prstGeom>
          <a:noFill/>
        </p:spPr>
        <p:txBody>
          <a:bodyPr wrap="square" lIns="0">
            <a:spAutoFit/>
          </a:bodyPr>
          <a:lstStyle/>
          <a:p>
            <a:pPr algn="ctr">
              <a:defRPr/>
            </a:pPr>
            <a:r>
              <a:rPr lang="en-GB" sz="900" dirty="0" smtClean="0">
                <a:solidFill>
                  <a:srgbClr val="7F7F7F"/>
                </a:solidFill>
                <a:latin typeface="Calibri" panose="020F0502020204030204" pitchFamily="34" charset="0"/>
                <a:cs typeface="Arial" pitchFamily="34" charset="0"/>
              </a:rPr>
              <a:t>Copyright © 2014 Accenture  All rights reserved.</a:t>
            </a:r>
            <a:endParaRPr lang="en-GB" sz="900" dirty="0">
              <a:solidFill>
                <a:srgbClr val="7F7F7F"/>
              </a:solidFill>
              <a:latin typeface="Calibri" panose="020F0502020204030204" pitchFamily="34" charset="0"/>
              <a:cs typeface="Arial" pitchFamily="34" charset="0"/>
            </a:endParaRPr>
          </a:p>
        </p:txBody>
      </p:sp>
      <p:cxnSp>
        <p:nvCxnSpPr>
          <p:cNvPr id="8" name="Straight Connector 7"/>
          <p:cNvCxnSpPr/>
          <p:nvPr userDrawn="1"/>
        </p:nvCxnSpPr>
        <p:spPr>
          <a:xfrm>
            <a:off x="457995" y="1162050"/>
            <a:ext cx="8686007" cy="0"/>
          </a:xfrm>
          <a:prstGeom prst="line">
            <a:avLst/>
          </a:prstGeom>
          <a:ln w="12700">
            <a:solidFill>
              <a:srgbClr val="FF9900"/>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p:txBody>
          <a:bodyPr/>
          <a:lstStyle/>
          <a:p>
            <a:r>
              <a:rPr lang="en-GB" dirty="0" smtClean="0"/>
              <a:t>Master Title Slide Headline</a:t>
            </a:r>
            <a:endParaRPr lang="en-GB" dirty="0"/>
          </a:p>
        </p:txBody>
      </p:sp>
      <p:sp>
        <p:nvSpPr>
          <p:cNvPr id="9" name="TextBox 8"/>
          <p:cNvSpPr txBox="1"/>
          <p:nvPr userDrawn="1"/>
        </p:nvSpPr>
        <p:spPr>
          <a:xfrm>
            <a:off x="8144699" y="6562940"/>
            <a:ext cx="536400" cy="244800"/>
          </a:xfrm>
          <a:prstGeom prst="rect">
            <a:avLst/>
          </a:prstGeom>
          <a:noFill/>
        </p:spPr>
        <p:txBody>
          <a:bodyPr wrap="square" lIns="0" tIns="0" rIns="0" bIns="0" rtlCol="0" anchor="ctr" anchorCtr="0">
            <a:noAutofit/>
          </a:bodyPr>
          <a:lstStyle/>
          <a:p>
            <a:pPr algn="r"/>
            <a:fld id="{597A8DCA-8F96-49CD-B4D5-7AC92F955860}" type="slidenum">
              <a:rPr lang="en-GB" sz="900" smtClean="0">
                <a:solidFill>
                  <a:srgbClr val="7F7F7F"/>
                </a:solidFill>
                <a:latin typeface="Calibri" panose="020F0502020204030204" pitchFamily="34" charset="0"/>
                <a:cs typeface="Arial" pitchFamily="34" charset="0"/>
              </a:rPr>
              <a:pPr algn="r"/>
              <a:t>‹#›</a:t>
            </a:fld>
            <a:endParaRPr lang="en-GB" sz="900" dirty="0">
              <a:solidFill>
                <a:srgbClr val="7F7F7F"/>
              </a:solidFill>
              <a:latin typeface="Calibri" panose="020F0502020204030204" pitchFamily="34" charset="0"/>
              <a:cs typeface="Arial" pitchFamily="34" charset="0"/>
            </a:endParaRPr>
          </a:p>
        </p:txBody>
      </p:sp>
    </p:spTree>
    <p:extLst>
      <p:ext uri="{BB962C8B-B14F-4D97-AF65-F5344CB8AC3E}">
        <p14:creationId xmlns:p14="http://schemas.microsoft.com/office/powerpoint/2010/main" val="167686949"/>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extBox 4"/>
          <p:cNvSpPr txBox="1"/>
          <p:nvPr userDrawn="1"/>
        </p:nvSpPr>
        <p:spPr>
          <a:xfrm>
            <a:off x="444501" y="6572250"/>
            <a:ext cx="2573227" cy="230832"/>
          </a:xfrm>
          <a:prstGeom prst="rect">
            <a:avLst/>
          </a:prstGeom>
          <a:noFill/>
        </p:spPr>
        <p:txBody>
          <a:bodyPr wrap="square" lIns="0">
            <a:spAutoFit/>
          </a:bodyPr>
          <a:lstStyle/>
          <a:p>
            <a:pPr algn="ctr">
              <a:defRPr/>
            </a:pPr>
            <a:r>
              <a:rPr lang="en-GB" sz="900" dirty="0" smtClean="0">
                <a:solidFill>
                  <a:srgbClr val="7F7F7F"/>
                </a:solidFill>
                <a:latin typeface="Calibri" panose="020F0502020204030204" pitchFamily="34" charset="0"/>
                <a:cs typeface="Arial" pitchFamily="34" charset="0"/>
              </a:rPr>
              <a:t>Copyright © 2014 Accenture  All rights reserved.</a:t>
            </a:r>
            <a:endParaRPr lang="en-GB" sz="900" dirty="0">
              <a:solidFill>
                <a:srgbClr val="7F7F7F"/>
              </a:solidFill>
              <a:latin typeface="Calibri" panose="020F0502020204030204" pitchFamily="34" charset="0"/>
              <a:cs typeface="Arial" pitchFamily="34" charset="0"/>
            </a:endParaRPr>
          </a:p>
        </p:txBody>
      </p:sp>
      <p:cxnSp>
        <p:nvCxnSpPr>
          <p:cNvPr id="7" name="Straight Connector 6"/>
          <p:cNvCxnSpPr/>
          <p:nvPr userDrawn="1"/>
        </p:nvCxnSpPr>
        <p:spPr>
          <a:xfrm>
            <a:off x="457995" y="1162050"/>
            <a:ext cx="8686007" cy="0"/>
          </a:xfrm>
          <a:prstGeom prst="line">
            <a:avLst/>
          </a:prstGeom>
          <a:ln w="12700">
            <a:solidFill>
              <a:srgbClr val="FF9900"/>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p:txBody>
          <a:bodyPr/>
          <a:lstStyle/>
          <a:p>
            <a:r>
              <a:rPr lang="en-GB" dirty="0" smtClean="0"/>
              <a:t>Master Title Slide Headline</a:t>
            </a:r>
            <a:endParaRPr lang="en-GB" dirty="0"/>
          </a:p>
        </p:txBody>
      </p:sp>
      <p:sp>
        <p:nvSpPr>
          <p:cNvPr id="6" name="TextBox 5"/>
          <p:cNvSpPr txBox="1"/>
          <p:nvPr userDrawn="1"/>
        </p:nvSpPr>
        <p:spPr>
          <a:xfrm>
            <a:off x="8144699" y="6562940"/>
            <a:ext cx="536400" cy="244800"/>
          </a:xfrm>
          <a:prstGeom prst="rect">
            <a:avLst/>
          </a:prstGeom>
          <a:noFill/>
        </p:spPr>
        <p:txBody>
          <a:bodyPr wrap="square" lIns="0" tIns="0" rIns="0" bIns="0" rtlCol="0" anchor="ctr" anchorCtr="0">
            <a:noAutofit/>
          </a:bodyPr>
          <a:lstStyle/>
          <a:p>
            <a:pPr algn="r"/>
            <a:fld id="{597A8DCA-8F96-49CD-B4D5-7AC92F955860}" type="slidenum">
              <a:rPr lang="en-GB" sz="900" smtClean="0">
                <a:solidFill>
                  <a:srgbClr val="7F7F7F"/>
                </a:solidFill>
                <a:latin typeface="Calibri" panose="020F0502020204030204" pitchFamily="34" charset="0"/>
                <a:cs typeface="Arial" pitchFamily="34" charset="0"/>
              </a:rPr>
              <a:pPr algn="r"/>
              <a:t>‹#›</a:t>
            </a:fld>
            <a:endParaRPr lang="en-GB" sz="900" dirty="0">
              <a:solidFill>
                <a:srgbClr val="7F7F7F"/>
              </a:solidFill>
              <a:latin typeface="Calibri" panose="020F0502020204030204" pitchFamily="34" charset="0"/>
              <a:cs typeface="Arial" pitchFamily="34" charset="0"/>
            </a:endParaRPr>
          </a:p>
        </p:txBody>
      </p:sp>
    </p:spTree>
    <p:extLst>
      <p:ext uri="{BB962C8B-B14F-4D97-AF65-F5344CB8AC3E}">
        <p14:creationId xmlns:p14="http://schemas.microsoft.com/office/powerpoint/2010/main" val="1402764137"/>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TextBox 4"/>
          <p:cNvSpPr txBox="1"/>
          <p:nvPr userDrawn="1"/>
        </p:nvSpPr>
        <p:spPr>
          <a:xfrm>
            <a:off x="444501" y="6572250"/>
            <a:ext cx="2573227" cy="230832"/>
          </a:xfrm>
          <a:prstGeom prst="rect">
            <a:avLst/>
          </a:prstGeom>
          <a:noFill/>
        </p:spPr>
        <p:txBody>
          <a:bodyPr wrap="square" lIns="0">
            <a:spAutoFit/>
          </a:bodyPr>
          <a:lstStyle/>
          <a:p>
            <a:pPr algn="ctr">
              <a:defRPr/>
            </a:pPr>
            <a:r>
              <a:rPr lang="en-GB" sz="900" dirty="0" smtClean="0">
                <a:solidFill>
                  <a:srgbClr val="7F7F7F"/>
                </a:solidFill>
                <a:latin typeface="Calibri" panose="020F0502020204030204" pitchFamily="34" charset="0"/>
                <a:cs typeface="Arial" pitchFamily="34" charset="0"/>
              </a:rPr>
              <a:t>Copyright © 2014 Accenture  All rights reserved.</a:t>
            </a:r>
            <a:endParaRPr lang="en-GB" sz="900" dirty="0">
              <a:solidFill>
                <a:srgbClr val="7F7F7F"/>
              </a:solidFill>
              <a:latin typeface="Calibri" panose="020F0502020204030204" pitchFamily="34" charset="0"/>
              <a:cs typeface="Arial" pitchFamily="34" charset="0"/>
            </a:endParaRPr>
          </a:p>
        </p:txBody>
      </p:sp>
      <p:sp>
        <p:nvSpPr>
          <p:cNvPr id="3" name="TextBox 2"/>
          <p:cNvSpPr txBox="1"/>
          <p:nvPr userDrawn="1"/>
        </p:nvSpPr>
        <p:spPr>
          <a:xfrm>
            <a:off x="8144699" y="6562940"/>
            <a:ext cx="536400" cy="244800"/>
          </a:xfrm>
          <a:prstGeom prst="rect">
            <a:avLst/>
          </a:prstGeom>
          <a:noFill/>
        </p:spPr>
        <p:txBody>
          <a:bodyPr wrap="square" lIns="0" tIns="0" rIns="0" bIns="0" rtlCol="0" anchor="ctr" anchorCtr="0">
            <a:noAutofit/>
          </a:bodyPr>
          <a:lstStyle/>
          <a:p>
            <a:pPr algn="r"/>
            <a:fld id="{597A8DCA-8F96-49CD-B4D5-7AC92F955860}" type="slidenum">
              <a:rPr lang="en-GB" sz="900" smtClean="0">
                <a:solidFill>
                  <a:srgbClr val="7F7F7F"/>
                </a:solidFill>
                <a:latin typeface="Calibri" panose="020F0502020204030204" pitchFamily="34" charset="0"/>
                <a:cs typeface="Arial" pitchFamily="34" charset="0"/>
              </a:rPr>
              <a:pPr algn="r"/>
              <a:t>‹#›</a:t>
            </a:fld>
            <a:endParaRPr lang="en-GB" sz="900" dirty="0">
              <a:solidFill>
                <a:srgbClr val="7F7F7F"/>
              </a:solidFill>
              <a:latin typeface="Calibri" panose="020F0502020204030204" pitchFamily="34" charset="0"/>
              <a:cs typeface="Arial" pitchFamily="34" charset="0"/>
            </a:endParaRPr>
          </a:p>
        </p:txBody>
      </p:sp>
    </p:spTree>
    <p:extLst>
      <p:ext uri="{BB962C8B-B14F-4D97-AF65-F5344CB8AC3E}">
        <p14:creationId xmlns:p14="http://schemas.microsoft.com/office/powerpoint/2010/main" val="215495355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250824" y="1448780"/>
            <a:ext cx="8642279" cy="4931980"/>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79388" algn="l" rtl="0" eaLnBrk="1" fontAlgn="base" hangingPunct="1">
              <a:spcBef>
                <a:spcPts val="1800"/>
              </a:spcBef>
              <a:spcAft>
                <a:spcPct val="0"/>
              </a:spcAft>
              <a:buClr>
                <a:schemeClr val="tx1"/>
              </a:buClr>
              <a:buFont typeface="Arial" pitchFamily="34" charset="0"/>
              <a:defRPr lang="de-DE" sz="1800" dirty="0" smtClean="0">
                <a:solidFill>
                  <a:schemeClr val="tx1"/>
                </a:solidFill>
                <a:latin typeface="+mn-lt"/>
                <a:ea typeface="+mn-ea"/>
                <a:cs typeface="+mn-cs"/>
              </a:defRPr>
            </a:lvl1pPr>
            <a:lvl2pPr marL="360000" indent="-179388" algn="l" rtl="0" eaLnBrk="1" fontAlgn="base" hangingPunct="1">
              <a:spcBef>
                <a:spcPts val="600"/>
              </a:spcBef>
              <a:spcAft>
                <a:spcPct val="0"/>
              </a:spcAft>
              <a:buClr>
                <a:schemeClr val="tx1"/>
              </a:buClr>
              <a:buFont typeface="Arial" pitchFamily="34" charset="0"/>
              <a:defRPr lang="de-DE" sz="1600" dirty="0" smtClean="0">
                <a:solidFill>
                  <a:schemeClr val="tx1"/>
                </a:solidFill>
                <a:latin typeface="+mn-lt"/>
                <a:ea typeface="+mn-ea"/>
                <a:cs typeface="+mn-cs"/>
              </a:defRPr>
            </a:lvl2pPr>
            <a:lvl3pPr marL="541338" indent="-179388" algn="l" rtl="0" eaLnBrk="1" fontAlgn="base" hangingPunct="1">
              <a:spcBef>
                <a:spcPts val="800"/>
              </a:spcBef>
              <a:spcAft>
                <a:spcPct val="0"/>
              </a:spcAft>
              <a:buClr>
                <a:schemeClr val="tx1"/>
              </a:buClr>
              <a:buFont typeface="Arial" pitchFamily="34" charset="0"/>
              <a:defRPr lang="de-DE" sz="1400" baseline="0" dirty="0" smtClean="0">
                <a:solidFill>
                  <a:schemeClr val="tx1"/>
                </a:solidFill>
                <a:latin typeface="+mn-lt"/>
                <a:ea typeface="+mn-ea"/>
                <a:cs typeface="+mn-cs"/>
              </a:defRPr>
            </a:lvl3pPr>
            <a:lvl4pPr marL="720000" indent="-179388" algn="l" rtl="0" eaLnBrk="1" fontAlgn="base" hangingPunct="1">
              <a:spcBef>
                <a:spcPts val="800"/>
              </a:spcBef>
              <a:spcAft>
                <a:spcPct val="0"/>
              </a:spcAft>
              <a:buClr>
                <a:schemeClr val="tx1"/>
              </a:buClr>
              <a:buFont typeface="Arial" pitchFamily="34" charset="0"/>
              <a:defRPr lang="de-DE" sz="1200" dirty="0" smtClean="0">
                <a:solidFill>
                  <a:schemeClr val="tx1"/>
                </a:solidFill>
                <a:latin typeface="+mn-lt"/>
                <a:ea typeface="+mn-ea"/>
                <a:cs typeface="+mn-cs"/>
              </a:defRPr>
            </a:lvl4pPr>
            <a:lvl5pPr marL="900000" indent="-179388" algn="l" rtl="0" eaLnBrk="1" fontAlgn="base" hangingPunct="1">
              <a:spcBef>
                <a:spcPts val="800"/>
              </a:spcBef>
              <a:spcAft>
                <a:spcPct val="0"/>
              </a:spcAft>
              <a:buClr>
                <a:schemeClr val="tx1"/>
              </a:buClr>
              <a:buFont typeface="Arial" pitchFamily="34" charset="0"/>
              <a:defRPr lang="de-DE" sz="1100" dirty="0">
                <a:solidFill>
                  <a:schemeClr val="tx1"/>
                </a:solidFill>
                <a:latin typeface="+mn-lt"/>
                <a:ea typeface="+mn-ea"/>
                <a:cs typeface="+mn-cs"/>
              </a:defRPr>
            </a:lvl5pPr>
          </a:lstStyle>
          <a:p>
            <a:pPr lvl="0"/>
            <a:r>
              <a:rPr lang="en-GB" dirty="0" smtClean="0"/>
              <a:t>Bullet 1</a:t>
            </a:r>
          </a:p>
          <a:p>
            <a:pPr lvl="0"/>
            <a:r>
              <a:rPr lang="en-GB" dirty="0" err="1" smtClean="0"/>
              <a:t>ghjgjhgjh</a:t>
            </a:r>
            <a:endParaRPr lang="en-GB" dirty="0" smtClean="0"/>
          </a:p>
          <a:p>
            <a:pPr lvl="1"/>
            <a:r>
              <a:rPr lang="en-GB" dirty="0" smtClean="0"/>
              <a:t>Bullet 2</a:t>
            </a:r>
          </a:p>
          <a:p>
            <a:pPr lvl="2"/>
            <a:r>
              <a:rPr lang="en-GB" dirty="0" smtClean="0"/>
              <a:t>Bullet 3</a:t>
            </a:r>
          </a:p>
          <a:p>
            <a:pPr lvl="3"/>
            <a:r>
              <a:rPr lang="en-GB" dirty="0" smtClean="0"/>
              <a:t>Bullet 4</a:t>
            </a:r>
          </a:p>
          <a:p>
            <a:pPr lvl="4"/>
            <a:r>
              <a:rPr lang="en-GB" dirty="0" smtClean="0"/>
              <a:t>Bullet 5</a:t>
            </a:r>
            <a:endParaRPr lang="en-GB" dirty="0"/>
          </a:p>
        </p:txBody>
      </p:sp>
      <p:sp>
        <p:nvSpPr>
          <p:cNvPr id="6" name="Titel 5"/>
          <p:cNvSpPr>
            <a:spLocks noGrp="1"/>
          </p:cNvSpPr>
          <p:nvPr>
            <p:ph type="title" hasCustomPrompt="1"/>
          </p:nvPr>
        </p:nvSpPr>
        <p:spPr/>
        <p:txBody>
          <a:bodyPr/>
          <a:lstStyle/>
          <a:p>
            <a:r>
              <a:rPr lang="en-GB" dirty="0" smtClean="0"/>
              <a:t>Click to add text</a:t>
            </a:r>
            <a:endParaRPr lang="en-GB" dirty="0"/>
          </a:p>
        </p:txBody>
      </p:sp>
    </p:spTree>
  </p:cSld>
  <p:clrMapOvr>
    <a:masterClrMapping/>
  </p:clrMapOvr>
  <p:timing>
    <p:tnLst>
      <p:par>
        <p:cTn id="1" dur="indefinite" restart="never" nodeType="tmRoot"/>
      </p:par>
    </p:tnLst>
  </p:timing>
  <p:hf hdr="0" dt="0"/>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3074" name="Picture 2" descr="C:\Users\joel.manstoff\Documents\DCSC\Monsoon\working drafts\Road_to_clouds_jpg.jpg"/>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Q:\Clients\Accenture\Laurie Shiro - 09-2438 - Technology Word document\Working Files\Illustrator\Outsourcing title.png"/>
          <p:cNvPicPr>
            <a:picLocks noChangeAspect="1" noChangeArrowheads="1"/>
          </p:cNvPicPr>
          <p:nvPr/>
        </p:nvPicPr>
        <p:blipFill>
          <a:blip r:embed="rId41" cstate="email"/>
          <a:stretch>
            <a:fillRect/>
          </a:stretch>
        </p:blipFill>
        <p:spPr bwMode="auto">
          <a:xfrm>
            <a:off x="500803" y="3140968"/>
            <a:ext cx="1323975" cy="323850"/>
          </a:xfrm>
          <a:prstGeom prst="rect">
            <a:avLst/>
          </a:prstGeom>
          <a:noFill/>
          <a:ln>
            <a:noFill/>
          </a:ln>
        </p:spPr>
      </p:pic>
      <p:sp>
        <p:nvSpPr>
          <p:cNvPr id="21511" name="Rectangle 7"/>
          <p:cNvSpPr>
            <a:spLocks noGrp="1" noChangeArrowheads="1"/>
          </p:cNvSpPr>
          <p:nvPr>
            <p:ph type="ctrTitle" sz="quarter"/>
          </p:nvPr>
        </p:nvSpPr>
        <p:spPr>
          <a:xfrm>
            <a:off x="376511" y="4135270"/>
            <a:ext cx="6443663" cy="656832"/>
          </a:xfrm>
          <a:ln w="9525"/>
        </p:spPr>
        <p:txBody>
          <a:bodyPr lIns="91440" tIns="45720" rIns="91440" bIns="45720" anchor="t"/>
          <a:lstStyle>
            <a:lvl1pPr>
              <a:lnSpc>
                <a:spcPct val="90000"/>
              </a:lnSpc>
              <a:defRPr sz="3200" b="0">
                <a:solidFill>
                  <a:schemeClr val="bg1"/>
                </a:solidFill>
              </a:defRPr>
            </a:lvl1pPr>
          </a:lstStyle>
          <a:p>
            <a:r>
              <a:rPr lang="en-GB" dirty="0" smtClean="0"/>
              <a:t>Click to edit Master title style</a:t>
            </a:r>
            <a:endParaRPr lang="en-GB" dirty="0"/>
          </a:p>
        </p:txBody>
      </p:sp>
      <p:sp>
        <p:nvSpPr>
          <p:cNvPr id="21512" name="Rectangle 8"/>
          <p:cNvSpPr>
            <a:spLocks noGrp="1" noChangeArrowheads="1"/>
          </p:cNvSpPr>
          <p:nvPr>
            <p:ph type="subTitle" sz="quarter" idx="1"/>
          </p:nvPr>
        </p:nvSpPr>
        <p:spPr>
          <a:xfrm>
            <a:off x="399204" y="4814718"/>
            <a:ext cx="6438900" cy="555811"/>
          </a:xfrm>
          <a:ln w="9525"/>
        </p:spPr>
        <p:txBody>
          <a:bodyPr lIns="91440" tIns="45720" rIns="91440" bIns="45720"/>
          <a:lstStyle>
            <a:lvl1pPr marL="0" indent="0">
              <a:buFontTx/>
              <a:buNone/>
              <a:defRPr sz="2000">
                <a:solidFill>
                  <a:schemeClr val="bg1"/>
                </a:solidFill>
              </a:defRPr>
            </a:lvl1pPr>
          </a:lstStyle>
          <a:p>
            <a:r>
              <a:rPr lang="en-GB" dirty="0" smtClean="0"/>
              <a:t>Click to edit Master subtitle style</a:t>
            </a:r>
            <a:endParaRPr lang="en-GB" dirty="0"/>
          </a:p>
        </p:txBody>
      </p:sp>
      <p:pic>
        <p:nvPicPr>
          <p:cNvPr id="10" name="Picture 9" descr="Acc_Sig_orange_rgb.emf"/>
          <p:cNvPicPr>
            <a:picLocks noChangeAspect="1"/>
          </p:cNvPicPr>
          <p:nvPr/>
        </p:nvPicPr>
        <p:blipFill>
          <a:blip r:embed="rId42" cstate="print"/>
          <a:stretch>
            <a:fillRect/>
          </a:stretch>
        </p:blipFill>
        <p:spPr>
          <a:xfrm>
            <a:off x="490880" y="5594341"/>
            <a:ext cx="2880000" cy="832500"/>
          </a:xfrm>
          <a:prstGeom prst="rect">
            <a:avLst/>
          </a:prstGeom>
        </p:spPr>
      </p:pic>
      <p:cxnSp>
        <p:nvCxnSpPr>
          <p:cNvPr id="13" name="Straight Connector 12"/>
          <p:cNvCxnSpPr/>
          <p:nvPr/>
        </p:nvCxnSpPr>
        <p:spPr bwMode="auto">
          <a:xfrm>
            <a:off x="497866" y="6580385"/>
            <a:ext cx="8646136" cy="0"/>
          </a:xfrm>
          <a:prstGeom prst="line">
            <a:avLst/>
          </a:prstGeom>
          <a:solidFill>
            <a:schemeClr val="accent1"/>
          </a:solidFill>
          <a:ln w="12700" cap="flat" cmpd="sng" algn="ctr">
            <a:solidFill>
              <a:schemeClr val="bg1"/>
            </a:solidFill>
            <a:prstDash val="solid"/>
            <a:round/>
            <a:headEnd type="none" w="med" len="med"/>
            <a:tailEnd type="none" w="med" len="med"/>
          </a:ln>
          <a:effectLst/>
        </p:spPr>
      </p:cxnSp>
      <p:pic>
        <p:nvPicPr>
          <p:cNvPr id="14" name="Picture 13" descr="Acc_StrategyLine_English_blk_white.emf"/>
          <p:cNvPicPr>
            <a:picLocks noChangeAspect="1"/>
          </p:cNvPicPr>
          <p:nvPr/>
        </p:nvPicPr>
        <p:blipFill>
          <a:blip r:embed="rId43" cstate="print"/>
          <a:stretch>
            <a:fillRect/>
          </a:stretch>
        </p:blipFill>
        <p:spPr>
          <a:xfrm>
            <a:off x="5503120" y="6252103"/>
            <a:ext cx="3150000" cy="225000"/>
          </a:xfrm>
          <a:prstGeom prst="rect">
            <a:avLst/>
          </a:prstGeom>
        </p:spPr>
      </p:pic>
      <p:pic>
        <p:nvPicPr>
          <p:cNvPr id="15" name="Picture 14" descr="ACC_Greater_Than_Lockup_orange_rgb.emf"/>
          <p:cNvPicPr>
            <a:picLocks noChangeAspect="1"/>
          </p:cNvPicPr>
          <p:nvPr/>
        </p:nvPicPr>
        <p:blipFill>
          <a:blip r:embed="rId44" cstate="print"/>
          <a:stretch>
            <a:fillRect/>
          </a:stretch>
        </p:blipFill>
        <p:spPr>
          <a:xfrm>
            <a:off x="4516874" y="-327546"/>
            <a:ext cx="4627126" cy="3513375"/>
          </a:xfrm>
          <a:prstGeom prst="rect">
            <a:avLst/>
          </a:prstGeom>
        </p:spPr>
      </p:pic>
      <p:cxnSp>
        <p:nvCxnSpPr>
          <p:cNvPr id="12" name="Gerade Verbindung 46"/>
          <p:cNvCxnSpPr/>
          <p:nvPr userDrawn="1">
            <p:custDataLst>
              <p:tags r:id="rId1"/>
            </p:custDataLst>
          </p:nvPr>
        </p:nvCxnSpPr>
        <p:spPr bwMode="ltGray">
          <a:xfrm>
            <a:off x="0" y="3429000"/>
            <a:ext cx="9144000" cy="1558"/>
          </a:xfrm>
          <a:prstGeom prst="line">
            <a:avLst/>
          </a:prstGeom>
          <a:solidFill>
            <a:schemeClr val="accent1"/>
          </a:solidFill>
          <a:ln w="12700" cap="flat" cmpd="sng" algn="ctr">
            <a:solidFill>
              <a:schemeClr val="accent1"/>
            </a:solidFill>
            <a:prstDash val="solid"/>
            <a:round/>
            <a:headEnd type="none" w="med" len="med"/>
            <a:tailEnd type="none" w="med" len="med"/>
          </a:ln>
          <a:effectLst/>
        </p:spPr>
      </p:cxnSp>
      <p:grpSp>
        <p:nvGrpSpPr>
          <p:cNvPr id="16" name="Gruppieren 44"/>
          <p:cNvGrpSpPr/>
          <p:nvPr userDrawn="1">
            <p:custDataLst>
              <p:tags r:id="rId2"/>
            </p:custDataLst>
          </p:nvPr>
        </p:nvGrpSpPr>
        <p:grpSpPr>
          <a:xfrm>
            <a:off x="522288" y="1340768"/>
            <a:ext cx="3470275" cy="1809750"/>
            <a:chOff x="522288" y="2187575"/>
            <a:chExt cx="3470275" cy="1809750"/>
          </a:xfrm>
        </p:grpSpPr>
        <p:sp>
          <p:nvSpPr>
            <p:cNvPr id="17" name="Freeform 4"/>
            <p:cNvSpPr>
              <a:spLocks noEditPoints="1"/>
            </p:cNvSpPr>
            <p:nvPr userDrawn="1">
              <p:custDataLst>
                <p:tags r:id="rId3"/>
              </p:custDataLst>
            </p:nvPr>
          </p:nvSpPr>
          <p:spPr bwMode="gray">
            <a:xfrm>
              <a:off x="522288" y="2708275"/>
              <a:ext cx="350837" cy="473075"/>
            </a:xfrm>
            <a:custGeom>
              <a:avLst/>
              <a:gdLst/>
              <a:ahLst/>
              <a:cxnLst>
                <a:cxn ang="0">
                  <a:pos x="1164" y="1320"/>
                </a:cxn>
                <a:cxn ang="0">
                  <a:pos x="1140" y="1453"/>
                </a:cxn>
                <a:cxn ang="0">
                  <a:pos x="1097" y="1580"/>
                </a:cxn>
                <a:cxn ang="0">
                  <a:pos x="1030" y="1693"/>
                </a:cxn>
                <a:cxn ang="0">
                  <a:pos x="938" y="1779"/>
                </a:cxn>
                <a:cxn ang="0">
                  <a:pos x="819" y="1829"/>
                </a:cxn>
                <a:cxn ang="0">
                  <a:pos x="705" y="1837"/>
                </a:cxn>
                <a:cxn ang="0">
                  <a:pos x="637" y="1827"/>
                </a:cxn>
                <a:cxn ang="0">
                  <a:pos x="581" y="1804"/>
                </a:cxn>
                <a:cxn ang="0">
                  <a:pos x="536" y="1769"/>
                </a:cxn>
                <a:cxn ang="0">
                  <a:pos x="503" y="1722"/>
                </a:cxn>
                <a:cxn ang="0">
                  <a:pos x="483" y="1662"/>
                </a:cxn>
                <a:cxn ang="0">
                  <a:pos x="476" y="1588"/>
                </a:cxn>
                <a:cxn ang="0">
                  <a:pos x="507" y="1459"/>
                </a:cxn>
                <a:cxn ang="0">
                  <a:pos x="589" y="1364"/>
                </a:cxn>
                <a:cxn ang="0">
                  <a:pos x="709" y="1295"/>
                </a:cxn>
                <a:cxn ang="0">
                  <a:pos x="847" y="1252"/>
                </a:cxn>
                <a:cxn ang="0">
                  <a:pos x="1019" y="1225"/>
                </a:cxn>
                <a:cxn ang="0">
                  <a:pos x="1629" y="645"/>
                </a:cxn>
                <a:cxn ang="0">
                  <a:pos x="1607" y="441"/>
                </a:cxn>
                <a:cxn ang="0">
                  <a:pos x="1543" y="281"/>
                </a:cxn>
                <a:cxn ang="0">
                  <a:pos x="1441" y="160"/>
                </a:cxn>
                <a:cxn ang="0">
                  <a:pos x="1306" y="76"/>
                </a:cxn>
                <a:cxn ang="0">
                  <a:pos x="1141" y="25"/>
                </a:cxn>
                <a:cxn ang="0">
                  <a:pos x="952" y="2"/>
                </a:cxn>
                <a:cxn ang="0">
                  <a:pos x="751" y="5"/>
                </a:cxn>
                <a:cxn ang="0">
                  <a:pos x="564" y="36"/>
                </a:cxn>
                <a:cxn ang="0">
                  <a:pos x="398" y="99"/>
                </a:cxn>
                <a:cxn ang="0">
                  <a:pos x="261" y="194"/>
                </a:cxn>
                <a:cxn ang="0">
                  <a:pos x="159" y="326"/>
                </a:cxn>
                <a:cxn ang="0">
                  <a:pos x="96" y="496"/>
                </a:cxn>
                <a:cxn ang="0">
                  <a:pos x="556" y="661"/>
                </a:cxn>
                <a:cxn ang="0">
                  <a:pos x="564" y="570"/>
                </a:cxn>
                <a:cxn ang="0">
                  <a:pos x="587" y="493"/>
                </a:cxn>
                <a:cxn ang="0">
                  <a:pos x="625" y="431"/>
                </a:cxn>
                <a:cxn ang="0">
                  <a:pos x="679" y="385"/>
                </a:cxn>
                <a:cxn ang="0">
                  <a:pos x="749" y="355"/>
                </a:cxn>
                <a:cxn ang="0">
                  <a:pos x="833" y="340"/>
                </a:cxn>
                <a:cxn ang="0">
                  <a:pos x="934" y="343"/>
                </a:cxn>
                <a:cxn ang="0">
                  <a:pos x="1020" y="369"/>
                </a:cxn>
                <a:cxn ang="0">
                  <a:pos x="1083" y="416"/>
                </a:cxn>
                <a:cxn ang="0">
                  <a:pos x="1126" y="481"/>
                </a:cxn>
                <a:cxn ang="0">
                  <a:pos x="1153" y="560"/>
                </a:cxn>
                <a:cxn ang="0">
                  <a:pos x="1169" y="725"/>
                </a:cxn>
                <a:cxn ang="0">
                  <a:pos x="885" y="945"/>
                </a:cxn>
                <a:cxn ang="0">
                  <a:pos x="638" y="982"/>
                </a:cxn>
                <a:cxn ang="0">
                  <a:pos x="406" y="1052"/>
                </a:cxn>
                <a:cxn ang="0">
                  <a:pos x="209" y="1168"/>
                </a:cxn>
                <a:cxn ang="0">
                  <a:pos x="67" y="1339"/>
                </a:cxn>
                <a:cxn ang="0">
                  <a:pos x="2" y="1579"/>
                </a:cxn>
                <a:cxn ang="0">
                  <a:pos x="13" y="1762"/>
                </a:cxn>
                <a:cxn ang="0">
                  <a:pos x="62" y="1897"/>
                </a:cxn>
                <a:cxn ang="0">
                  <a:pos x="143" y="2008"/>
                </a:cxn>
                <a:cxn ang="0">
                  <a:pos x="250" y="2092"/>
                </a:cxn>
                <a:cxn ang="0">
                  <a:pos x="377" y="2149"/>
                </a:cxn>
                <a:cxn ang="0">
                  <a:pos x="522" y="2180"/>
                </a:cxn>
                <a:cxn ang="0">
                  <a:pos x="698" y="2181"/>
                </a:cxn>
                <a:cxn ang="0">
                  <a:pos x="799" y="2166"/>
                </a:cxn>
                <a:cxn ang="0">
                  <a:pos x="896" y="2137"/>
                </a:cxn>
                <a:cxn ang="0">
                  <a:pos x="985" y="2093"/>
                </a:cxn>
                <a:cxn ang="0">
                  <a:pos x="1063" y="2032"/>
                </a:cxn>
                <a:cxn ang="0">
                  <a:pos x="1129" y="1953"/>
                </a:cxn>
                <a:cxn ang="0">
                  <a:pos x="1169" y="2137"/>
                </a:cxn>
              </a:cxnLst>
              <a:rect l="0" t="0" r="r" b="b"/>
              <a:pathLst>
                <a:path w="1629" h="2185">
                  <a:moveTo>
                    <a:pt x="1169" y="1217"/>
                  </a:moveTo>
                  <a:lnTo>
                    <a:pt x="1169" y="1243"/>
                  </a:lnTo>
                  <a:lnTo>
                    <a:pt x="1168" y="1268"/>
                  </a:lnTo>
                  <a:lnTo>
                    <a:pt x="1166" y="1294"/>
                  </a:lnTo>
                  <a:lnTo>
                    <a:pt x="1164" y="1320"/>
                  </a:lnTo>
                  <a:lnTo>
                    <a:pt x="1161" y="1347"/>
                  </a:lnTo>
                  <a:lnTo>
                    <a:pt x="1157" y="1374"/>
                  </a:lnTo>
                  <a:lnTo>
                    <a:pt x="1152" y="1401"/>
                  </a:lnTo>
                  <a:lnTo>
                    <a:pt x="1147" y="1427"/>
                  </a:lnTo>
                  <a:lnTo>
                    <a:pt x="1140" y="1453"/>
                  </a:lnTo>
                  <a:lnTo>
                    <a:pt x="1133" y="1480"/>
                  </a:lnTo>
                  <a:lnTo>
                    <a:pt x="1125" y="1505"/>
                  </a:lnTo>
                  <a:lnTo>
                    <a:pt x="1117" y="1531"/>
                  </a:lnTo>
                  <a:lnTo>
                    <a:pt x="1107" y="1556"/>
                  </a:lnTo>
                  <a:lnTo>
                    <a:pt x="1097" y="1580"/>
                  </a:lnTo>
                  <a:lnTo>
                    <a:pt x="1085" y="1604"/>
                  </a:lnTo>
                  <a:lnTo>
                    <a:pt x="1073" y="1627"/>
                  </a:lnTo>
                  <a:lnTo>
                    <a:pt x="1059" y="1651"/>
                  </a:lnTo>
                  <a:lnTo>
                    <a:pt x="1045" y="1672"/>
                  </a:lnTo>
                  <a:lnTo>
                    <a:pt x="1030" y="1693"/>
                  </a:lnTo>
                  <a:lnTo>
                    <a:pt x="1014" y="1712"/>
                  </a:lnTo>
                  <a:lnTo>
                    <a:pt x="997" y="1731"/>
                  </a:lnTo>
                  <a:lnTo>
                    <a:pt x="978" y="1748"/>
                  </a:lnTo>
                  <a:lnTo>
                    <a:pt x="958" y="1764"/>
                  </a:lnTo>
                  <a:lnTo>
                    <a:pt x="938" y="1779"/>
                  </a:lnTo>
                  <a:lnTo>
                    <a:pt x="916" y="1792"/>
                  </a:lnTo>
                  <a:lnTo>
                    <a:pt x="894" y="1804"/>
                  </a:lnTo>
                  <a:lnTo>
                    <a:pt x="870" y="1814"/>
                  </a:lnTo>
                  <a:lnTo>
                    <a:pt x="845" y="1823"/>
                  </a:lnTo>
                  <a:lnTo>
                    <a:pt x="819" y="1829"/>
                  </a:lnTo>
                  <a:lnTo>
                    <a:pt x="792" y="1834"/>
                  </a:lnTo>
                  <a:lnTo>
                    <a:pt x="764" y="1837"/>
                  </a:lnTo>
                  <a:lnTo>
                    <a:pt x="734" y="1838"/>
                  </a:lnTo>
                  <a:lnTo>
                    <a:pt x="719" y="1838"/>
                  </a:lnTo>
                  <a:lnTo>
                    <a:pt x="705" y="1837"/>
                  </a:lnTo>
                  <a:lnTo>
                    <a:pt x="690" y="1836"/>
                  </a:lnTo>
                  <a:lnTo>
                    <a:pt x="676" y="1835"/>
                  </a:lnTo>
                  <a:lnTo>
                    <a:pt x="663" y="1832"/>
                  </a:lnTo>
                  <a:lnTo>
                    <a:pt x="650" y="1830"/>
                  </a:lnTo>
                  <a:lnTo>
                    <a:pt x="637" y="1827"/>
                  </a:lnTo>
                  <a:lnTo>
                    <a:pt x="625" y="1823"/>
                  </a:lnTo>
                  <a:lnTo>
                    <a:pt x="614" y="1819"/>
                  </a:lnTo>
                  <a:lnTo>
                    <a:pt x="602" y="1815"/>
                  </a:lnTo>
                  <a:lnTo>
                    <a:pt x="592" y="1810"/>
                  </a:lnTo>
                  <a:lnTo>
                    <a:pt x="581" y="1804"/>
                  </a:lnTo>
                  <a:lnTo>
                    <a:pt x="571" y="1798"/>
                  </a:lnTo>
                  <a:lnTo>
                    <a:pt x="562" y="1792"/>
                  </a:lnTo>
                  <a:lnTo>
                    <a:pt x="553" y="1785"/>
                  </a:lnTo>
                  <a:lnTo>
                    <a:pt x="544" y="1777"/>
                  </a:lnTo>
                  <a:lnTo>
                    <a:pt x="536" y="1769"/>
                  </a:lnTo>
                  <a:lnTo>
                    <a:pt x="529" y="1761"/>
                  </a:lnTo>
                  <a:lnTo>
                    <a:pt x="522" y="1752"/>
                  </a:lnTo>
                  <a:lnTo>
                    <a:pt x="515" y="1742"/>
                  </a:lnTo>
                  <a:lnTo>
                    <a:pt x="509" y="1732"/>
                  </a:lnTo>
                  <a:lnTo>
                    <a:pt x="503" y="1722"/>
                  </a:lnTo>
                  <a:lnTo>
                    <a:pt x="498" y="1711"/>
                  </a:lnTo>
                  <a:lnTo>
                    <a:pt x="494" y="1699"/>
                  </a:lnTo>
                  <a:lnTo>
                    <a:pt x="490" y="1687"/>
                  </a:lnTo>
                  <a:lnTo>
                    <a:pt x="486" y="1675"/>
                  </a:lnTo>
                  <a:lnTo>
                    <a:pt x="483" y="1662"/>
                  </a:lnTo>
                  <a:lnTo>
                    <a:pt x="481" y="1648"/>
                  </a:lnTo>
                  <a:lnTo>
                    <a:pt x="479" y="1633"/>
                  </a:lnTo>
                  <a:lnTo>
                    <a:pt x="477" y="1619"/>
                  </a:lnTo>
                  <a:lnTo>
                    <a:pt x="476" y="1604"/>
                  </a:lnTo>
                  <a:lnTo>
                    <a:pt x="476" y="1588"/>
                  </a:lnTo>
                  <a:lnTo>
                    <a:pt x="477" y="1560"/>
                  </a:lnTo>
                  <a:lnTo>
                    <a:pt x="481" y="1532"/>
                  </a:lnTo>
                  <a:lnTo>
                    <a:pt x="488" y="1507"/>
                  </a:lnTo>
                  <a:lnTo>
                    <a:pt x="496" y="1482"/>
                  </a:lnTo>
                  <a:lnTo>
                    <a:pt x="507" y="1459"/>
                  </a:lnTo>
                  <a:lnTo>
                    <a:pt x="520" y="1438"/>
                  </a:lnTo>
                  <a:lnTo>
                    <a:pt x="535" y="1417"/>
                  </a:lnTo>
                  <a:lnTo>
                    <a:pt x="551" y="1398"/>
                  </a:lnTo>
                  <a:lnTo>
                    <a:pt x="570" y="1380"/>
                  </a:lnTo>
                  <a:lnTo>
                    <a:pt x="589" y="1364"/>
                  </a:lnTo>
                  <a:lnTo>
                    <a:pt x="611" y="1347"/>
                  </a:lnTo>
                  <a:lnTo>
                    <a:pt x="633" y="1332"/>
                  </a:lnTo>
                  <a:lnTo>
                    <a:pt x="657" y="1319"/>
                  </a:lnTo>
                  <a:lnTo>
                    <a:pt x="682" y="1307"/>
                  </a:lnTo>
                  <a:lnTo>
                    <a:pt x="709" y="1295"/>
                  </a:lnTo>
                  <a:lnTo>
                    <a:pt x="735" y="1285"/>
                  </a:lnTo>
                  <a:lnTo>
                    <a:pt x="762" y="1275"/>
                  </a:lnTo>
                  <a:lnTo>
                    <a:pt x="790" y="1267"/>
                  </a:lnTo>
                  <a:lnTo>
                    <a:pt x="819" y="1259"/>
                  </a:lnTo>
                  <a:lnTo>
                    <a:pt x="847" y="1252"/>
                  </a:lnTo>
                  <a:lnTo>
                    <a:pt x="876" y="1246"/>
                  </a:lnTo>
                  <a:lnTo>
                    <a:pt x="905" y="1240"/>
                  </a:lnTo>
                  <a:lnTo>
                    <a:pt x="933" y="1235"/>
                  </a:lnTo>
                  <a:lnTo>
                    <a:pt x="962" y="1231"/>
                  </a:lnTo>
                  <a:lnTo>
                    <a:pt x="1019" y="1225"/>
                  </a:lnTo>
                  <a:lnTo>
                    <a:pt x="1073" y="1221"/>
                  </a:lnTo>
                  <a:lnTo>
                    <a:pt x="1123" y="1218"/>
                  </a:lnTo>
                  <a:lnTo>
                    <a:pt x="1169" y="1217"/>
                  </a:lnTo>
                  <a:close/>
                  <a:moveTo>
                    <a:pt x="1629" y="2137"/>
                  </a:moveTo>
                  <a:lnTo>
                    <a:pt x="1629" y="645"/>
                  </a:lnTo>
                  <a:lnTo>
                    <a:pt x="1628" y="601"/>
                  </a:lnTo>
                  <a:lnTo>
                    <a:pt x="1626" y="558"/>
                  </a:lnTo>
                  <a:lnTo>
                    <a:pt x="1621" y="517"/>
                  </a:lnTo>
                  <a:lnTo>
                    <a:pt x="1615" y="478"/>
                  </a:lnTo>
                  <a:lnTo>
                    <a:pt x="1607" y="441"/>
                  </a:lnTo>
                  <a:lnTo>
                    <a:pt x="1597" y="406"/>
                  </a:lnTo>
                  <a:lnTo>
                    <a:pt x="1586" y="372"/>
                  </a:lnTo>
                  <a:lnTo>
                    <a:pt x="1573" y="340"/>
                  </a:lnTo>
                  <a:lnTo>
                    <a:pt x="1559" y="310"/>
                  </a:lnTo>
                  <a:lnTo>
                    <a:pt x="1543" y="281"/>
                  </a:lnTo>
                  <a:lnTo>
                    <a:pt x="1526" y="254"/>
                  </a:lnTo>
                  <a:lnTo>
                    <a:pt x="1506" y="228"/>
                  </a:lnTo>
                  <a:lnTo>
                    <a:pt x="1485" y="204"/>
                  </a:lnTo>
                  <a:lnTo>
                    <a:pt x="1464" y="181"/>
                  </a:lnTo>
                  <a:lnTo>
                    <a:pt x="1441" y="160"/>
                  </a:lnTo>
                  <a:lnTo>
                    <a:pt x="1416" y="141"/>
                  </a:lnTo>
                  <a:lnTo>
                    <a:pt x="1391" y="123"/>
                  </a:lnTo>
                  <a:lnTo>
                    <a:pt x="1364" y="106"/>
                  </a:lnTo>
                  <a:lnTo>
                    <a:pt x="1335" y="90"/>
                  </a:lnTo>
                  <a:lnTo>
                    <a:pt x="1306" y="76"/>
                  </a:lnTo>
                  <a:lnTo>
                    <a:pt x="1276" y="64"/>
                  </a:lnTo>
                  <a:lnTo>
                    <a:pt x="1243" y="52"/>
                  </a:lnTo>
                  <a:lnTo>
                    <a:pt x="1210" y="42"/>
                  </a:lnTo>
                  <a:lnTo>
                    <a:pt x="1176" y="33"/>
                  </a:lnTo>
                  <a:lnTo>
                    <a:pt x="1141" y="25"/>
                  </a:lnTo>
                  <a:lnTo>
                    <a:pt x="1106" y="18"/>
                  </a:lnTo>
                  <a:lnTo>
                    <a:pt x="1069" y="12"/>
                  </a:lnTo>
                  <a:lnTo>
                    <a:pt x="1031" y="8"/>
                  </a:lnTo>
                  <a:lnTo>
                    <a:pt x="993" y="4"/>
                  </a:lnTo>
                  <a:lnTo>
                    <a:pt x="952" y="2"/>
                  </a:lnTo>
                  <a:lnTo>
                    <a:pt x="912" y="0"/>
                  </a:lnTo>
                  <a:lnTo>
                    <a:pt x="871" y="0"/>
                  </a:lnTo>
                  <a:lnTo>
                    <a:pt x="830" y="1"/>
                  </a:lnTo>
                  <a:lnTo>
                    <a:pt x="790" y="2"/>
                  </a:lnTo>
                  <a:lnTo>
                    <a:pt x="751" y="5"/>
                  </a:lnTo>
                  <a:lnTo>
                    <a:pt x="712" y="9"/>
                  </a:lnTo>
                  <a:lnTo>
                    <a:pt x="673" y="14"/>
                  </a:lnTo>
                  <a:lnTo>
                    <a:pt x="636" y="20"/>
                  </a:lnTo>
                  <a:lnTo>
                    <a:pt x="599" y="28"/>
                  </a:lnTo>
                  <a:lnTo>
                    <a:pt x="564" y="36"/>
                  </a:lnTo>
                  <a:lnTo>
                    <a:pt x="529" y="46"/>
                  </a:lnTo>
                  <a:lnTo>
                    <a:pt x="495" y="57"/>
                  </a:lnTo>
                  <a:lnTo>
                    <a:pt x="462" y="70"/>
                  </a:lnTo>
                  <a:lnTo>
                    <a:pt x="430" y="83"/>
                  </a:lnTo>
                  <a:lnTo>
                    <a:pt x="398" y="99"/>
                  </a:lnTo>
                  <a:lnTo>
                    <a:pt x="368" y="115"/>
                  </a:lnTo>
                  <a:lnTo>
                    <a:pt x="340" y="133"/>
                  </a:lnTo>
                  <a:lnTo>
                    <a:pt x="312" y="152"/>
                  </a:lnTo>
                  <a:lnTo>
                    <a:pt x="286" y="172"/>
                  </a:lnTo>
                  <a:lnTo>
                    <a:pt x="261" y="194"/>
                  </a:lnTo>
                  <a:lnTo>
                    <a:pt x="238" y="217"/>
                  </a:lnTo>
                  <a:lnTo>
                    <a:pt x="216" y="243"/>
                  </a:lnTo>
                  <a:lnTo>
                    <a:pt x="196" y="269"/>
                  </a:lnTo>
                  <a:lnTo>
                    <a:pt x="177" y="297"/>
                  </a:lnTo>
                  <a:lnTo>
                    <a:pt x="159" y="326"/>
                  </a:lnTo>
                  <a:lnTo>
                    <a:pt x="143" y="357"/>
                  </a:lnTo>
                  <a:lnTo>
                    <a:pt x="128" y="389"/>
                  </a:lnTo>
                  <a:lnTo>
                    <a:pt x="116" y="423"/>
                  </a:lnTo>
                  <a:lnTo>
                    <a:pt x="105" y="459"/>
                  </a:lnTo>
                  <a:lnTo>
                    <a:pt x="96" y="496"/>
                  </a:lnTo>
                  <a:lnTo>
                    <a:pt x="89" y="535"/>
                  </a:lnTo>
                  <a:lnTo>
                    <a:pt x="84" y="575"/>
                  </a:lnTo>
                  <a:lnTo>
                    <a:pt x="81" y="617"/>
                  </a:lnTo>
                  <a:lnTo>
                    <a:pt x="80" y="661"/>
                  </a:lnTo>
                  <a:lnTo>
                    <a:pt x="556" y="661"/>
                  </a:lnTo>
                  <a:lnTo>
                    <a:pt x="557" y="642"/>
                  </a:lnTo>
                  <a:lnTo>
                    <a:pt x="558" y="623"/>
                  </a:lnTo>
                  <a:lnTo>
                    <a:pt x="559" y="605"/>
                  </a:lnTo>
                  <a:lnTo>
                    <a:pt x="561" y="587"/>
                  </a:lnTo>
                  <a:lnTo>
                    <a:pt x="564" y="570"/>
                  </a:lnTo>
                  <a:lnTo>
                    <a:pt x="567" y="554"/>
                  </a:lnTo>
                  <a:lnTo>
                    <a:pt x="571" y="538"/>
                  </a:lnTo>
                  <a:lnTo>
                    <a:pt x="576" y="523"/>
                  </a:lnTo>
                  <a:lnTo>
                    <a:pt x="581" y="507"/>
                  </a:lnTo>
                  <a:lnTo>
                    <a:pt x="587" y="493"/>
                  </a:lnTo>
                  <a:lnTo>
                    <a:pt x="593" y="479"/>
                  </a:lnTo>
                  <a:lnTo>
                    <a:pt x="601" y="466"/>
                  </a:lnTo>
                  <a:lnTo>
                    <a:pt x="608" y="454"/>
                  </a:lnTo>
                  <a:lnTo>
                    <a:pt x="616" y="442"/>
                  </a:lnTo>
                  <a:lnTo>
                    <a:pt x="625" y="431"/>
                  </a:lnTo>
                  <a:lnTo>
                    <a:pt x="635" y="421"/>
                  </a:lnTo>
                  <a:lnTo>
                    <a:pt x="645" y="411"/>
                  </a:lnTo>
                  <a:lnTo>
                    <a:pt x="656" y="402"/>
                  </a:lnTo>
                  <a:lnTo>
                    <a:pt x="667" y="393"/>
                  </a:lnTo>
                  <a:lnTo>
                    <a:pt x="679" y="385"/>
                  </a:lnTo>
                  <a:lnTo>
                    <a:pt x="691" y="378"/>
                  </a:lnTo>
                  <a:lnTo>
                    <a:pt x="706" y="371"/>
                  </a:lnTo>
                  <a:lnTo>
                    <a:pt x="719" y="365"/>
                  </a:lnTo>
                  <a:lnTo>
                    <a:pt x="734" y="359"/>
                  </a:lnTo>
                  <a:lnTo>
                    <a:pt x="749" y="355"/>
                  </a:lnTo>
                  <a:lnTo>
                    <a:pt x="764" y="350"/>
                  </a:lnTo>
                  <a:lnTo>
                    <a:pt x="781" y="347"/>
                  </a:lnTo>
                  <a:lnTo>
                    <a:pt x="797" y="344"/>
                  </a:lnTo>
                  <a:lnTo>
                    <a:pt x="815" y="341"/>
                  </a:lnTo>
                  <a:lnTo>
                    <a:pt x="833" y="340"/>
                  </a:lnTo>
                  <a:lnTo>
                    <a:pt x="852" y="339"/>
                  </a:lnTo>
                  <a:lnTo>
                    <a:pt x="871" y="338"/>
                  </a:lnTo>
                  <a:lnTo>
                    <a:pt x="893" y="339"/>
                  </a:lnTo>
                  <a:lnTo>
                    <a:pt x="914" y="341"/>
                  </a:lnTo>
                  <a:lnTo>
                    <a:pt x="934" y="343"/>
                  </a:lnTo>
                  <a:lnTo>
                    <a:pt x="953" y="347"/>
                  </a:lnTo>
                  <a:lnTo>
                    <a:pt x="972" y="351"/>
                  </a:lnTo>
                  <a:lnTo>
                    <a:pt x="989" y="356"/>
                  </a:lnTo>
                  <a:lnTo>
                    <a:pt x="1005" y="362"/>
                  </a:lnTo>
                  <a:lnTo>
                    <a:pt x="1020" y="369"/>
                  </a:lnTo>
                  <a:lnTo>
                    <a:pt x="1034" y="377"/>
                  </a:lnTo>
                  <a:lnTo>
                    <a:pt x="1048" y="386"/>
                  </a:lnTo>
                  <a:lnTo>
                    <a:pt x="1060" y="395"/>
                  </a:lnTo>
                  <a:lnTo>
                    <a:pt x="1072" y="405"/>
                  </a:lnTo>
                  <a:lnTo>
                    <a:pt x="1083" y="416"/>
                  </a:lnTo>
                  <a:lnTo>
                    <a:pt x="1093" y="428"/>
                  </a:lnTo>
                  <a:lnTo>
                    <a:pt x="1102" y="440"/>
                  </a:lnTo>
                  <a:lnTo>
                    <a:pt x="1111" y="453"/>
                  </a:lnTo>
                  <a:lnTo>
                    <a:pt x="1119" y="467"/>
                  </a:lnTo>
                  <a:lnTo>
                    <a:pt x="1126" y="481"/>
                  </a:lnTo>
                  <a:lnTo>
                    <a:pt x="1133" y="495"/>
                  </a:lnTo>
                  <a:lnTo>
                    <a:pt x="1139" y="510"/>
                  </a:lnTo>
                  <a:lnTo>
                    <a:pt x="1144" y="527"/>
                  </a:lnTo>
                  <a:lnTo>
                    <a:pt x="1149" y="543"/>
                  </a:lnTo>
                  <a:lnTo>
                    <a:pt x="1153" y="560"/>
                  </a:lnTo>
                  <a:lnTo>
                    <a:pt x="1157" y="577"/>
                  </a:lnTo>
                  <a:lnTo>
                    <a:pt x="1162" y="612"/>
                  </a:lnTo>
                  <a:lnTo>
                    <a:pt x="1166" y="649"/>
                  </a:lnTo>
                  <a:lnTo>
                    <a:pt x="1169" y="687"/>
                  </a:lnTo>
                  <a:lnTo>
                    <a:pt x="1169" y="725"/>
                  </a:lnTo>
                  <a:lnTo>
                    <a:pt x="1169" y="927"/>
                  </a:lnTo>
                  <a:lnTo>
                    <a:pt x="1078" y="931"/>
                  </a:lnTo>
                  <a:lnTo>
                    <a:pt x="983" y="936"/>
                  </a:lnTo>
                  <a:lnTo>
                    <a:pt x="933" y="940"/>
                  </a:lnTo>
                  <a:lnTo>
                    <a:pt x="885" y="945"/>
                  </a:lnTo>
                  <a:lnTo>
                    <a:pt x="835" y="950"/>
                  </a:lnTo>
                  <a:lnTo>
                    <a:pt x="786" y="956"/>
                  </a:lnTo>
                  <a:lnTo>
                    <a:pt x="737" y="964"/>
                  </a:lnTo>
                  <a:lnTo>
                    <a:pt x="687" y="972"/>
                  </a:lnTo>
                  <a:lnTo>
                    <a:pt x="638" y="982"/>
                  </a:lnTo>
                  <a:lnTo>
                    <a:pt x="590" y="993"/>
                  </a:lnTo>
                  <a:lnTo>
                    <a:pt x="543" y="1005"/>
                  </a:lnTo>
                  <a:lnTo>
                    <a:pt x="496" y="1019"/>
                  </a:lnTo>
                  <a:lnTo>
                    <a:pt x="451" y="1035"/>
                  </a:lnTo>
                  <a:lnTo>
                    <a:pt x="406" y="1052"/>
                  </a:lnTo>
                  <a:lnTo>
                    <a:pt x="363" y="1071"/>
                  </a:lnTo>
                  <a:lnTo>
                    <a:pt x="322" y="1093"/>
                  </a:lnTo>
                  <a:lnTo>
                    <a:pt x="282" y="1115"/>
                  </a:lnTo>
                  <a:lnTo>
                    <a:pt x="245" y="1140"/>
                  </a:lnTo>
                  <a:lnTo>
                    <a:pt x="209" y="1168"/>
                  </a:lnTo>
                  <a:lnTo>
                    <a:pt x="176" y="1197"/>
                  </a:lnTo>
                  <a:lnTo>
                    <a:pt x="145" y="1229"/>
                  </a:lnTo>
                  <a:lnTo>
                    <a:pt x="115" y="1263"/>
                  </a:lnTo>
                  <a:lnTo>
                    <a:pt x="90" y="1299"/>
                  </a:lnTo>
                  <a:lnTo>
                    <a:pt x="67" y="1339"/>
                  </a:lnTo>
                  <a:lnTo>
                    <a:pt x="47" y="1382"/>
                  </a:lnTo>
                  <a:lnTo>
                    <a:pt x="31" y="1427"/>
                  </a:lnTo>
                  <a:lnTo>
                    <a:pt x="17" y="1475"/>
                  </a:lnTo>
                  <a:lnTo>
                    <a:pt x="8" y="1525"/>
                  </a:lnTo>
                  <a:lnTo>
                    <a:pt x="2" y="1579"/>
                  </a:lnTo>
                  <a:lnTo>
                    <a:pt x="0" y="1637"/>
                  </a:lnTo>
                  <a:lnTo>
                    <a:pt x="1" y="1670"/>
                  </a:lnTo>
                  <a:lnTo>
                    <a:pt x="3" y="1702"/>
                  </a:lnTo>
                  <a:lnTo>
                    <a:pt x="7" y="1733"/>
                  </a:lnTo>
                  <a:lnTo>
                    <a:pt x="13" y="1762"/>
                  </a:lnTo>
                  <a:lnTo>
                    <a:pt x="20" y="1791"/>
                  </a:lnTo>
                  <a:lnTo>
                    <a:pt x="28" y="1819"/>
                  </a:lnTo>
                  <a:lnTo>
                    <a:pt x="38" y="1846"/>
                  </a:lnTo>
                  <a:lnTo>
                    <a:pt x="49" y="1872"/>
                  </a:lnTo>
                  <a:lnTo>
                    <a:pt x="62" y="1897"/>
                  </a:lnTo>
                  <a:lnTo>
                    <a:pt x="75" y="1922"/>
                  </a:lnTo>
                  <a:lnTo>
                    <a:pt x="90" y="1945"/>
                  </a:lnTo>
                  <a:lnTo>
                    <a:pt x="106" y="1967"/>
                  </a:lnTo>
                  <a:lnTo>
                    <a:pt x="124" y="1988"/>
                  </a:lnTo>
                  <a:lnTo>
                    <a:pt x="143" y="2008"/>
                  </a:lnTo>
                  <a:lnTo>
                    <a:pt x="162" y="2026"/>
                  </a:lnTo>
                  <a:lnTo>
                    <a:pt x="183" y="2044"/>
                  </a:lnTo>
                  <a:lnTo>
                    <a:pt x="204" y="2061"/>
                  </a:lnTo>
                  <a:lnTo>
                    <a:pt x="226" y="2077"/>
                  </a:lnTo>
                  <a:lnTo>
                    <a:pt x="250" y="2092"/>
                  </a:lnTo>
                  <a:lnTo>
                    <a:pt x="274" y="2105"/>
                  </a:lnTo>
                  <a:lnTo>
                    <a:pt x="298" y="2118"/>
                  </a:lnTo>
                  <a:lnTo>
                    <a:pt x="324" y="2129"/>
                  </a:lnTo>
                  <a:lnTo>
                    <a:pt x="350" y="2140"/>
                  </a:lnTo>
                  <a:lnTo>
                    <a:pt x="377" y="2149"/>
                  </a:lnTo>
                  <a:lnTo>
                    <a:pt x="405" y="2158"/>
                  </a:lnTo>
                  <a:lnTo>
                    <a:pt x="434" y="2165"/>
                  </a:lnTo>
                  <a:lnTo>
                    <a:pt x="463" y="2171"/>
                  </a:lnTo>
                  <a:lnTo>
                    <a:pt x="492" y="2176"/>
                  </a:lnTo>
                  <a:lnTo>
                    <a:pt x="522" y="2180"/>
                  </a:lnTo>
                  <a:lnTo>
                    <a:pt x="552" y="2183"/>
                  </a:lnTo>
                  <a:lnTo>
                    <a:pt x="582" y="2184"/>
                  </a:lnTo>
                  <a:lnTo>
                    <a:pt x="613" y="2185"/>
                  </a:lnTo>
                  <a:lnTo>
                    <a:pt x="655" y="2184"/>
                  </a:lnTo>
                  <a:lnTo>
                    <a:pt x="698" y="2181"/>
                  </a:lnTo>
                  <a:lnTo>
                    <a:pt x="718" y="2179"/>
                  </a:lnTo>
                  <a:lnTo>
                    <a:pt x="739" y="2177"/>
                  </a:lnTo>
                  <a:lnTo>
                    <a:pt x="759" y="2174"/>
                  </a:lnTo>
                  <a:lnTo>
                    <a:pt x="779" y="2170"/>
                  </a:lnTo>
                  <a:lnTo>
                    <a:pt x="799" y="2166"/>
                  </a:lnTo>
                  <a:lnTo>
                    <a:pt x="819" y="2162"/>
                  </a:lnTo>
                  <a:lnTo>
                    <a:pt x="839" y="2156"/>
                  </a:lnTo>
                  <a:lnTo>
                    <a:pt x="858" y="2151"/>
                  </a:lnTo>
                  <a:lnTo>
                    <a:pt x="877" y="2144"/>
                  </a:lnTo>
                  <a:lnTo>
                    <a:pt x="896" y="2137"/>
                  </a:lnTo>
                  <a:lnTo>
                    <a:pt x="914" y="2130"/>
                  </a:lnTo>
                  <a:lnTo>
                    <a:pt x="932" y="2122"/>
                  </a:lnTo>
                  <a:lnTo>
                    <a:pt x="950" y="2113"/>
                  </a:lnTo>
                  <a:lnTo>
                    <a:pt x="967" y="2103"/>
                  </a:lnTo>
                  <a:lnTo>
                    <a:pt x="985" y="2093"/>
                  </a:lnTo>
                  <a:lnTo>
                    <a:pt x="1002" y="2082"/>
                  </a:lnTo>
                  <a:lnTo>
                    <a:pt x="1018" y="2071"/>
                  </a:lnTo>
                  <a:lnTo>
                    <a:pt x="1033" y="2059"/>
                  </a:lnTo>
                  <a:lnTo>
                    <a:pt x="1049" y="2046"/>
                  </a:lnTo>
                  <a:lnTo>
                    <a:pt x="1063" y="2032"/>
                  </a:lnTo>
                  <a:lnTo>
                    <a:pt x="1078" y="2018"/>
                  </a:lnTo>
                  <a:lnTo>
                    <a:pt x="1091" y="2003"/>
                  </a:lnTo>
                  <a:lnTo>
                    <a:pt x="1104" y="1987"/>
                  </a:lnTo>
                  <a:lnTo>
                    <a:pt x="1117" y="1970"/>
                  </a:lnTo>
                  <a:lnTo>
                    <a:pt x="1129" y="1953"/>
                  </a:lnTo>
                  <a:lnTo>
                    <a:pt x="1140" y="1935"/>
                  </a:lnTo>
                  <a:lnTo>
                    <a:pt x="1151" y="1916"/>
                  </a:lnTo>
                  <a:lnTo>
                    <a:pt x="1161" y="1895"/>
                  </a:lnTo>
                  <a:lnTo>
                    <a:pt x="1169" y="1895"/>
                  </a:lnTo>
                  <a:lnTo>
                    <a:pt x="1169" y="2137"/>
                  </a:lnTo>
                  <a:lnTo>
                    <a:pt x="1629" y="2137"/>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18" name="Freeform 5"/>
            <p:cNvSpPr>
              <a:spLocks/>
            </p:cNvSpPr>
            <p:nvPr userDrawn="1">
              <p:custDataLst>
                <p:tags r:id="rId4"/>
              </p:custDataLst>
            </p:nvPr>
          </p:nvSpPr>
          <p:spPr bwMode="gray">
            <a:xfrm>
              <a:off x="922338" y="2708275"/>
              <a:ext cx="377825" cy="473075"/>
            </a:xfrm>
            <a:custGeom>
              <a:avLst/>
              <a:gdLst/>
              <a:ahLst/>
              <a:cxnLst>
                <a:cxn ang="0">
                  <a:pos x="1229" y="665"/>
                </a:cxn>
                <a:cxn ang="0">
                  <a:pos x="1216" y="589"/>
                </a:cxn>
                <a:cxn ang="0">
                  <a:pos x="1194" y="517"/>
                </a:cxn>
                <a:cxn ang="0">
                  <a:pos x="1161" y="456"/>
                </a:cxn>
                <a:cxn ang="0">
                  <a:pos x="1117" y="404"/>
                </a:cxn>
                <a:cxn ang="0">
                  <a:pos x="1058" y="366"/>
                </a:cxn>
                <a:cxn ang="0">
                  <a:pos x="985" y="344"/>
                </a:cxn>
                <a:cxn ang="0">
                  <a:pos x="891" y="339"/>
                </a:cxn>
                <a:cxn ang="0">
                  <a:pos x="788" y="361"/>
                </a:cxn>
                <a:cxn ang="0">
                  <a:pos x="704" y="406"/>
                </a:cxn>
                <a:cxn ang="0">
                  <a:pos x="639" y="471"/>
                </a:cxn>
                <a:cxn ang="0">
                  <a:pos x="589" y="553"/>
                </a:cxn>
                <a:cxn ang="0">
                  <a:pos x="553" y="644"/>
                </a:cxn>
                <a:cxn ang="0">
                  <a:pos x="531" y="740"/>
                </a:cxn>
                <a:cxn ang="0">
                  <a:pos x="519" y="840"/>
                </a:cxn>
                <a:cxn ang="0">
                  <a:pos x="517" y="960"/>
                </a:cxn>
                <a:cxn ang="0">
                  <a:pos x="539" y="1147"/>
                </a:cxn>
                <a:cxn ang="0">
                  <a:pos x="588" y="1318"/>
                </a:cxn>
                <a:cxn ang="0">
                  <a:pos x="664" y="1471"/>
                </a:cxn>
                <a:cxn ang="0">
                  <a:pos x="767" y="1601"/>
                </a:cxn>
                <a:cxn ang="0">
                  <a:pos x="896" y="1707"/>
                </a:cxn>
                <a:cxn ang="0">
                  <a:pos x="1050" y="1784"/>
                </a:cxn>
                <a:cxn ang="0">
                  <a:pos x="1229" y="1828"/>
                </a:cxn>
                <a:cxn ang="0">
                  <a:pos x="1422" y="1838"/>
                </a:cxn>
                <a:cxn ang="0">
                  <a:pos x="1574" y="1826"/>
                </a:cxn>
                <a:cxn ang="0">
                  <a:pos x="1662" y="1810"/>
                </a:cxn>
                <a:cxn ang="0">
                  <a:pos x="1726" y="2088"/>
                </a:cxn>
                <a:cxn ang="0">
                  <a:pos x="1578" y="2131"/>
                </a:cxn>
                <a:cxn ang="0">
                  <a:pos x="1427" y="2161"/>
                </a:cxn>
                <a:cxn ang="0">
                  <a:pos x="1273" y="2179"/>
                </a:cxn>
                <a:cxn ang="0">
                  <a:pos x="1121" y="2185"/>
                </a:cxn>
                <a:cxn ang="0">
                  <a:pos x="858" y="2164"/>
                </a:cxn>
                <a:cxn ang="0">
                  <a:pos x="629" y="2102"/>
                </a:cxn>
                <a:cxn ang="0">
                  <a:pos x="436" y="2002"/>
                </a:cxn>
                <a:cxn ang="0">
                  <a:pos x="280" y="1864"/>
                </a:cxn>
                <a:cxn ang="0">
                  <a:pos x="157" y="1694"/>
                </a:cxn>
                <a:cxn ang="0">
                  <a:pos x="70" y="1491"/>
                </a:cxn>
                <a:cxn ang="0">
                  <a:pos x="18" y="1259"/>
                </a:cxn>
                <a:cxn ang="0">
                  <a:pos x="0" y="999"/>
                </a:cxn>
                <a:cxn ang="0">
                  <a:pos x="16" y="783"/>
                </a:cxn>
                <a:cxn ang="0">
                  <a:pos x="61" y="589"/>
                </a:cxn>
                <a:cxn ang="0">
                  <a:pos x="137" y="417"/>
                </a:cxn>
                <a:cxn ang="0">
                  <a:pos x="243" y="273"/>
                </a:cxn>
                <a:cxn ang="0">
                  <a:pos x="378" y="156"/>
                </a:cxn>
                <a:cxn ang="0">
                  <a:pos x="541" y="71"/>
                </a:cxn>
                <a:cxn ang="0">
                  <a:pos x="732" y="18"/>
                </a:cxn>
                <a:cxn ang="0">
                  <a:pos x="952" y="0"/>
                </a:cxn>
                <a:cxn ang="0">
                  <a:pos x="1134" y="12"/>
                </a:cxn>
                <a:cxn ang="0">
                  <a:pos x="1294" y="47"/>
                </a:cxn>
                <a:cxn ang="0">
                  <a:pos x="1431" y="106"/>
                </a:cxn>
                <a:cxn ang="0">
                  <a:pos x="1544" y="189"/>
                </a:cxn>
                <a:cxn ang="0">
                  <a:pos x="1634" y="297"/>
                </a:cxn>
                <a:cxn ang="0">
                  <a:pos x="1698" y="428"/>
                </a:cxn>
                <a:cxn ang="0">
                  <a:pos x="1737" y="585"/>
                </a:cxn>
                <a:cxn ang="0">
                  <a:pos x="1750" y="765"/>
                </a:cxn>
              </a:cxnLst>
              <a:rect l="0" t="0" r="r" b="b"/>
              <a:pathLst>
                <a:path w="1750" h="2185">
                  <a:moveTo>
                    <a:pt x="1234" y="765"/>
                  </a:moveTo>
                  <a:lnTo>
                    <a:pt x="1233" y="725"/>
                  </a:lnTo>
                  <a:lnTo>
                    <a:pt x="1231" y="685"/>
                  </a:lnTo>
                  <a:lnTo>
                    <a:pt x="1229" y="665"/>
                  </a:lnTo>
                  <a:lnTo>
                    <a:pt x="1226" y="646"/>
                  </a:lnTo>
                  <a:lnTo>
                    <a:pt x="1223" y="626"/>
                  </a:lnTo>
                  <a:lnTo>
                    <a:pt x="1220" y="607"/>
                  </a:lnTo>
                  <a:lnTo>
                    <a:pt x="1216" y="589"/>
                  </a:lnTo>
                  <a:lnTo>
                    <a:pt x="1211" y="571"/>
                  </a:lnTo>
                  <a:lnTo>
                    <a:pt x="1206" y="553"/>
                  </a:lnTo>
                  <a:lnTo>
                    <a:pt x="1200" y="535"/>
                  </a:lnTo>
                  <a:lnTo>
                    <a:pt x="1194" y="517"/>
                  </a:lnTo>
                  <a:lnTo>
                    <a:pt x="1187" y="501"/>
                  </a:lnTo>
                  <a:lnTo>
                    <a:pt x="1179" y="485"/>
                  </a:lnTo>
                  <a:lnTo>
                    <a:pt x="1171" y="470"/>
                  </a:lnTo>
                  <a:lnTo>
                    <a:pt x="1161" y="456"/>
                  </a:lnTo>
                  <a:lnTo>
                    <a:pt x="1151" y="442"/>
                  </a:lnTo>
                  <a:lnTo>
                    <a:pt x="1141" y="429"/>
                  </a:lnTo>
                  <a:lnTo>
                    <a:pt x="1129" y="416"/>
                  </a:lnTo>
                  <a:lnTo>
                    <a:pt x="1117" y="404"/>
                  </a:lnTo>
                  <a:lnTo>
                    <a:pt x="1103" y="394"/>
                  </a:lnTo>
                  <a:lnTo>
                    <a:pt x="1089" y="384"/>
                  </a:lnTo>
                  <a:lnTo>
                    <a:pt x="1074" y="375"/>
                  </a:lnTo>
                  <a:lnTo>
                    <a:pt x="1058" y="366"/>
                  </a:lnTo>
                  <a:lnTo>
                    <a:pt x="1041" y="359"/>
                  </a:lnTo>
                  <a:lnTo>
                    <a:pt x="1023" y="353"/>
                  </a:lnTo>
                  <a:lnTo>
                    <a:pt x="1004" y="348"/>
                  </a:lnTo>
                  <a:lnTo>
                    <a:pt x="985" y="344"/>
                  </a:lnTo>
                  <a:lnTo>
                    <a:pt x="964" y="341"/>
                  </a:lnTo>
                  <a:lnTo>
                    <a:pt x="942" y="339"/>
                  </a:lnTo>
                  <a:lnTo>
                    <a:pt x="919" y="338"/>
                  </a:lnTo>
                  <a:lnTo>
                    <a:pt x="891" y="339"/>
                  </a:lnTo>
                  <a:lnTo>
                    <a:pt x="863" y="342"/>
                  </a:lnTo>
                  <a:lnTo>
                    <a:pt x="837" y="347"/>
                  </a:lnTo>
                  <a:lnTo>
                    <a:pt x="812" y="353"/>
                  </a:lnTo>
                  <a:lnTo>
                    <a:pt x="788" y="361"/>
                  </a:lnTo>
                  <a:lnTo>
                    <a:pt x="765" y="370"/>
                  </a:lnTo>
                  <a:lnTo>
                    <a:pt x="744" y="381"/>
                  </a:lnTo>
                  <a:lnTo>
                    <a:pt x="723" y="393"/>
                  </a:lnTo>
                  <a:lnTo>
                    <a:pt x="704" y="406"/>
                  </a:lnTo>
                  <a:lnTo>
                    <a:pt x="686" y="421"/>
                  </a:lnTo>
                  <a:lnTo>
                    <a:pt x="669" y="437"/>
                  </a:lnTo>
                  <a:lnTo>
                    <a:pt x="653" y="453"/>
                  </a:lnTo>
                  <a:lnTo>
                    <a:pt x="639" y="471"/>
                  </a:lnTo>
                  <a:lnTo>
                    <a:pt x="625" y="490"/>
                  </a:lnTo>
                  <a:lnTo>
                    <a:pt x="612" y="510"/>
                  </a:lnTo>
                  <a:lnTo>
                    <a:pt x="600" y="531"/>
                  </a:lnTo>
                  <a:lnTo>
                    <a:pt x="589" y="553"/>
                  </a:lnTo>
                  <a:lnTo>
                    <a:pt x="579" y="575"/>
                  </a:lnTo>
                  <a:lnTo>
                    <a:pt x="569" y="597"/>
                  </a:lnTo>
                  <a:lnTo>
                    <a:pt x="561" y="620"/>
                  </a:lnTo>
                  <a:lnTo>
                    <a:pt x="553" y="644"/>
                  </a:lnTo>
                  <a:lnTo>
                    <a:pt x="547" y="667"/>
                  </a:lnTo>
                  <a:lnTo>
                    <a:pt x="541" y="692"/>
                  </a:lnTo>
                  <a:lnTo>
                    <a:pt x="535" y="716"/>
                  </a:lnTo>
                  <a:lnTo>
                    <a:pt x="531" y="740"/>
                  </a:lnTo>
                  <a:lnTo>
                    <a:pt x="527" y="765"/>
                  </a:lnTo>
                  <a:lnTo>
                    <a:pt x="524" y="790"/>
                  </a:lnTo>
                  <a:lnTo>
                    <a:pt x="521" y="815"/>
                  </a:lnTo>
                  <a:lnTo>
                    <a:pt x="519" y="840"/>
                  </a:lnTo>
                  <a:lnTo>
                    <a:pt x="518" y="864"/>
                  </a:lnTo>
                  <a:lnTo>
                    <a:pt x="517" y="888"/>
                  </a:lnTo>
                  <a:lnTo>
                    <a:pt x="517" y="911"/>
                  </a:lnTo>
                  <a:lnTo>
                    <a:pt x="517" y="960"/>
                  </a:lnTo>
                  <a:lnTo>
                    <a:pt x="520" y="1008"/>
                  </a:lnTo>
                  <a:lnTo>
                    <a:pt x="525" y="1055"/>
                  </a:lnTo>
                  <a:lnTo>
                    <a:pt x="531" y="1102"/>
                  </a:lnTo>
                  <a:lnTo>
                    <a:pt x="539" y="1147"/>
                  </a:lnTo>
                  <a:lnTo>
                    <a:pt x="548" y="1191"/>
                  </a:lnTo>
                  <a:lnTo>
                    <a:pt x="560" y="1235"/>
                  </a:lnTo>
                  <a:lnTo>
                    <a:pt x="573" y="1277"/>
                  </a:lnTo>
                  <a:lnTo>
                    <a:pt x="588" y="1318"/>
                  </a:lnTo>
                  <a:lnTo>
                    <a:pt x="604" y="1359"/>
                  </a:lnTo>
                  <a:lnTo>
                    <a:pt x="622" y="1398"/>
                  </a:lnTo>
                  <a:lnTo>
                    <a:pt x="642" y="1435"/>
                  </a:lnTo>
                  <a:lnTo>
                    <a:pt x="664" y="1471"/>
                  </a:lnTo>
                  <a:lnTo>
                    <a:pt x="687" y="1506"/>
                  </a:lnTo>
                  <a:lnTo>
                    <a:pt x="712" y="1539"/>
                  </a:lnTo>
                  <a:lnTo>
                    <a:pt x="739" y="1571"/>
                  </a:lnTo>
                  <a:lnTo>
                    <a:pt x="767" y="1601"/>
                  </a:lnTo>
                  <a:lnTo>
                    <a:pt x="797" y="1630"/>
                  </a:lnTo>
                  <a:lnTo>
                    <a:pt x="829" y="1658"/>
                  </a:lnTo>
                  <a:lnTo>
                    <a:pt x="862" y="1684"/>
                  </a:lnTo>
                  <a:lnTo>
                    <a:pt x="896" y="1707"/>
                  </a:lnTo>
                  <a:lnTo>
                    <a:pt x="932" y="1729"/>
                  </a:lnTo>
                  <a:lnTo>
                    <a:pt x="970" y="1749"/>
                  </a:lnTo>
                  <a:lnTo>
                    <a:pt x="1009" y="1767"/>
                  </a:lnTo>
                  <a:lnTo>
                    <a:pt x="1050" y="1784"/>
                  </a:lnTo>
                  <a:lnTo>
                    <a:pt x="1093" y="1798"/>
                  </a:lnTo>
                  <a:lnTo>
                    <a:pt x="1137" y="1810"/>
                  </a:lnTo>
                  <a:lnTo>
                    <a:pt x="1182" y="1820"/>
                  </a:lnTo>
                  <a:lnTo>
                    <a:pt x="1229" y="1828"/>
                  </a:lnTo>
                  <a:lnTo>
                    <a:pt x="1277" y="1834"/>
                  </a:lnTo>
                  <a:lnTo>
                    <a:pt x="1327" y="1837"/>
                  </a:lnTo>
                  <a:lnTo>
                    <a:pt x="1379" y="1838"/>
                  </a:lnTo>
                  <a:lnTo>
                    <a:pt x="1422" y="1838"/>
                  </a:lnTo>
                  <a:lnTo>
                    <a:pt x="1465" y="1836"/>
                  </a:lnTo>
                  <a:lnTo>
                    <a:pt x="1508" y="1834"/>
                  </a:lnTo>
                  <a:lnTo>
                    <a:pt x="1552" y="1829"/>
                  </a:lnTo>
                  <a:lnTo>
                    <a:pt x="1574" y="1826"/>
                  </a:lnTo>
                  <a:lnTo>
                    <a:pt x="1596" y="1823"/>
                  </a:lnTo>
                  <a:lnTo>
                    <a:pt x="1619" y="1819"/>
                  </a:lnTo>
                  <a:lnTo>
                    <a:pt x="1640" y="1815"/>
                  </a:lnTo>
                  <a:lnTo>
                    <a:pt x="1662" y="1810"/>
                  </a:lnTo>
                  <a:lnTo>
                    <a:pt x="1683" y="1804"/>
                  </a:lnTo>
                  <a:lnTo>
                    <a:pt x="1705" y="1797"/>
                  </a:lnTo>
                  <a:lnTo>
                    <a:pt x="1726" y="1790"/>
                  </a:lnTo>
                  <a:lnTo>
                    <a:pt x="1726" y="2088"/>
                  </a:lnTo>
                  <a:lnTo>
                    <a:pt x="1690" y="2100"/>
                  </a:lnTo>
                  <a:lnTo>
                    <a:pt x="1653" y="2111"/>
                  </a:lnTo>
                  <a:lnTo>
                    <a:pt x="1616" y="2121"/>
                  </a:lnTo>
                  <a:lnTo>
                    <a:pt x="1578" y="2131"/>
                  </a:lnTo>
                  <a:lnTo>
                    <a:pt x="1540" y="2139"/>
                  </a:lnTo>
                  <a:lnTo>
                    <a:pt x="1502" y="2147"/>
                  </a:lnTo>
                  <a:lnTo>
                    <a:pt x="1465" y="2154"/>
                  </a:lnTo>
                  <a:lnTo>
                    <a:pt x="1427" y="2161"/>
                  </a:lnTo>
                  <a:lnTo>
                    <a:pt x="1389" y="2166"/>
                  </a:lnTo>
                  <a:lnTo>
                    <a:pt x="1350" y="2171"/>
                  </a:lnTo>
                  <a:lnTo>
                    <a:pt x="1311" y="2176"/>
                  </a:lnTo>
                  <a:lnTo>
                    <a:pt x="1273" y="2179"/>
                  </a:lnTo>
                  <a:lnTo>
                    <a:pt x="1235" y="2182"/>
                  </a:lnTo>
                  <a:lnTo>
                    <a:pt x="1197" y="2183"/>
                  </a:lnTo>
                  <a:lnTo>
                    <a:pt x="1159" y="2185"/>
                  </a:lnTo>
                  <a:lnTo>
                    <a:pt x="1121" y="2185"/>
                  </a:lnTo>
                  <a:lnTo>
                    <a:pt x="1051" y="2184"/>
                  </a:lnTo>
                  <a:lnTo>
                    <a:pt x="985" y="2180"/>
                  </a:lnTo>
                  <a:lnTo>
                    <a:pt x="920" y="2173"/>
                  </a:lnTo>
                  <a:lnTo>
                    <a:pt x="858" y="2164"/>
                  </a:lnTo>
                  <a:lnTo>
                    <a:pt x="798" y="2152"/>
                  </a:lnTo>
                  <a:lnTo>
                    <a:pt x="739" y="2138"/>
                  </a:lnTo>
                  <a:lnTo>
                    <a:pt x="683" y="2121"/>
                  </a:lnTo>
                  <a:lnTo>
                    <a:pt x="629" y="2102"/>
                  </a:lnTo>
                  <a:lnTo>
                    <a:pt x="578" y="2081"/>
                  </a:lnTo>
                  <a:lnTo>
                    <a:pt x="529" y="2057"/>
                  </a:lnTo>
                  <a:lnTo>
                    <a:pt x="481" y="2030"/>
                  </a:lnTo>
                  <a:lnTo>
                    <a:pt x="436" y="2002"/>
                  </a:lnTo>
                  <a:lnTo>
                    <a:pt x="394" y="1971"/>
                  </a:lnTo>
                  <a:lnTo>
                    <a:pt x="354" y="1938"/>
                  </a:lnTo>
                  <a:lnTo>
                    <a:pt x="315" y="1902"/>
                  </a:lnTo>
                  <a:lnTo>
                    <a:pt x="280" y="1864"/>
                  </a:lnTo>
                  <a:lnTo>
                    <a:pt x="246" y="1825"/>
                  </a:lnTo>
                  <a:lnTo>
                    <a:pt x="213" y="1783"/>
                  </a:lnTo>
                  <a:lnTo>
                    <a:pt x="184" y="1740"/>
                  </a:lnTo>
                  <a:lnTo>
                    <a:pt x="157" y="1694"/>
                  </a:lnTo>
                  <a:lnTo>
                    <a:pt x="132" y="1647"/>
                  </a:lnTo>
                  <a:lnTo>
                    <a:pt x="109" y="1596"/>
                  </a:lnTo>
                  <a:lnTo>
                    <a:pt x="88" y="1545"/>
                  </a:lnTo>
                  <a:lnTo>
                    <a:pt x="70" y="1491"/>
                  </a:lnTo>
                  <a:lnTo>
                    <a:pt x="53" y="1436"/>
                  </a:lnTo>
                  <a:lnTo>
                    <a:pt x="39" y="1379"/>
                  </a:lnTo>
                  <a:lnTo>
                    <a:pt x="27" y="1319"/>
                  </a:lnTo>
                  <a:lnTo>
                    <a:pt x="18" y="1259"/>
                  </a:lnTo>
                  <a:lnTo>
                    <a:pt x="10" y="1197"/>
                  </a:lnTo>
                  <a:lnTo>
                    <a:pt x="5" y="1133"/>
                  </a:lnTo>
                  <a:lnTo>
                    <a:pt x="1" y="1067"/>
                  </a:lnTo>
                  <a:lnTo>
                    <a:pt x="0" y="999"/>
                  </a:lnTo>
                  <a:lnTo>
                    <a:pt x="1" y="944"/>
                  </a:lnTo>
                  <a:lnTo>
                    <a:pt x="4" y="889"/>
                  </a:lnTo>
                  <a:lnTo>
                    <a:pt x="9" y="836"/>
                  </a:lnTo>
                  <a:lnTo>
                    <a:pt x="16" y="783"/>
                  </a:lnTo>
                  <a:lnTo>
                    <a:pt x="24" y="732"/>
                  </a:lnTo>
                  <a:lnTo>
                    <a:pt x="35" y="683"/>
                  </a:lnTo>
                  <a:lnTo>
                    <a:pt x="47" y="635"/>
                  </a:lnTo>
                  <a:lnTo>
                    <a:pt x="61" y="589"/>
                  </a:lnTo>
                  <a:lnTo>
                    <a:pt x="78" y="544"/>
                  </a:lnTo>
                  <a:lnTo>
                    <a:pt x="96" y="499"/>
                  </a:lnTo>
                  <a:lnTo>
                    <a:pt x="115" y="458"/>
                  </a:lnTo>
                  <a:lnTo>
                    <a:pt x="137" y="417"/>
                  </a:lnTo>
                  <a:lnTo>
                    <a:pt x="161" y="379"/>
                  </a:lnTo>
                  <a:lnTo>
                    <a:pt x="186" y="342"/>
                  </a:lnTo>
                  <a:lnTo>
                    <a:pt x="213" y="307"/>
                  </a:lnTo>
                  <a:lnTo>
                    <a:pt x="243" y="273"/>
                  </a:lnTo>
                  <a:lnTo>
                    <a:pt x="274" y="242"/>
                  </a:lnTo>
                  <a:lnTo>
                    <a:pt x="307" y="211"/>
                  </a:lnTo>
                  <a:lnTo>
                    <a:pt x="341" y="183"/>
                  </a:lnTo>
                  <a:lnTo>
                    <a:pt x="378" y="156"/>
                  </a:lnTo>
                  <a:lnTo>
                    <a:pt x="416" y="132"/>
                  </a:lnTo>
                  <a:lnTo>
                    <a:pt x="455" y="110"/>
                  </a:lnTo>
                  <a:lnTo>
                    <a:pt x="497" y="89"/>
                  </a:lnTo>
                  <a:lnTo>
                    <a:pt x="541" y="71"/>
                  </a:lnTo>
                  <a:lnTo>
                    <a:pt x="586" y="55"/>
                  </a:lnTo>
                  <a:lnTo>
                    <a:pt x="633" y="40"/>
                  </a:lnTo>
                  <a:lnTo>
                    <a:pt x="682" y="28"/>
                  </a:lnTo>
                  <a:lnTo>
                    <a:pt x="732" y="18"/>
                  </a:lnTo>
                  <a:lnTo>
                    <a:pt x="785" y="10"/>
                  </a:lnTo>
                  <a:lnTo>
                    <a:pt x="839" y="5"/>
                  </a:lnTo>
                  <a:lnTo>
                    <a:pt x="894" y="1"/>
                  </a:lnTo>
                  <a:lnTo>
                    <a:pt x="952" y="0"/>
                  </a:lnTo>
                  <a:lnTo>
                    <a:pt x="999" y="1"/>
                  </a:lnTo>
                  <a:lnTo>
                    <a:pt x="1045" y="3"/>
                  </a:lnTo>
                  <a:lnTo>
                    <a:pt x="1091" y="7"/>
                  </a:lnTo>
                  <a:lnTo>
                    <a:pt x="1134" y="12"/>
                  </a:lnTo>
                  <a:lnTo>
                    <a:pt x="1176" y="18"/>
                  </a:lnTo>
                  <a:lnTo>
                    <a:pt x="1217" y="26"/>
                  </a:lnTo>
                  <a:lnTo>
                    <a:pt x="1256" y="36"/>
                  </a:lnTo>
                  <a:lnTo>
                    <a:pt x="1294" y="47"/>
                  </a:lnTo>
                  <a:lnTo>
                    <a:pt x="1330" y="59"/>
                  </a:lnTo>
                  <a:lnTo>
                    <a:pt x="1366" y="74"/>
                  </a:lnTo>
                  <a:lnTo>
                    <a:pt x="1399" y="89"/>
                  </a:lnTo>
                  <a:lnTo>
                    <a:pt x="1431" y="106"/>
                  </a:lnTo>
                  <a:lnTo>
                    <a:pt x="1462" y="124"/>
                  </a:lnTo>
                  <a:lnTo>
                    <a:pt x="1491" y="144"/>
                  </a:lnTo>
                  <a:lnTo>
                    <a:pt x="1518" y="166"/>
                  </a:lnTo>
                  <a:lnTo>
                    <a:pt x="1544" y="189"/>
                  </a:lnTo>
                  <a:lnTo>
                    <a:pt x="1569" y="213"/>
                  </a:lnTo>
                  <a:lnTo>
                    <a:pt x="1592" y="240"/>
                  </a:lnTo>
                  <a:lnTo>
                    <a:pt x="1613" y="268"/>
                  </a:lnTo>
                  <a:lnTo>
                    <a:pt x="1634" y="297"/>
                  </a:lnTo>
                  <a:lnTo>
                    <a:pt x="1652" y="327"/>
                  </a:lnTo>
                  <a:lnTo>
                    <a:pt x="1669" y="359"/>
                  </a:lnTo>
                  <a:lnTo>
                    <a:pt x="1684" y="393"/>
                  </a:lnTo>
                  <a:lnTo>
                    <a:pt x="1698" y="428"/>
                  </a:lnTo>
                  <a:lnTo>
                    <a:pt x="1710" y="465"/>
                  </a:lnTo>
                  <a:lnTo>
                    <a:pt x="1721" y="503"/>
                  </a:lnTo>
                  <a:lnTo>
                    <a:pt x="1730" y="544"/>
                  </a:lnTo>
                  <a:lnTo>
                    <a:pt x="1737" y="585"/>
                  </a:lnTo>
                  <a:lnTo>
                    <a:pt x="1743" y="628"/>
                  </a:lnTo>
                  <a:lnTo>
                    <a:pt x="1747" y="672"/>
                  </a:lnTo>
                  <a:lnTo>
                    <a:pt x="1749" y="718"/>
                  </a:lnTo>
                  <a:lnTo>
                    <a:pt x="1750" y="765"/>
                  </a:lnTo>
                  <a:lnTo>
                    <a:pt x="1234" y="765"/>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19" name="Freeform 6"/>
            <p:cNvSpPr>
              <a:spLocks/>
            </p:cNvSpPr>
            <p:nvPr userDrawn="1">
              <p:custDataLst>
                <p:tags r:id="rId5"/>
              </p:custDataLst>
            </p:nvPr>
          </p:nvSpPr>
          <p:spPr bwMode="gray">
            <a:xfrm>
              <a:off x="1327150" y="2708275"/>
              <a:ext cx="377825" cy="473075"/>
            </a:xfrm>
            <a:custGeom>
              <a:avLst/>
              <a:gdLst/>
              <a:ahLst/>
              <a:cxnLst>
                <a:cxn ang="0">
                  <a:pos x="1229" y="665"/>
                </a:cxn>
                <a:cxn ang="0">
                  <a:pos x="1216" y="589"/>
                </a:cxn>
                <a:cxn ang="0">
                  <a:pos x="1194" y="517"/>
                </a:cxn>
                <a:cxn ang="0">
                  <a:pos x="1162" y="456"/>
                </a:cxn>
                <a:cxn ang="0">
                  <a:pos x="1116" y="404"/>
                </a:cxn>
                <a:cxn ang="0">
                  <a:pos x="1058" y="366"/>
                </a:cxn>
                <a:cxn ang="0">
                  <a:pos x="985" y="344"/>
                </a:cxn>
                <a:cxn ang="0">
                  <a:pos x="892" y="339"/>
                </a:cxn>
                <a:cxn ang="0">
                  <a:pos x="790" y="361"/>
                </a:cxn>
                <a:cxn ang="0">
                  <a:pos x="708" y="406"/>
                </a:cxn>
                <a:cxn ang="0">
                  <a:pos x="642" y="471"/>
                </a:cxn>
                <a:cxn ang="0">
                  <a:pos x="592" y="553"/>
                </a:cxn>
                <a:cxn ang="0">
                  <a:pos x="555" y="644"/>
                </a:cxn>
                <a:cxn ang="0">
                  <a:pos x="531" y="740"/>
                </a:cxn>
                <a:cxn ang="0">
                  <a:pos x="519" y="840"/>
                </a:cxn>
                <a:cxn ang="0">
                  <a:pos x="517" y="960"/>
                </a:cxn>
                <a:cxn ang="0">
                  <a:pos x="538" y="1147"/>
                </a:cxn>
                <a:cxn ang="0">
                  <a:pos x="588" y="1318"/>
                </a:cxn>
                <a:cxn ang="0">
                  <a:pos x="664" y="1471"/>
                </a:cxn>
                <a:cxn ang="0">
                  <a:pos x="767" y="1601"/>
                </a:cxn>
                <a:cxn ang="0">
                  <a:pos x="897" y="1707"/>
                </a:cxn>
                <a:cxn ang="0">
                  <a:pos x="1050" y="1784"/>
                </a:cxn>
                <a:cxn ang="0">
                  <a:pos x="1229" y="1828"/>
                </a:cxn>
                <a:cxn ang="0">
                  <a:pos x="1425" y="1838"/>
                </a:cxn>
                <a:cxn ang="0">
                  <a:pos x="1577" y="1826"/>
                </a:cxn>
                <a:cxn ang="0">
                  <a:pos x="1662" y="1810"/>
                </a:cxn>
                <a:cxn ang="0">
                  <a:pos x="1726" y="2088"/>
                </a:cxn>
                <a:cxn ang="0">
                  <a:pos x="1578" y="2131"/>
                </a:cxn>
                <a:cxn ang="0">
                  <a:pos x="1427" y="2161"/>
                </a:cxn>
                <a:cxn ang="0">
                  <a:pos x="1273" y="2179"/>
                </a:cxn>
                <a:cxn ang="0">
                  <a:pos x="1121" y="2185"/>
                </a:cxn>
                <a:cxn ang="0">
                  <a:pos x="858" y="2164"/>
                </a:cxn>
                <a:cxn ang="0">
                  <a:pos x="630" y="2102"/>
                </a:cxn>
                <a:cxn ang="0">
                  <a:pos x="437" y="2002"/>
                </a:cxn>
                <a:cxn ang="0">
                  <a:pos x="279" y="1864"/>
                </a:cxn>
                <a:cxn ang="0">
                  <a:pos x="157" y="1694"/>
                </a:cxn>
                <a:cxn ang="0">
                  <a:pos x="70" y="1491"/>
                </a:cxn>
                <a:cxn ang="0">
                  <a:pos x="17" y="1259"/>
                </a:cxn>
                <a:cxn ang="0">
                  <a:pos x="0" y="999"/>
                </a:cxn>
                <a:cxn ang="0">
                  <a:pos x="15" y="783"/>
                </a:cxn>
                <a:cxn ang="0">
                  <a:pos x="62" y="589"/>
                </a:cxn>
                <a:cxn ang="0">
                  <a:pos x="138" y="417"/>
                </a:cxn>
                <a:cxn ang="0">
                  <a:pos x="244" y="273"/>
                </a:cxn>
                <a:cxn ang="0">
                  <a:pos x="380" y="156"/>
                </a:cxn>
                <a:cxn ang="0">
                  <a:pos x="544" y="71"/>
                </a:cxn>
                <a:cxn ang="0">
                  <a:pos x="738" y="18"/>
                </a:cxn>
                <a:cxn ang="0">
                  <a:pos x="960" y="0"/>
                </a:cxn>
                <a:cxn ang="0">
                  <a:pos x="1140" y="12"/>
                </a:cxn>
                <a:cxn ang="0">
                  <a:pos x="1298" y="47"/>
                </a:cxn>
                <a:cxn ang="0">
                  <a:pos x="1434" y="106"/>
                </a:cxn>
                <a:cxn ang="0">
                  <a:pos x="1546" y="189"/>
                </a:cxn>
                <a:cxn ang="0">
                  <a:pos x="1634" y="297"/>
                </a:cxn>
                <a:cxn ang="0">
                  <a:pos x="1699" y="428"/>
                </a:cxn>
                <a:cxn ang="0">
                  <a:pos x="1737" y="585"/>
                </a:cxn>
                <a:cxn ang="0">
                  <a:pos x="1751" y="765"/>
                </a:cxn>
              </a:cxnLst>
              <a:rect l="0" t="0" r="r" b="b"/>
              <a:pathLst>
                <a:path w="1751" h="2185">
                  <a:moveTo>
                    <a:pt x="1234" y="765"/>
                  </a:moveTo>
                  <a:lnTo>
                    <a:pt x="1233" y="725"/>
                  </a:lnTo>
                  <a:lnTo>
                    <a:pt x="1231" y="685"/>
                  </a:lnTo>
                  <a:lnTo>
                    <a:pt x="1229" y="665"/>
                  </a:lnTo>
                  <a:lnTo>
                    <a:pt x="1227" y="646"/>
                  </a:lnTo>
                  <a:lnTo>
                    <a:pt x="1224" y="626"/>
                  </a:lnTo>
                  <a:lnTo>
                    <a:pt x="1220" y="607"/>
                  </a:lnTo>
                  <a:lnTo>
                    <a:pt x="1216" y="589"/>
                  </a:lnTo>
                  <a:lnTo>
                    <a:pt x="1212" y="571"/>
                  </a:lnTo>
                  <a:lnTo>
                    <a:pt x="1206" y="553"/>
                  </a:lnTo>
                  <a:lnTo>
                    <a:pt x="1201" y="535"/>
                  </a:lnTo>
                  <a:lnTo>
                    <a:pt x="1194" y="517"/>
                  </a:lnTo>
                  <a:lnTo>
                    <a:pt x="1187" y="501"/>
                  </a:lnTo>
                  <a:lnTo>
                    <a:pt x="1179" y="485"/>
                  </a:lnTo>
                  <a:lnTo>
                    <a:pt x="1171" y="470"/>
                  </a:lnTo>
                  <a:lnTo>
                    <a:pt x="1162" y="456"/>
                  </a:lnTo>
                  <a:lnTo>
                    <a:pt x="1152" y="442"/>
                  </a:lnTo>
                  <a:lnTo>
                    <a:pt x="1141" y="429"/>
                  </a:lnTo>
                  <a:lnTo>
                    <a:pt x="1129" y="416"/>
                  </a:lnTo>
                  <a:lnTo>
                    <a:pt x="1116" y="404"/>
                  </a:lnTo>
                  <a:lnTo>
                    <a:pt x="1103" y="394"/>
                  </a:lnTo>
                  <a:lnTo>
                    <a:pt x="1089" y="384"/>
                  </a:lnTo>
                  <a:lnTo>
                    <a:pt x="1074" y="375"/>
                  </a:lnTo>
                  <a:lnTo>
                    <a:pt x="1058" y="366"/>
                  </a:lnTo>
                  <a:lnTo>
                    <a:pt x="1041" y="359"/>
                  </a:lnTo>
                  <a:lnTo>
                    <a:pt x="1023" y="353"/>
                  </a:lnTo>
                  <a:lnTo>
                    <a:pt x="1005" y="348"/>
                  </a:lnTo>
                  <a:lnTo>
                    <a:pt x="985" y="344"/>
                  </a:lnTo>
                  <a:lnTo>
                    <a:pt x="964" y="341"/>
                  </a:lnTo>
                  <a:lnTo>
                    <a:pt x="943" y="339"/>
                  </a:lnTo>
                  <a:lnTo>
                    <a:pt x="920" y="338"/>
                  </a:lnTo>
                  <a:lnTo>
                    <a:pt x="892" y="339"/>
                  </a:lnTo>
                  <a:lnTo>
                    <a:pt x="865" y="342"/>
                  </a:lnTo>
                  <a:lnTo>
                    <a:pt x="838" y="347"/>
                  </a:lnTo>
                  <a:lnTo>
                    <a:pt x="814" y="353"/>
                  </a:lnTo>
                  <a:lnTo>
                    <a:pt x="790" y="361"/>
                  </a:lnTo>
                  <a:lnTo>
                    <a:pt x="768" y="370"/>
                  </a:lnTo>
                  <a:lnTo>
                    <a:pt x="747" y="381"/>
                  </a:lnTo>
                  <a:lnTo>
                    <a:pt x="727" y="393"/>
                  </a:lnTo>
                  <a:lnTo>
                    <a:pt x="708" y="406"/>
                  </a:lnTo>
                  <a:lnTo>
                    <a:pt x="690" y="421"/>
                  </a:lnTo>
                  <a:lnTo>
                    <a:pt x="673" y="437"/>
                  </a:lnTo>
                  <a:lnTo>
                    <a:pt x="657" y="453"/>
                  </a:lnTo>
                  <a:lnTo>
                    <a:pt x="642" y="471"/>
                  </a:lnTo>
                  <a:lnTo>
                    <a:pt x="628" y="490"/>
                  </a:lnTo>
                  <a:lnTo>
                    <a:pt x="615" y="510"/>
                  </a:lnTo>
                  <a:lnTo>
                    <a:pt x="603" y="531"/>
                  </a:lnTo>
                  <a:lnTo>
                    <a:pt x="592" y="553"/>
                  </a:lnTo>
                  <a:lnTo>
                    <a:pt x="582" y="575"/>
                  </a:lnTo>
                  <a:lnTo>
                    <a:pt x="571" y="597"/>
                  </a:lnTo>
                  <a:lnTo>
                    <a:pt x="563" y="620"/>
                  </a:lnTo>
                  <a:lnTo>
                    <a:pt x="555" y="644"/>
                  </a:lnTo>
                  <a:lnTo>
                    <a:pt x="548" y="667"/>
                  </a:lnTo>
                  <a:lnTo>
                    <a:pt x="541" y="692"/>
                  </a:lnTo>
                  <a:lnTo>
                    <a:pt x="536" y="716"/>
                  </a:lnTo>
                  <a:lnTo>
                    <a:pt x="531" y="740"/>
                  </a:lnTo>
                  <a:lnTo>
                    <a:pt x="527" y="765"/>
                  </a:lnTo>
                  <a:lnTo>
                    <a:pt x="523" y="790"/>
                  </a:lnTo>
                  <a:lnTo>
                    <a:pt x="521" y="815"/>
                  </a:lnTo>
                  <a:lnTo>
                    <a:pt x="519" y="840"/>
                  </a:lnTo>
                  <a:lnTo>
                    <a:pt x="517" y="864"/>
                  </a:lnTo>
                  <a:lnTo>
                    <a:pt x="516" y="888"/>
                  </a:lnTo>
                  <a:lnTo>
                    <a:pt x="516" y="911"/>
                  </a:lnTo>
                  <a:lnTo>
                    <a:pt x="517" y="960"/>
                  </a:lnTo>
                  <a:lnTo>
                    <a:pt x="520" y="1008"/>
                  </a:lnTo>
                  <a:lnTo>
                    <a:pt x="524" y="1055"/>
                  </a:lnTo>
                  <a:lnTo>
                    <a:pt x="530" y="1102"/>
                  </a:lnTo>
                  <a:lnTo>
                    <a:pt x="538" y="1147"/>
                  </a:lnTo>
                  <a:lnTo>
                    <a:pt x="548" y="1191"/>
                  </a:lnTo>
                  <a:lnTo>
                    <a:pt x="559" y="1235"/>
                  </a:lnTo>
                  <a:lnTo>
                    <a:pt x="572" y="1277"/>
                  </a:lnTo>
                  <a:lnTo>
                    <a:pt x="588" y="1318"/>
                  </a:lnTo>
                  <a:lnTo>
                    <a:pt x="605" y="1359"/>
                  </a:lnTo>
                  <a:lnTo>
                    <a:pt x="623" y="1398"/>
                  </a:lnTo>
                  <a:lnTo>
                    <a:pt x="643" y="1435"/>
                  </a:lnTo>
                  <a:lnTo>
                    <a:pt x="664" y="1471"/>
                  </a:lnTo>
                  <a:lnTo>
                    <a:pt x="688" y="1506"/>
                  </a:lnTo>
                  <a:lnTo>
                    <a:pt x="712" y="1539"/>
                  </a:lnTo>
                  <a:lnTo>
                    <a:pt x="739" y="1571"/>
                  </a:lnTo>
                  <a:lnTo>
                    <a:pt x="767" y="1601"/>
                  </a:lnTo>
                  <a:lnTo>
                    <a:pt x="797" y="1630"/>
                  </a:lnTo>
                  <a:lnTo>
                    <a:pt x="828" y="1658"/>
                  </a:lnTo>
                  <a:lnTo>
                    <a:pt x="862" y="1684"/>
                  </a:lnTo>
                  <a:lnTo>
                    <a:pt x="897" y="1707"/>
                  </a:lnTo>
                  <a:lnTo>
                    <a:pt x="933" y="1729"/>
                  </a:lnTo>
                  <a:lnTo>
                    <a:pt x="970" y="1749"/>
                  </a:lnTo>
                  <a:lnTo>
                    <a:pt x="1010" y="1767"/>
                  </a:lnTo>
                  <a:lnTo>
                    <a:pt x="1050" y="1784"/>
                  </a:lnTo>
                  <a:lnTo>
                    <a:pt x="1093" y="1798"/>
                  </a:lnTo>
                  <a:lnTo>
                    <a:pt x="1137" y="1810"/>
                  </a:lnTo>
                  <a:lnTo>
                    <a:pt x="1183" y="1820"/>
                  </a:lnTo>
                  <a:lnTo>
                    <a:pt x="1229" y="1828"/>
                  </a:lnTo>
                  <a:lnTo>
                    <a:pt x="1278" y="1834"/>
                  </a:lnTo>
                  <a:lnTo>
                    <a:pt x="1328" y="1837"/>
                  </a:lnTo>
                  <a:lnTo>
                    <a:pt x="1379" y="1838"/>
                  </a:lnTo>
                  <a:lnTo>
                    <a:pt x="1425" y="1838"/>
                  </a:lnTo>
                  <a:lnTo>
                    <a:pt x="1469" y="1836"/>
                  </a:lnTo>
                  <a:lnTo>
                    <a:pt x="1512" y="1834"/>
                  </a:lnTo>
                  <a:lnTo>
                    <a:pt x="1556" y="1829"/>
                  </a:lnTo>
                  <a:lnTo>
                    <a:pt x="1577" y="1826"/>
                  </a:lnTo>
                  <a:lnTo>
                    <a:pt x="1598" y="1823"/>
                  </a:lnTo>
                  <a:lnTo>
                    <a:pt x="1620" y="1819"/>
                  </a:lnTo>
                  <a:lnTo>
                    <a:pt x="1641" y="1815"/>
                  </a:lnTo>
                  <a:lnTo>
                    <a:pt x="1662" y="1810"/>
                  </a:lnTo>
                  <a:lnTo>
                    <a:pt x="1684" y="1804"/>
                  </a:lnTo>
                  <a:lnTo>
                    <a:pt x="1705" y="1797"/>
                  </a:lnTo>
                  <a:lnTo>
                    <a:pt x="1726" y="1790"/>
                  </a:lnTo>
                  <a:lnTo>
                    <a:pt x="1726" y="2088"/>
                  </a:lnTo>
                  <a:lnTo>
                    <a:pt x="1690" y="2100"/>
                  </a:lnTo>
                  <a:lnTo>
                    <a:pt x="1652" y="2111"/>
                  </a:lnTo>
                  <a:lnTo>
                    <a:pt x="1615" y="2121"/>
                  </a:lnTo>
                  <a:lnTo>
                    <a:pt x="1578" y="2131"/>
                  </a:lnTo>
                  <a:lnTo>
                    <a:pt x="1541" y="2139"/>
                  </a:lnTo>
                  <a:lnTo>
                    <a:pt x="1503" y="2147"/>
                  </a:lnTo>
                  <a:lnTo>
                    <a:pt x="1465" y="2154"/>
                  </a:lnTo>
                  <a:lnTo>
                    <a:pt x="1427" y="2161"/>
                  </a:lnTo>
                  <a:lnTo>
                    <a:pt x="1388" y="2166"/>
                  </a:lnTo>
                  <a:lnTo>
                    <a:pt x="1350" y="2171"/>
                  </a:lnTo>
                  <a:lnTo>
                    <a:pt x="1312" y="2176"/>
                  </a:lnTo>
                  <a:lnTo>
                    <a:pt x="1273" y="2179"/>
                  </a:lnTo>
                  <a:lnTo>
                    <a:pt x="1235" y="2182"/>
                  </a:lnTo>
                  <a:lnTo>
                    <a:pt x="1197" y="2183"/>
                  </a:lnTo>
                  <a:lnTo>
                    <a:pt x="1159" y="2185"/>
                  </a:lnTo>
                  <a:lnTo>
                    <a:pt x="1121" y="2185"/>
                  </a:lnTo>
                  <a:lnTo>
                    <a:pt x="1052" y="2184"/>
                  </a:lnTo>
                  <a:lnTo>
                    <a:pt x="985" y="2180"/>
                  </a:lnTo>
                  <a:lnTo>
                    <a:pt x="920" y="2173"/>
                  </a:lnTo>
                  <a:lnTo>
                    <a:pt x="858" y="2164"/>
                  </a:lnTo>
                  <a:lnTo>
                    <a:pt x="797" y="2152"/>
                  </a:lnTo>
                  <a:lnTo>
                    <a:pt x="739" y="2138"/>
                  </a:lnTo>
                  <a:lnTo>
                    <a:pt x="683" y="2121"/>
                  </a:lnTo>
                  <a:lnTo>
                    <a:pt x="630" y="2102"/>
                  </a:lnTo>
                  <a:lnTo>
                    <a:pt x="578" y="2081"/>
                  </a:lnTo>
                  <a:lnTo>
                    <a:pt x="528" y="2057"/>
                  </a:lnTo>
                  <a:lnTo>
                    <a:pt x="481" y="2030"/>
                  </a:lnTo>
                  <a:lnTo>
                    <a:pt x="437" y="2002"/>
                  </a:lnTo>
                  <a:lnTo>
                    <a:pt x="394" y="1971"/>
                  </a:lnTo>
                  <a:lnTo>
                    <a:pt x="354" y="1938"/>
                  </a:lnTo>
                  <a:lnTo>
                    <a:pt x="316" y="1902"/>
                  </a:lnTo>
                  <a:lnTo>
                    <a:pt x="279" y="1864"/>
                  </a:lnTo>
                  <a:lnTo>
                    <a:pt x="245" y="1825"/>
                  </a:lnTo>
                  <a:lnTo>
                    <a:pt x="214" y="1783"/>
                  </a:lnTo>
                  <a:lnTo>
                    <a:pt x="184" y="1740"/>
                  </a:lnTo>
                  <a:lnTo>
                    <a:pt x="157" y="1694"/>
                  </a:lnTo>
                  <a:lnTo>
                    <a:pt x="132" y="1647"/>
                  </a:lnTo>
                  <a:lnTo>
                    <a:pt x="109" y="1596"/>
                  </a:lnTo>
                  <a:lnTo>
                    <a:pt x="88" y="1545"/>
                  </a:lnTo>
                  <a:lnTo>
                    <a:pt x="70" y="1491"/>
                  </a:lnTo>
                  <a:lnTo>
                    <a:pt x="54" y="1436"/>
                  </a:lnTo>
                  <a:lnTo>
                    <a:pt x="40" y="1379"/>
                  </a:lnTo>
                  <a:lnTo>
                    <a:pt x="28" y="1319"/>
                  </a:lnTo>
                  <a:lnTo>
                    <a:pt x="17" y="1259"/>
                  </a:lnTo>
                  <a:lnTo>
                    <a:pt x="9" y="1197"/>
                  </a:lnTo>
                  <a:lnTo>
                    <a:pt x="4" y="1133"/>
                  </a:lnTo>
                  <a:lnTo>
                    <a:pt x="1" y="1067"/>
                  </a:lnTo>
                  <a:lnTo>
                    <a:pt x="0" y="999"/>
                  </a:lnTo>
                  <a:lnTo>
                    <a:pt x="1" y="944"/>
                  </a:lnTo>
                  <a:lnTo>
                    <a:pt x="3" y="889"/>
                  </a:lnTo>
                  <a:lnTo>
                    <a:pt x="8" y="836"/>
                  </a:lnTo>
                  <a:lnTo>
                    <a:pt x="15" y="783"/>
                  </a:lnTo>
                  <a:lnTo>
                    <a:pt x="25" y="732"/>
                  </a:lnTo>
                  <a:lnTo>
                    <a:pt x="35" y="683"/>
                  </a:lnTo>
                  <a:lnTo>
                    <a:pt x="48" y="635"/>
                  </a:lnTo>
                  <a:lnTo>
                    <a:pt x="62" y="589"/>
                  </a:lnTo>
                  <a:lnTo>
                    <a:pt x="78" y="544"/>
                  </a:lnTo>
                  <a:lnTo>
                    <a:pt x="96" y="499"/>
                  </a:lnTo>
                  <a:lnTo>
                    <a:pt x="116" y="458"/>
                  </a:lnTo>
                  <a:lnTo>
                    <a:pt x="138" y="417"/>
                  </a:lnTo>
                  <a:lnTo>
                    <a:pt x="162" y="379"/>
                  </a:lnTo>
                  <a:lnTo>
                    <a:pt x="187" y="342"/>
                  </a:lnTo>
                  <a:lnTo>
                    <a:pt x="214" y="307"/>
                  </a:lnTo>
                  <a:lnTo>
                    <a:pt x="244" y="273"/>
                  </a:lnTo>
                  <a:lnTo>
                    <a:pt x="275" y="242"/>
                  </a:lnTo>
                  <a:lnTo>
                    <a:pt x="309" y="211"/>
                  </a:lnTo>
                  <a:lnTo>
                    <a:pt x="343" y="183"/>
                  </a:lnTo>
                  <a:lnTo>
                    <a:pt x="380" y="156"/>
                  </a:lnTo>
                  <a:lnTo>
                    <a:pt x="418" y="132"/>
                  </a:lnTo>
                  <a:lnTo>
                    <a:pt x="458" y="110"/>
                  </a:lnTo>
                  <a:lnTo>
                    <a:pt x="500" y="89"/>
                  </a:lnTo>
                  <a:lnTo>
                    <a:pt x="544" y="71"/>
                  </a:lnTo>
                  <a:lnTo>
                    <a:pt x="591" y="55"/>
                  </a:lnTo>
                  <a:lnTo>
                    <a:pt x="638" y="40"/>
                  </a:lnTo>
                  <a:lnTo>
                    <a:pt x="687" y="28"/>
                  </a:lnTo>
                  <a:lnTo>
                    <a:pt x="738" y="18"/>
                  </a:lnTo>
                  <a:lnTo>
                    <a:pt x="790" y="10"/>
                  </a:lnTo>
                  <a:lnTo>
                    <a:pt x="845" y="5"/>
                  </a:lnTo>
                  <a:lnTo>
                    <a:pt x="902" y="1"/>
                  </a:lnTo>
                  <a:lnTo>
                    <a:pt x="960" y="0"/>
                  </a:lnTo>
                  <a:lnTo>
                    <a:pt x="1007" y="1"/>
                  </a:lnTo>
                  <a:lnTo>
                    <a:pt x="1052" y="3"/>
                  </a:lnTo>
                  <a:lnTo>
                    <a:pt x="1096" y="7"/>
                  </a:lnTo>
                  <a:lnTo>
                    <a:pt x="1140" y="12"/>
                  </a:lnTo>
                  <a:lnTo>
                    <a:pt x="1182" y="18"/>
                  </a:lnTo>
                  <a:lnTo>
                    <a:pt x="1222" y="26"/>
                  </a:lnTo>
                  <a:lnTo>
                    <a:pt x="1260" y="36"/>
                  </a:lnTo>
                  <a:lnTo>
                    <a:pt x="1298" y="47"/>
                  </a:lnTo>
                  <a:lnTo>
                    <a:pt x="1333" y="59"/>
                  </a:lnTo>
                  <a:lnTo>
                    <a:pt x="1368" y="74"/>
                  </a:lnTo>
                  <a:lnTo>
                    <a:pt x="1401" y="89"/>
                  </a:lnTo>
                  <a:lnTo>
                    <a:pt x="1434" y="106"/>
                  </a:lnTo>
                  <a:lnTo>
                    <a:pt x="1464" y="124"/>
                  </a:lnTo>
                  <a:lnTo>
                    <a:pt x="1492" y="144"/>
                  </a:lnTo>
                  <a:lnTo>
                    <a:pt x="1520" y="166"/>
                  </a:lnTo>
                  <a:lnTo>
                    <a:pt x="1546" y="189"/>
                  </a:lnTo>
                  <a:lnTo>
                    <a:pt x="1570" y="213"/>
                  </a:lnTo>
                  <a:lnTo>
                    <a:pt x="1593" y="240"/>
                  </a:lnTo>
                  <a:lnTo>
                    <a:pt x="1614" y="268"/>
                  </a:lnTo>
                  <a:lnTo>
                    <a:pt x="1634" y="297"/>
                  </a:lnTo>
                  <a:lnTo>
                    <a:pt x="1652" y="327"/>
                  </a:lnTo>
                  <a:lnTo>
                    <a:pt x="1669" y="359"/>
                  </a:lnTo>
                  <a:lnTo>
                    <a:pt x="1685" y="393"/>
                  </a:lnTo>
                  <a:lnTo>
                    <a:pt x="1699" y="428"/>
                  </a:lnTo>
                  <a:lnTo>
                    <a:pt x="1711" y="465"/>
                  </a:lnTo>
                  <a:lnTo>
                    <a:pt x="1721" y="503"/>
                  </a:lnTo>
                  <a:lnTo>
                    <a:pt x="1730" y="544"/>
                  </a:lnTo>
                  <a:lnTo>
                    <a:pt x="1737" y="585"/>
                  </a:lnTo>
                  <a:lnTo>
                    <a:pt x="1743" y="628"/>
                  </a:lnTo>
                  <a:lnTo>
                    <a:pt x="1747" y="672"/>
                  </a:lnTo>
                  <a:lnTo>
                    <a:pt x="1750" y="718"/>
                  </a:lnTo>
                  <a:lnTo>
                    <a:pt x="1751" y="765"/>
                  </a:lnTo>
                  <a:lnTo>
                    <a:pt x="1234" y="765"/>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20" name="Freeform 7"/>
            <p:cNvSpPr>
              <a:spLocks noEditPoints="1"/>
            </p:cNvSpPr>
            <p:nvPr userDrawn="1">
              <p:custDataLst>
                <p:tags r:id="rId6"/>
              </p:custDataLst>
            </p:nvPr>
          </p:nvSpPr>
          <p:spPr bwMode="gray">
            <a:xfrm>
              <a:off x="1738313" y="2708275"/>
              <a:ext cx="366712" cy="473075"/>
            </a:xfrm>
            <a:custGeom>
              <a:avLst/>
              <a:gdLst/>
              <a:ahLst/>
              <a:cxnLst>
                <a:cxn ang="0">
                  <a:pos x="474" y="631"/>
                </a:cxn>
                <a:cxn ang="0">
                  <a:pos x="496" y="558"/>
                </a:cxn>
                <a:cxn ang="0">
                  <a:pos x="528" y="492"/>
                </a:cxn>
                <a:cxn ang="0">
                  <a:pos x="571" y="434"/>
                </a:cxn>
                <a:cxn ang="0">
                  <a:pos x="624" y="386"/>
                </a:cxn>
                <a:cxn ang="0">
                  <a:pos x="684" y="348"/>
                </a:cxn>
                <a:cxn ang="0">
                  <a:pos x="751" y="322"/>
                </a:cxn>
                <a:cxn ang="0">
                  <a:pos x="824" y="308"/>
                </a:cxn>
                <a:cxn ang="0">
                  <a:pos x="905" y="308"/>
                </a:cxn>
                <a:cxn ang="0">
                  <a:pos x="982" y="320"/>
                </a:cxn>
                <a:cxn ang="0">
                  <a:pos x="1049" y="345"/>
                </a:cxn>
                <a:cxn ang="0">
                  <a:pos x="1108" y="381"/>
                </a:cxn>
                <a:cxn ang="0">
                  <a:pos x="1157" y="427"/>
                </a:cxn>
                <a:cxn ang="0">
                  <a:pos x="1194" y="484"/>
                </a:cxn>
                <a:cxn ang="0">
                  <a:pos x="1220" y="552"/>
                </a:cxn>
                <a:cxn ang="0">
                  <a:pos x="1233" y="628"/>
                </a:cxn>
                <a:cxn ang="0">
                  <a:pos x="1694" y="847"/>
                </a:cxn>
                <a:cxn ang="0">
                  <a:pos x="1681" y="664"/>
                </a:cxn>
                <a:cxn ang="0">
                  <a:pos x="1644" y="499"/>
                </a:cxn>
                <a:cxn ang="0">
                  <a:pos x="1582" y="355"/>
                </a:cxn>
                <a:cxn ang="0">
                  <a:pos x="1495" y="232"/>
                </a:cxn>
                <a:cxn ang="0">
                  <a:pos x="1382" y="133"/>
                </a:cxn>
                <a:cxn ang="0">
                  <a:pos x="1245" y="61"/>
                </a:cxn>
                <a:cxn ang="0">
                  <a:pos x="1083" y="15"/>
                </a:cxn>
                <a:cxn ang="0">
                  <a:pos x="896" y="0"/>
                </a:cxn>
                <a:cxn ang="0">
                  <a:pos x="679" y="18"/>
                </a:cxn>
                <a:cxn ang="0">
                  <a:pos x="494" y="70"/>
                </a:cxn>
                <a:cxn ang="0">
                  <a:pos x="340" y="153"/>
                </a:cxn>
                <a:cxn ang="0">
                  <a:pos x="215" y="268"/>
                </a:cxn>
                <a:cxn ang="0">
                  <a:pos x="120" y="410"/>
                </a:cxn>
                <a:cxn ang="0">
                  <a:pos x="54" y="578"/>
                </a:cxn>
                <a:cxn ang="0">
                  <a:pos x="13" y="770"/>
                </a:cxn>
                <a:cxn ang="0">
                  <a:pos x="0" y="983"/>
                </a:cxn>
                <a:cxn ang="0">
                  <a:pos x="15" y="1232"/>
                </a:cxn>
                <a:cxn ang="0">
                  <a:pos x="62" y="1461"/>
                </a:cxn>
                <a:cxn ang="0">
                  <a:pos x="139" y="1666"/>
                </a:cxn>
                <a:cxn ang="0">
                  <a:pos x="250" y="1841"/>
                </a:cxn>
                <a:cxn ang="0">
                  <a:pos x="397" y="1986"/>
                </a:cxn>
                <a:cxn ang="0">
                  <a:pos x="579" y="2094"/>
                </a:cxn>
                <a:cxn ang="0">
                  <a:pos x="798" y="2161"/>
                </a:cxn>
                <a:cxn ang="0">
                  <a:pos x="1057" y="2185"/>
                </a:cxn>
                <a:cxn ang="0">
                  <a:pos x="1207" y="2180"/>
                </a:cxn>
                <a:cxn ang="0">
                  <a:pos x="1353" y="2166"/>
                </a:cxn>
                <a:cxn ang="0">
                  <a:pos x="1497" y="2141"/>
                </a:cxn>
                <a:cxn ang="0">
                  <a:pos x="1638" y="2105"/>
                </a:cxn>
                <a:cxn ang="0">
                  <a:pos x="1494" y="1807"/>
                </a:cxn>
                <a:cxn ang="0">
                  <a:pos x="1367" y="1830"/>
                </a:cxn>
                <a:cxn ang="0">
                  <a:pos x="1267" y="1838"/>
                </a:cxn>
                <a:cxn ang="0">
                  <a:pos x="1113" y="1827"/>
                </a:cxn>
                <a:cxn ang="0">
                  <a:pos x="955" y="1781"/>
                </a:cxn>
                <a:cxn ang="0">
                  <a:pos x="815" y="1704"/>
                </a:cxn>
                <a:cxn ang="0">
                  <a:pos x="696" y="1599"/>
                </a:cxn>
                <a:cxn ang="0">
                  <a:pos x="597" y="1473"/>
                </a:cxn>
                <a:cxn ang="0">
                  <a:pos x="523" y="1328"/>
                </a:cxn>
                <a:cxn ang="0">
                  <a:pos x="475" y="1173"/>
                </a:cxn>
                <a:cxn ang="0">
                  <a:pos x="453" y="1009"/>
                </a:cxn>
              </a:cxnLst>
              <a:rect l="0" t="0" r="r" b="b"/>
              <a:pathLst>
                <a:path w="1694" h="2185">
                  <a:moveTo>
                    <a:pt x="1235" y="669"/>
                  </a:moveTo>
                  <a:lnTo>
                    <a:pt x="468" y="669"/>
                  </a:lnTo>
                  <a:lnTo>
                    <a:pt x="471" y="650"/>
                  </a:lnTo>
                  <a:lnTo>
                    <a:pt x="474" y="631"/>
                  </a:lnTo>
                  <a:lnTo>
                    <a:pt x="479" y="612"/>
                  </a:lnTo>
                  <a:lnTo>
                    <a:pt x="484" y="593"/>
                  </a:lnTo>
                  <a:lnTo>
                    <a:pt x="489" y="576"/>
                  </a:lnTo>
                  <a:lnTo>
                    <a:pt x="496" y="558"/>
                  </a:lnTo>
                  <a:lnTo>
                    <a:pt x="503" y="541"/>
                  </a:lnTo>
                  <a:lnTo>
                    <a:pt x="511" y="524"/>
                  </a:lnTo>
                  <a:lnTo>
                    <a:pt x="519" y="507"/>
                  </a:lnTo>
                  <a:lnTo>
                    <a:pt x="528" y="492"/>
                  </a:lnTo>
                  <a:lnTo>
                    <a:pt x="538" y="476"/>
                  </a:lnTo>
                  <a:lnTo>
                    <a:pt x="548" y="462"/>
                  </a:lnTo>
                  <a:lnTo>
                    <a:pt x="559" y="448"/>
                  </a:lnTo>
                  <a:lnTo>
                    <a:pt x="571" y="434"/>
                  </a:lnTo>
                  <a:lnTo>
                    <a:pt x="583" y="421"/>
                  </a:lnTo>
                  <a:lnTo>
                    <a:pt x="596" y="409"/>
                  </a:lnTo>
                  <a:lnTo>
                    <a:pt x="610" y="397"/>
                  </a:lnTo>
                  <a:lnTo>
                    <a:pt x="624" y="386"/>
                  </a:lnTo>
                  <a:lnTo>
                    <a:pt x="638" y="376"/>
                  </a:lnTo>
                  <a:lnTo>
                    <a:pt x="653" y="366"/>
                  </a:lnTo>
                  <a:lnTo>
                    <a:pt x="668" y="357"/>
                  </a:lnTo>
                  <a:lnTo>
                    <a:pt x="684" y="348"/>
                  </a:lnTo>
                  <a:lnTo>
                    <a:pt x="700" y="341"/>
                  </a:lnTo>
                  <a:lnTo>
                    <a:pt x="717" y="333"/>
                  </a:lnTo>
                  <a:lnTo>
                    <a:pt x="734" y="327"/>
                  </a:lnTo>
                  <a:lnTo>
                    <a:pt x="751" y="322"/>
                  </a:lnTo>
                  <a:lnTo>
                    <a:pt x="769" y="317"/>
                  </a:lnTo>
                  <a:lnTo>
                    <a:pt x="787" y="313"/>
                  </a:lnTo>
                  <a:lnTo>
                    <a:pt x="806" y="310"/>
                  </a:lnTo>
                  <a:lnTo>
                    <a:pt x="824" y="308"/>
                  </a:lnTo>
                  <a:lnTo>
                    <a:pt x="844" y="307"/>
                  </a:lnTo>
                  <a:lnTo>
                    <a:pt x="863" y="306"/>
                  </a:lnTo>
                  <a:lnTo>
                    <a:pt x="885" y="307"/>
                  </a:lnTo>
                  <a:lnTo>
                    <a:pt x="905" y="308"/>
                  </a:lnTo>
                  <a:lnTo>
                    <a:pt x="925" y="310"/>
                  </a:lnTo>
                  <a:lnTo>
                    <a:pt x="945" y="313"/>
                  </a:lnTo>
                  <a:lnTo>
                    <a:pt x="963" y="316"/>
                  </a:lnTo>
                  <a:lnTo>
                    <a:pt x="982" y="320"/>
                  </a:lnTo>
                  <a:lnTo>
                    <a:pt x="999" y="326"/>
                  </a:lnTo>
                  <a:lnTo>
                    <a:pt x="1017" y="331"/>
                  </a:lnTo>
                  <a:lnTo>
                    <a:pt x="1033" y="338"/>
                  </a:lnTo>
                  <a:lnTo>
                    <a:pt x="1049" y="345"/>
                  </a:lnTo>
                  <a:lnTo>
                    <a:pt x="1065" y="353"/>
                  </a:lnTo>
                  <a:lnTo>
                    <a:pt x="1080" y="361"/>
                  </a:lnTo>
                  <a:lnTo>
                    <a:pt x="1094" y="371"/>
                  </a:lnTo>
                  <a:lnTo>
                    <a:pt x="1108" y="381"/>
                  </a:lnTo>
                  <a:lnTo>
                    <a:pt x="1121" y="391"/>
                  </a:lnTo>
                  <a:lnTo>
                    <a:pt x="1133" y="403"/>
                  </a:lnTo>
                  <a:lnTo>
                    <a:pt x="1145" y="415"/>
                  </a:lnTo>
                  <a:lnTo>
                    <a:pt x="1157" y="427"/>
                  </a:lnTo>
                  <a:lnTo>
                    <a:pt x="1167" y="441"/>
                  </a:lnTo>
                  <a:lnTo>
                    <a:pt x="1177" y="455"/>
                  </a:lnTo>
                  <a:lnTo>
                    <a:pt x="1186" y="469"/>
                  </a:lnTo>
                  <a:lnTo>
                    <a:pt x="1194" y="484"/>
                  </a:lnTo>
                  <a:lnTo>
                    <a:pt x="1202" y="500"/>
                  </a:lnTo>
                  <a:lnTo>
                    <a:pt x="1209" y="517"/>
                  </a:lnTo>
                  <a:lnTo>
                    <a:pt x="1215" y="535"/>
                  </a:lnTo>
                  <a:lnTo>
                    <a:pt x="1220" y="552"/>
                  </a:lnTo>
                  <a:lnTo>
                    <a:pt x="1224" y="570"/>
                  </a:lnTo>
                  <a:lnTo>
                    <a:pt x="1228" y="589"/>
                  </a:lnTo>
                  <a:lnTo>
                    <a:pt x="1231" y="608"/>
                  </a:lnTo>
                  <a:lnTo>
                    <a:pt x="1233" y="628"/>
                  </a:lnTo>
                  <a:lnTo>
                    <a:pt x="1234" y="648"/>
                  </a:lnTo>
                  <a:lnTo>
                    <a:pt x="1235" y="669"/>
                  </a:lnTo>
                  <a:close/>
                  <a:moveTo>
                    <a:pt x="1694" y="967"/>
                  </a:moveTo>
                  <a:lnTo>
                    <a:pt x="1694" y="847"/>
                  </a:lnTo>
                  <a:lnTo>
                    <a:pt x="1693" y="800"/>
                  </a:lnTo>
                  <a:lnTo>
                    <a:pt x="1691" y="753"/>
                  </a:lnTo>
                  <a:lnTo>
                    <a:pt x="1687" y="708"/>
                  </a:lnTo>
                  <a:lnTo>
                    <a:pt x="1681" y="664"/>
                  </a:lnTo>
                  <a:lnTo>
                    <a:pt x="1674" y="622"/>
                  </a:lnTo>
                  <a:lnTo>
                    <a:pt x="1666" y="580"/>
                  </a:lnTo>
                  <a:lnTo>
                    <a:pt x="1656" y="540"/>
                  </a:lnTo>
                  <a:lnTo>
                    <a:pt x="1644" y="499"/>
                  </a:lnTo>
                  <a:lnTo>
                    <a:pt x="1631" y="461"/>
                  </a:lnTo>
                  <a:lnTo>
                    <a:pt x="1616" y="425"/>
                  </a:lnTo>
                  <a:lnTo>
                    <a:pt x="1600" y="389"/>
                  </a:lnTo>
                  <a:lnTo>
                    <a:pt x="1582" y="355"/>
                  </a:lnTo>
                  <a:lnTo>
                    <a:pt x="1562" y="323"/>
                  </a:lnTo>
                  <a:lnTo>
                    <a:pt x="1541" y="291"/>
                  </a:lnTo>
                  <a:lnTo>
                    <a:pt x="1519" y="262"/>
                  </a:lnTo>
                  <a:lnTo>
                    <a:pt x="1495" y="232"/>
                  </a:lnTo>
                  <a:lnTo>
                    <a:pt x="1469" y="205"/>
                  </a:lnTo>
                  <a:lnTo>
                    <a:pt x="1442" y="180"/>
                  </a:lnTo>
                  <a:lnTo>
                    <a:pt x="1412" y="156"/>
                  </a:lnTo>
                  <a:lnTo>
                    <a:pt x="1382" y="133"/>
                  </a:lnTo>
                  <a:lnTo>
                    <a:pt x="1350" y="113"/>
                  </a:lnTo>
                  <a:lnTo>
                    <a:pt x="1317" y="94"/>
                  </a:lnTo>
                  <a:lnTo>
                    <a:pt x="1282" y="76"/>
                  </a:lnTo>
                  <a:lnTo>
                    <a:pt x="1245" y="61"/>
                  </a:lnTo>
                  <a:lnTo>
                    <a:pt x="1207" y="47"/>
                  </a:lnTo>
                  <a:lnTo>
                    <a:pt x="1168" y="34"/>
                  </a:lnTo>
                  <a:lnTo>
                    <a:pt x="1125" y="24"/>
                  </a:lnTo>
                  <a:lnTo>
                    <a:pt x="1083" y="15"/>
                  </a:lnTo>
                  <a:lnTo>
                    <a:pt x="1038" y="9"/>
                  </a:lnTo>
                  <a:lnTo>
                    <a:pt x="993" y="4"/>
                  </a:lnTo>
                  <a:lnTo>
                    <a:pt x="945" y="1"/>
                  </a:lnTo>
                  <a:lnTo>
                    <a:pt x="896" y="0"/>
                  </a:lnTo>
                  <a:lnTo>
                    <a:pt x="838" y="1"/>
                  </a:lnTo>
                  <a:lnTo>
                    <a:pt x="783" y="4"/>
                  </a:lnTo>
                  <a:lnTo>
                    <a:pt x="730" y="10"/>
                  </a:lnTo>
                  <a:lnTo>
                    <a:pt x="679" y="18"/>
                  </a:lnTo>
                  <a:lnTo>
                    <a:pt x="630" y="28"/>
                  </a:lnTo>
                  <a:lnTo>
                    <a:pt x="582" y="39"/>
                  </a:lnTo>
                  <a:lnTo>
                    <a:pt x="537" y="54"/>
                  </a:lnTo>
                  <a:lnTo>
                    <a:pt x="494" y="70"/>
                  </a:lnTo>
                  <a:lnTo>
                    <a:pt x="453" y="88"/>
                  </a:lnTo>
                  <a:lnTo>
                    <a:pt x="413" y="108"/>
                  </a:lnTo>
                  <a:lnTo>
                    <a:pt x="376" y="130"/>
                  </a:lnTo>
                  <a:lnTo>
                    <a:pt x="340" y="153"/>
                  </a:lnTo>
                  <a:lnTo>
                    <a:pt x="305" y="179"/>
                  </a:lnTo>
                  <a:lnTo>
                    <a:pt x="273" y="207"/>
                  </a:lnTo>
                  <a:lnTo>
                    <a:pt x="243" y="236"/>
                  </a:lnTo>
                  <a:lnTo>
                    <a:pt x="215" y="268"/>
                  </a:lnTo>
                  <a:lnTo>
                    <a:pt x="189" y="301"/>
                  </a:lnTo>
                  <a:lnTo>
                    <a:pt x="164" y="336"/>
                  </a:lnTo>
                  <a:lnTo>
                    <a:pt x="141" y="372"/>
                  </a:lnTo>
                  <a:lnTo>
                    <a:pt x="120" y="410"/>
                  </a:lnTo>
                  <a:lnTo>
                    <a:pt x="101" y="449"/>
                  </a:lnTo>
                  <a:lnTo>
                    <a:pt x="83" y="491"/>
                  </a:lnTo>
                  <a:lnTo>
                    <a:pt x="68" y="534"/>
                  </a:lnTo>
                  <a:lnTo>
                    <a:pt x="54" y="578"/>
                  </a:lnTo>
                  <a:lnTo>
                    <a:pt x="40" y="624"/>
                  </a:lnTo>
                  <a:lnTo>
                    <a:pt x="29" y="671"/>
                  </a:lnTo>
                  <a:lnTo>
                    <a:pt x="20" y="720"/>
                  </a:lnTo>
                  <a:lnTo>
                    <a:pt x="13" y="770"/>
                  </a:lnTo>
                  <a:lnTo>
                    <a:pt x="7" y="822"/>
                  </a:lnTo>
                  <a:lnTo>
                    <a:pt x="3" y="874"/>
                  </a:lnTo>
                  <a:lnTo>
                    <a:pt x="1" y="928"/>
                  </a:lnTo>
                  <a:lnTo>
                    <a:pt x="0" y="983"/>
                  </a:lnTo>
                  <a:lnTo>
                    <a:pt x="1" y="1047"/>
                  </a:lnTo>
                  <a:lnTo>
                    <a:pt x="4" y="1110"/>
                  </a:lnTo>
                  <a:lnTo>
                    <a:pt x="9" y="1172"/>
                  </a:lnTo>
                  <a:lnTo>
                    <a:pt x="15" y="1232"/>
                  </a:lnTo>
                  <a:lnTo>
                    <a:pt x="24" y="1291"/>
                  </a:lnTo>
                  <a:lnTo>
                    <a:pt x="34" y="1349"/>
                  </a:lnTo>
                  <a:lnTo>
                    <a:pt x="46" y="1406"/>
                  </a:lnTo>
                  <a:lnTo>
                    <a:pt x="62" y="1461"/>
                  </a:lnTo>
                  <a:lnTo>
                    <a:pt x="78" y="1514"/>
                  </a:lnTo>
                  <a:lnTo>
                    <a:pt x="96" y="1566"/>
                  </a:lnTo>
                  <a:lnTo>
                    <a:pt x="117" y="1616"/>
                  </a:lnTo>
                  <a:lnTo>
                    <a:pt x="139" y="1666"/>
                  </a:lnTo>
                  <a:lnTo>
                    <a:pt x="164" y="1712"/>
                  </a:lnTo>
                  <a:lnTo>
                    <a:pt x="191" y="1757"/>
                  </a:lnTo>
                  <a:lnTo>
                    <a:pt x="219" y="1800"/>
                  </a:lnTo>
                  <a:lnTo>
                    <a:pt x="250" y="1841"/>
                  </a:lnTo>
                  <a:lnTo>
                    <a:pt x="283" y="1881"/>
                  </a:lnTo>
                  <a:lnTo>
                    <a:pt x="319" y="1919"/>
                  </a:lnTo>
                  <a:lnTo>
                    <a:pt x="357" y="1953"/>
                  </a:lnTo>
                  <a:lnTo>
                    <a:pt x="397" y="1986"/>
                  </a:lnTo>
                  <a:lnTo>
                    <a:pt x="439" y="2017"/>
                  </a:lnTo>
                  <a:lnTo>
                    <a:pt x="483" y="2045"/>
                  </a:lnTo>
                  <a:lnTo>
                    <a:pt x="530" y="2071"/>
                  </a:lnTo>
                  <a:lnTo>
                    <a:pt x="579" y="2094"/>
                  </a:lnTo>
                  <a:lnTo>
                    <a:pt x="631" y="2115"/>
                  </a:lnTo>
                  <a:lnTo>
                    <a:pt x="684" y="2133"/>
                  </a:lnTo>
                  <a:lnTo>
                    <a:pt x="740" y="2149"/>
                  </a:lnTo>
                  <a:lnTo>
                    <a:pt x="798" y="2161"/>
                  </a:lnTo>
                  <a:lnTo>
                    <a:pt x="859" y="2172"/>
                  </a:lnTo>
                  <a:lnTo>
                    <a:pt x="923" y="2179"/>
                  </a:lnTo>
                  <a:lnTo>
                    <a:pt x="989" y="2183"/>
                  </a:lnTo>
                  <a:lnTo>
                    <a:pt x="1057" y="2185"/>
                  </a:lnTo>
                  <a:lnTo>
                    <a:pt x="1095" y="2185"/>
                  </a:lnTo>
                  <a:lnTo>
                    <a:pt x="1132" y="2184"/>
                  </a:lnTo>
                  <a:lnTo>
                    <a:pt x="1170" y="2182"/>
                  </a:lnTo>
                  <a:lnTo>
                    <a:pt x="1207" y="2180"/>
                  </a:lnTo>
                  <a:lnTo>
                    <a:pt x="1244" y="2178"/>
                  </a:lnTo>
                  <a:lnTo>
                    <a:pt x="1281" y="2174"/>
                  </a:lnTo>
                  <a:lnTo>
                    <a:pt x="1317" y="2170"/>
                  </a:lnTo>
                  <a:lnTo>
                    <a:pt x="1353" y="2166"/>
                  </a:lnTo>
                  <a:lnTo>
                    <a:pt x="1389" y="2161"/>
                  </a:lnTo>
                  <a:lnTo>
                    <a:pt x="1425" y="2155"/>
                  </a:lnTo>
                  <a:lnTo>
                    <a:pt x="1462" y="2148"/>
                  </a:lnTo>
                  <a:lnTo>
                    <a:pt x="1497" y="2141"/>
                  </a:lnTo>
                  <a:lnTo>
                    <a:pt x="1533" y="2133"/>
                  </a:lnTo>
                  <a:lnTo>
                    <a:pt x="1568" y="2124"/>
                  </a:lnTo>
                  <a:lnTo>
                    <a:pt x="1603" y="2115"/>
                  </a:lnTo>
                  <a:lnTo>
                    <a:pt x="1638" y="2105"/>
                  </a:lnTo>
                  <a:lnTo>
                    <a:pt x="1638" y="1766"/>
                  </a:lnTo>
                  <a:lnTo>
                    <a:pt x="1591" y="1781"/>
                  </a:lnTo>
                  <a:lnTo>
                    <a:pt x="1543" y="1794"/>
                  </a:lnTo>
                  <a:lnTo>
                    <a:pt x="1494" y="1807"/>
                  </a:lnTo>
                  <a:lnTo>
                    <a:pt x="1444" y="1817"/>
                  </a:lnTo>
                  <a:lnTo>
                    <a:pt x="1417" y="1822"/>
                  </a:lnTo>
                  <a:lnTo>
                    <a:pt x="1392" y="1826"/>
                  </a:lnTo>
                  <a:lnTo>
                    <a:pt x="1367" y="1830"/>
                  </a:lnTo>
                  <a:lnTo>
                    <a:pt x="1342" y="1833"/>
                  </a:lnTo>
                  <a:lnTo>
                    <a:pt x="1316" y="1835"/>
                  </a:lnTo>
                  <a:lnTo>
                    <a:pt x="1292" y="1837"/>
                  </a:lnTo>
                  <a:lnTo>
                    <a:pt x="1267" y="1838"/>
                  </a:lnTo>
                  <a:lnTo>
                    <a:pt x="1243" y="1838"/>
                  </a:lnTo>
                  <a:lnTo>
                    <a:pt x="1199" y="1837"/>
                  </a:lnTo>
                  <a:lnTo>
                    <a:pt x="1156" y="1833"/>
                  </a:lnTo>
                  <a:lnTo>
                    <a:pt x="1113" y="1827"/>
                  </a:lnTo>
                  <a:lnTo>
                    <a:pt x="1072" y="1819"/>
                  </a:lnTo>
                  <a:lnTo>
                    <a:pt x="1032" y="1809"/>
                  </a:lnTo>
                  <a:lnTo>
                    <a:pt x="993" y="1796"/>
                  </a:lnTo>
                  <a:lnTo>
                    <a:pt x="955" y="1781"/>
                  </a:lnTo>
                  <a:lnTo>
                    <a:pt x="919" y="1765"/>
                  </a:lnTo>
                  <a:lnTo>
                    <a:pt x="883" y="1746"/>
                  </a:lnTo>
                  <a:lnTo>
                    <a:pt x="848" y="1726"/>
                  </a:lnTo>
                  <a:lnTo>
                    <a:pt x="815" y="1704"/>
                  </a:lnTo>
                  <a:lnTo>
                    <a:pt x="783" y="1680"/>
                  </a:lnTo>
                  <a:lnTo>
                    <a:pt x="753" y="1655"/>
                  </a:lnTo>
                  <a:lnTo>
                    <a:pt x="724" y="1627"/>
                  </a:lnTo>
                  <a:lnTo>
                    <a:pt x="696" y="1599"/>
                  </a:lnTo>
                  <a:lnTo>
                    <a:pt x="669" y="1569"/>
                  </a:lnTo>
                  <a:lnTo>
                    <a:pt x="644" y="1538"/>
                  </a:lnTo>
                  <a:lnTo>
                    <a:pt x="620" y="1506"/>
                  </a:lnTo>
                  <a:lnTo>
                    <a:pt x="597" y="1473"/>
                  </a:lnTo>
                  <a:lnTo>
                    <a:pt x="576" y="1438"/>
                  </a:lnTo>
                  <a:lnTo>
                    <a:pt x="557" y="1403"/>
                  </a:lnTo>
                  <a:lnTo>
                    <a:pt x="539" y="1367"/>
                  </a:lnTo>
                  <a:lnTo>
                    <a:pt x="523" y="1328"/>
                  </a:lnTo>
                  <a:lnTo>
                    <a:pt x="509" y="1290"/>
                  </a:lnTo>
                  <a:lnTo>
                    <a:pt x="496" y="1252"/>
                  </a:lnTo>
                  <a:lnTo>
                    <a:pt x="484" y="1213"/>
                  </a:lnTo>
                  <a:lnTo>
                    <a:pt x="475" y="1173"/>
                  </a:lnTo>
                  <a:lnTo>
                    <a:pt x="467" y="1133"/>
                  </a:lnTo>
                  <a:lnTo>
                    <a:pt x="460" y="1092"/>
                  </a:lnTo>
                  <a:lnTo>
                    <a:pt x="456" y="1050"/>
                  </a:lnTo>
                  <a:lnTo>
                    <a:pt x="453" y="1009"/>
                  </a:lnTo>
                  <a:lnTo>
                    <a:pt x="452" y="967"/>
                  </a:lnTo>
                  <a:lnTo>
                    <a:pt x="1694" y="967"/>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21" name="Freeform 8"/>
            <p:cNvSpPr>
              <a:spLocks/>
            </p:cNvSpPr>
            <p:nvPr userDrawn="1">
              <p:custDataLst>
                <p:tags r:id="rId7"/>
              </p:custDataLst>
            </p:nvPr>
          </p:nvSpPr>
          <p:spPr bwMode="gray">
            <a:xfrm>
              <a:off x="2159000" y="2708275"/>
              <a:ext cx="363538" cy="463550"/>
            </a:xfrm>
            <a:custGeom>
              <a:avLst/>
              <a:gdLst/>
              <a:ahLst/>
              <a:cxnLst>
                <a:cxn ang="0">
                  <a:pos x="1194" y="897"/>
                </a:cxn>
                <a:cxn ang="0">
                  <a:pos x="1193" y="775"/>
                </a:cxn>
                <a:cxn ang="0">
                  <a:pos x="1185" y="675"/>
                </a:cxn>
                <a:cxn ang="0">
                  <a:pos x="1167" y="582"/>
                </a:cxn>
                <a:cxn ang="0">
                  <a:pos x="1153" y="542"/>
                </a:cxn>
                <a:cxn ang="0">
                  <a:pos x="1135" y="508"/>
                </a:cxn>
                <a:cxn ang="0">
                  <a:pos x="1115" y="485"/>
                </a:cxn>
                <a:cxn ang="0">
                  <a:pos x="1093" y="471"/>
                </a:cxn>
                <a:cxn ang="0">
                  <a:pos x="1040" y="455"/>
                </a:cxn>
                <a:cxn ang="0">
                  <a:pos x="984" y="451"/>
                </a:cxn>
                <a:cxn ang="0">
                  <a:pos x="891" y="464"/>
                </a:cxn>
                <a:cxn ang="0">
                  <a:pos x="807" y="499"/>
                </a:cxn>
                <a:cxn ang="0">
                  <a:pos x="735" y="554"/>
                </a:cxn>
                <a:cxn ang="0">
                  <a:pos x="673" y="625"/>
                </a:cxn>
                <a:cxn ang="0">
                  <a:pos x="621" y="707"/>
                </a:cxn>
                <a:cxn ang="0">
                  <a:pos x="577" y="799"/>
                </a:cxn>
                <a:cxn ang="0">
                  <a:pos x="544" y="895"/>
                </a:cxn>
                <a:cxn ang="0">
                  <a:pos x="519" y="992"/>
                </a:cxn>
                <a:cxn ang="0">
                  <a:pos x="502" y="1089"/>
                </a:cxn>
                <a:cxn ang="0">
                  <a:pos x="494" y="1178"/>
                </a:cxn>
                <a:cxn ang="0">
                  <a:pos x="492" y="2137"/>
                </a:cxn>
                <a:cxn ang="0">
                  <a:pos x="492" y="48"/>
                </a:cxn>
                <a:cxn ang="0">
                  <a:pos x="510" y="410"/>
                </a:cxn>
                <a:cxn ang="0">
                  <a:pos x="544" y="340"/>
                </a:cxn>
                <a:cxn ang="0">
                  <a:pos x="584" y="276"/>
                </a:cxn>
                <a:cxn ang="0">
                  <a:pos x="629" y="216"/>
                </a:cxn>
                <a:cxn ang="0">
                  <a:pos x="679" y="163"/>
                </a:cxn>
                <a:cxn ang="0">
                  <a:pos x="734" y="117"/>
                </a:cxn>
                <a:cxn ang="0">
                  <a:pos x="794" y="79"/>
                </a:cxn>
                <a:cxn ang="0">
                  <a:pos x="860" y="47"/>
                </a:cxn>
                <a:cxn ang="0">
                  <a:pos x="931" y="23"/>
                </a:cxn>
                <a:cxn ang="0">
                  <a:pos x="1006" y="8"/>
                </a:cxn>
                <a:cxn ang="0">
                  <a:pos x="1085" y="0"/>
                </a:cxn>
                <a:cxn ang="0">
                  <a:pos x="1187" y="4"/>
                </a:cxn>
                <a:cxn ang="0">
                  <a:pos x="1285" y="23"/>
                </a:cxn>
                <a:cxn ang="0">
                  <a:pos x="1373" y="57"/>
                </a:cxn>
                <a:cxn ang="0">
                  <a:pos x="1449" y="104"/>
                </a:cxn>
                <a:cxn ang="0">
                  <a:pos x="1514" y="164"/>
                </a:cxn>
                <a:cxn ang="0">
                  <a:pos x="1568" y="233"/>
                </a:cxn>
                <a:cxn ang="0">
                  <a:pos x="1611" y="313"/>
                </a:cxn>
                <a:cxn ang="0">
                  <a:pos x="1644" y="398"/>
                </a:cxn>
                <a:cxn ang="0">
                  <a:pos x="1667" y="490"/>
                </a:cxn>
                <a:cxn ang="0">
                  <a:pos x="1681" y="587"/>
                </a:cxn>
                <a:cxn ang="0">
                  <a:pos x="1686" y="685"/>
                </a:cxn>
              </a:cxnLst>
              <a:rect l="0" t="0" r="r" b="b"/>
              <a:pathLst>
                <a:path w="1686" h="2137">
                  <a:moveTo>
                    <a:pt x="1194" y="2137"/>
                  </a:moveTo>
                  <a:lnTo>
                    <a:pt x="1194" y="943"/>
                  </a:lnTo>
                  <a:lnTo>
                    <a:pt x="1194" y="897"/>
                  </a:lnTo>
                  <a:lnTo>
                    <a:pt x="1194" y="840"/>
                  </a:lnTo>
                  <a:lnTo>
                    <a:pt x="1194" y="809"/>
                  </a:lnTo>
                  <a:lnTo>
                    <a:pt x="1193" y="775"/>
                  </a:lnTo>
                  <a:lnTo>
                    <a:pt x="1191" y="742"/>
                  </a:lnTo>
                  <a:lnTo>
                    <a:pt x="1188" y="708"/>
                  </a:lnTo>
                  <a:lnTo>
                    <a:pt x="1185" y="675"/>
                  </a:lnTo>
                  <a:lnTo>
                    <a:pt x="1180" y="642"/>
                  </a:lnTo>
                  <a:lnTo>
                    <a:pt x="1174" y="611"/>
                  </a:lnTo>
                  <a:lnTo>
                    <a:pt x="1167" y="582"/>
                  </a:lnTo>
                  <a:lnTo>
                    <a:pt x="1163" y="568"/>
                  </a:lnTo>
                  <a:lnTo>
                    <a:pt x="1158" y="555"/>
                  </a:lnTo>
                  <a:lnTo>
                    <a:pt x="1153" y="542"/>
                  </a:lnTo>
                  <a:lnTo>
                    <a:pt x="1147" y="530"/>
                  </a:lnTo>
                  <a:lnTo>
                    <a:pt x="1141" y="519"/>
                  </a:lnTo>
                  <a:lnTo>
                    <a:pt x="1135" y="508"/>
                  </a:lnTo>
                  <a:lnTo>
                    <a:pt x="1128" y="499"/>
                  </a:lnTo>
                  <a:lnTo>
                    <a:pt x="1121" y="491"/>
                  </a:lnTo>
                  <a:lnTo>
                    <a:pt x="1115" y="485"/>
                  </a:lnTo>
                  <a:lnTo>
                    <a:pt x="1108" y="480"/>
                  </a:lnTo>
                  <a:lnTo>
                    <a:pt x="1101" y="476"/>
                  </a:lnTo>
                  <a:lnTo>
                    <a:pt x="1093" y="471"/>
                  </a:lnTo>
                  <a:lnTo>
                    <a:pt x="1076" y="464"/>
                  </a:lnTo>
                  <a:lnTo>
                    <a:pt x="1059" y="459"/>
                  </a:lnTo>
                  <a:lnTo>
                    <a:pt x="1040" y="455"/>
                  </a:lnTo>
                  <a:lnTo>
                    <a:pt x="1022" y="453"/>
                  </a:lnTo>
                  <a:lnTo>
                    <a:pt x="1003" y="451"/>
                  </a:lnTo>
                  <a:lnTo>
                    <a:pt x="984" y="451"/>
                  </a:lnTo>
                  <a:lnTo>
                    <a:pt x="952" y="452"/>
                  </a:lnTo>
                  <a:lnTo>
                    <a:pt x="921" y="457"/>
                  </a:lnTo>
                  <a:lnTo>
                    <a:pt x="891" y="464"/>
                  </a:lnTo>
                  <a:lnTo>
                    <a:pt x="861" y="473"/>
                  </a:lnTo>
                  <a:lnTo>
                    <a:pt x="833" y="485"/>
                  </a:lnTo>
                  <a:lnTo>
                    <a:pt x="807" y="499"/>
                  </a:lnTo>
                  <a:lnTo>
                    <a:pt x="782" y="515"/>
                  </a:lnTo>
                  <a:lnTo>
                    <a:pt x="758" y="534"/>
                  </a:lnTo>
                  <a:lnTo>
                    <a:pt x="735" y="554"/>
                  </a:lnTo>
                  <a:lnTo>
                    <a:pt x="713" y="576"/>
                  </a:lnTo>
                  <a:lnTo>
                    <a:pt x="692" y="600"/>
                  </a:lnTo>
                  <a:lnTo>
                    <a:pt x="673" y="625"/>
                  </a:lnTo>
                  <a:lnTo>
                    <a:pt x="654" y="651"/>
                  </a:lnTo>
                  <a:lnTo>
                    <a:pt x="637" y="678"/>
                  </a:lnTo>
                  <a:lnTo>
                    <a:pt x="621" y="707"/>
                  </a:lnTo>
                  <a:lnTo>
                    <a:pt x="606" y="736"/>
                  </a:lnTo>
                  <a:lnTo>
                    <a:pt x="590" y="767"/>
                  </a:lnTo>
                  <a:lnTo>
                    <a:pt x="577" y="799"/>
                  </a:lnTo>
                  <a:lnTo>
                    <a:pt x="565" y="830"/>
                  </a:lnTo>
                  <a:lnTo>
                    <a:pt x="554" y="862"/>
                  </a:lnTo>
                  <a:lnTo>
                    <a:pt x="544" y="895"/>
                  </a:lnTo>
                  <a:lnTo>
                    <a:pt x="535" y="927"/>
                  </a:lnTo>
                  <a:lnTo>
                    <a:pt x="526" y="960"/>
                  </a:lnTo>
                  <a:lnTo>
                    <a:pt x="519" y="992"/>
                  </a:lnTo>
                  <a:lnTo>
                    <a:pt x="513" y="1024"/>
                  </a:lnTo>
                  <a:lnTo>
                    <a:pt x="507" y="1056"/>
                  </a:lnTo>
                  <a:lnTo>
                    <a:pt x="502" y="1089"/>
                  </a:lnTo>
                  <a:lnTo>
                    <a:pt x="499" y="1119"/>
                  </a:lnTo>
                  <a:lnTo>
                    <a:pt x="496" y="1149"/>
                  </a:lnTo>
                  <a:lnTo>
                    <a:pt x="494" y="1178"/>
                  </a:lnTo>
                  <a:lnTo>
                    <a:pt x="493" y="1207"/>
                  </a:lnTo>
                  <a:lnTo>
                    <a:pt x="492" y="1234"/>
                  </a:lnTo>
                  <a:lnTo>
                    <a:pt x="492" y="2137"/>
                  </a:lnTo>
                  <a:lnTo>
                    <a:pt x="0" y="2137"/>
                  </a:lnTo>
                  <a:lnTo>
                    <a:pt x="0" y="48"/>
                  </a:lnTo>
                  <a:lnTo>
                    <a:pt x="492" y="48"/>
                  </a:lnTo>
                  <a:lnTo>
                    <a:pt x="492" y="435"/>
                  </a:lnTo>
                  <a:lnTo>
                    <a:pt x="500" y="435"/>
                  </a:lnTo>
                  <a:lnTo>
                    <a:pt x="510" y="410"/>
                  </a:lnTo>
                  <a:lnTo>
                    <a:pt x="521" y="386"/>
                  </a:lnTo>
                  <a:lnTo>
                    <a:pt x="532" y="363"/>
                  </a:lnTo>
                  <a:lnTo>
                    <a:pt x="544" y="340"/>
                  </a:lnTo>
                  <a:lnTo>
                    <a:pt x="557" y="318"/>
                  </a:lnTo>
                  <a:lnTo>
                    <a:pt x="570" y="296"/>
                  </a:lnTo>
                  <a:lnTo>
                    <a:pt x="584" y="276"/>
                  </a:lnTo>
                  <a:lnTo>
                    <a:pt x="599" y="255"/>
                  </a:lnTo>
                  <a:lnTo>
                    <a:pt x="614" y="235"/>
                  </a:lnTo>
                  <a:lnTo>
                    <a:pt x="629" y="216"/>
                  </a:lnTo>
                  <a:lnTo>
                    <a:pt x="645" y="198"/>
                  </a:lnTo>
                  <a:lnTo>
                    <a:pt x="662" y="180"/>
                  </a:lnTo>
                  <a:lnTo>
                    <a:pt x="679" y="163"/>
                  </a:lnTo>
                  <a:lnTo>
                    <a:pt x="697" y="147"/>
                  </a:lnTo>
                  <a:lnTo>
                    <a:pt x="715" y="132"/>
                  </a:lnTo>
                  <a:lnTo>
                    <a:pt x="734" y="117"/>
                  </a:lnTo>
                  <a:lnTo>
                    <a:pt x="754" y="104"/>
                  </a:lnTo>
                  <a:lnTo>
                    <a:pt x="774" y="91"/>
                  </a:lnTo>
                  <a:lnTo>
                    <a:pt x="794" y="79"/>
                  </a:lnTo>
                  <a:lnTo>
                    <a:pt x="816" y="67"/>
                  </a:lnTo>
                  <a:lnTo>
                    <a:pt x="837" y="57"/>
                  </a:lnTo>
                  <a:lnTo>
                    <a:pt x="860" y="47"/>
                  </a:lnTo>
                  <a:lnTo>
                    <a:pt x="883" y="38"/>
                  </a:lnTo>
                  <a:lnTo>
                    <a:pt x="907" y="30"/>
                  </a:lnTo>
                  <a:lnTo>
                    <a:pt x="931" y="23"/>
                  </a:lnTo>
                  <a:lnTo>
                    <a:pt x="955" y="17"/>
                  </a:lnTo>
                  <a:lnTo>
                    <a:pt x="980" y="12"/>
                  </a:lnTo>
                  <a:lnTo>
                    <a:pt x="1006" y="8"/>
                  </a:lnTo>
                  <a:lnTo>
                    <a:pt x="1032" y="4"/>
                  </a:lnTo>
                  <a:lnTo>
                    <a:pt x="1058" y="2"/>
                  </a:lnTo>
                  <a:lnTo>
                    <a:pt x="1085" y="0"/>
                  </a:lnTo>
                  <a:lnTo>
                    <a:pt x="1113" y="0"/>
                  </a:lnTo>
                  <a:lnTo>
                    <a:pt x="1151" y="1"/>
                  </a:lnTo>
                  <a:lnTo>
                    <a:pt x="1187" y="4"/>
                  </a:lnTo>
                  <a:lnTo>
                    <a:pt x="1221" y="8"/>
                  </a:lnTo>
                  <a:lnTo>
                    <a:pt x="1254" y="15"/>
                  </a:lnTo>
                  <a:lnTo>
                    <a:pt x="1285" y="23"/>
                  </a:lnTo>
                  <a:lnTo>
                    <a:pt x="1316" y="33"/>
                  </a:lnTo>
                  <a:lnTo>
                    <a:pt x="1345" y="44"/>
                  </a:lnTo>
                  <a:lnTo>
                    <a:pt x="1373" y="57"/>
                  </a:lnTo>
                  <a:lnTo>
                    <a:pt x="1399" y="71"/>
                  </a:lnTo>
                  <a:lnTo>
                    <a:pt x="1424" y="87"/>
                  </a:lnTo>
                  <a:lnTo>
                    <a:pt x="1449" y="104"/>
                  </a:lnTo>
                  <a:lnTo>
                    <a:pt x="1472" y="123"/>
                  </a:lnTo>
                  <a:lnTo>
                    <a:pt x="1493" y="143"/>
                  </a:lnTo>
                  <a:lnTo>
                    <a:pt x="1514" y="164"/>
                  </a:lnTo>
                  <a:lnTo>
                    <a:pt x="1533" y="186"/>
                  </a:lnTo>
                  <a:lnTo>
                    <a:pt x="1551" y="209"/>
                  </a:lnTo>
                  <a:lnTo>
                    <a:pt x="1568" y="233"/>
                  </a:lnTo>
                  <a:lnTo>
                    <a:pt x="1583" y="259"/>
                  </a:lnTo>
                  <a:lnTo>
                    <a:pt x="1598" y="286"/>
                  </a:lnTo>
                  <a:lnTo>
                    <a:pt x="1611" y="313"/>
                  </a:lnTo>
                  <a:lnTo>
                    <a:pt x="1623" y="340"/>
                  </a:lnTo>
                  <a:lnTo>
                    <a:pt x="1634" y="369"/>
                  </a:lnTo>
                  <a:lnTo>
                    <a:pt x="1644" y="398"/>
                  </a:lnTo>
                  <a:lnTo>
                    <a:pt x="1653" y="428"/>
                  </a:lnTo>
                  <a:lnTo>
                    <a:pt x="1661" y="459"/>
                  </a:lnTo>
                  <a:lnTo>
                    <a:pt x="1667" y="490"/>
                  </a:lnTo>
                  <a:lnTo>
                    <a:pt x="1673" y="522"/>
                  </a:lnTo>
                  <a:lnTo>
                    <a:pt x="1677" y="554"/>
                  </a:lnTo>
                  <a:lnTo>
                    <a:pt x="1681" y="587"/>
                  </a:lnTo>
                  <a:lnTo>
                    <a:pt x="1683" y="619"/>
                  </a:lnTo>
                  <a:lnTo>
                    <a:pt x="1685" y="652"/>
                  </a:lnTo>
                  <a:lnTo>
                    <a:pt x="1686" y="685"/>
                  </a:lnTo>
                  <a:lnTo>
                    <a:pt x="1686" y="2137"/>
                  </a:lnTo>
                  <a:lnTo>
                    <a:pt x="1194" y="2137"/>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22" name="Freeform 9"/>
            <p:cNvSpPr>
              <a:spLocks/>
            </p:cNvSpPr>
            <p:nvPr userDrawn="1">
              <p:custDataLst>
                <p:tags r:id="rId8"/>
              </p:custDataLst>
            </p:nvPr>
          </p:nvSpPr>
          <p:spPr bwMode="gray">
            <a:xfrm>
              <a:off x="2546350" y="2568575"/>
              <a:ext cx="330200" cy="612775"/>
            </a:xfrm>
            <a:custGeom>
              <a:avLst/>
              <a:gdLst/>
              <a:ahLst/>
              <a:cxnLst>
                <a:cxn ang="0">
                  <a:pos x="895" y="2017"/>
                </a:cxn>
                <a:cxn ang="0">
                  <a:pos x="897" y="2109"/>
                </a:cxn>
                <a:cxn ang="0">
                  <a:pos x="905" y="2195"/>
                </a:cxn>
                <a:cxn ang="0">
                  <a:pos x="911" y="2236"/>
                </a:cxn>
                <a:cxn ang="0">
                  <a:pos x="921" y="2274"/>
                </a:cxn>
                <a:cxn ang="0">
                  <a:pos x="933" y="2311"/>
                </a:cxn>
                <a:cxn ang="0">
                  <a:pos x="948" y="2345"/>
                </a:cxn>
                <a:cxn ang="0">
                  <a:pos x="967" y="2375"/>
                </a:cxn>
                <a:cxn ang="0">
                  <a:pos x="990" y="2403"/>
                </a:cxn>
                <a:cxn ang="0">
                  <a:pos x="1017" y="2426"/>
                </a:cxn>
                <a:cxn ang="0">
                  <a:pos x="1049" y="2447"/>
                </a:cxn>
                <a:cxn ang="0">
                  <a:pos x="1085" y="2463"/>
                </a:cxn>
                <a:cxn ang="0">
                  <a:pos x="1126" y="2475"/>
                </a:cxn>
                <a:cxn ang="0">
                  <a:pos x="1173" y="2482"/>
                </a:cxn>
                <a:cxn ang="0">
                  <a:pos x="1226" y="2484"/>
                </a:cxn>
                <a:cxn ang="0">
                  <a:pos x="1284" y="2482"/>
                </a:cxn>
                <a:cxn ang="0">
                  <a:pos x="1342" y="2474"/>
                </a:cxn>
                <a:cxn ang="0">
                  <a:pos x="1397" y="2464"/>
                </a:cxn>
                <a:cxn ang="0">
                  <a:pos x="1452" y="2452"/>
                </a:cxn>
                <a:cxn ang="0">
                  <a:pos x="1403" y="2805"/>
                </a:cxn>
                <a:cxn ang="0">
                  <a:pos x="1304" y="2816"/>
                </a:cxn>
                <a:cxn ang="0">
                  <a:pos x="1204" y="2825"/>
                </a:cxn>
                <a:cxn ang="0">
                  <a:pos x="1105" y="2830"/>
                </a:cxn>
                <a:cxn ang="0">
                  <a:pos x="1017" y="2830"/>
                </a:cxn>
                <a:cxn ang="0">
                  <a:pos x="941" y="2827"/>
                </a:cxn>
                <a:cxn ang="0">
                  <a:pos x="871" y="2820"/>
                </a:cxn>
                <a:cxn ang="0">
                  <a:pos x="806" y="2809"/>
                </a:cxn>
                <a:cxn ang="0">
                  <a:pos x="746" y="2794"/>
                </a:cxn>
                <a:cxn ang="0">
                  <a:pos x="690" y="2774"/>
                </a:cxn>
                <a:cxn ang="0">
                  <a:pos x="640" y="2750"/>
                </a:cxn>
                <a:cxn ang="0">
                  <a:pos x="594" y="2722"/>
                </a:cxn>
                <a:cxn ang="0">
                  <a:pos x="554" y="2688"/>
                </a:cxn>
                <a:cxn ang="0">
                  <a:pos x="519" y="2649"/>
                </a:cxn>
                <a:cxn ang="0">
                  <a:pos x="488" y="2605"/>
                </a:cxn>
                <a:cxn ang="0">
                  <a:pos x="463" y="2555"/>
                </a:cxn>
                <a:cxn ang="0">
                  <a:pos x="442" y="2500"/>
                </a:cxn>
                <a:cxn ang="0">
                  <a:pos x="427" y="2439"/>
                </a:cxn>
                <a:cxn ang="0">
                  <a:pos x="417" y="2372"/>
                </a:cxn>
                <a:cxn ang="0">
                  <a:pos x="411" y="2298"/>
                </a:cxn>
                <a:cxn ang="0">
                  <a:pos x="411" y="1033"/>
                </a:cxn>
                <a:cxn ang="0">
                  <a:pos x="0" y="694"/>
                </a:cxn>
                <a:cxn ang="0">
                  <a:pos x="411" y="194"/>
                </a:cxn>
                <a:cxn ang="0">
                  <a:pos x="895" y="694"/>
                </a:cxn>
                <a:cxn ang="0">
                  <a:pos x="1516" y="1033"/>
                </a:cxn>
              </a:cxnLst>
              <a:rect l="0" t="0" r="r" b="b"/>
              <a:pathLst>
                <a:path w="1516" h="2831">
                  <a:moveTo>
                    <a:pt x="895" y="1033"/>
                  </a:moveTo>
                  <a:lnTo>
                    <a:pt x="895" y="2017"/>
                  </a:lnTo>
                  <a:lnTo>
                    <a:pt x="895" y="2064"/>
                  </a:lnTo>
                  <a:lnTo>
                    <a:pt x="897" y="2109"/>
                  </a:lnTo>
                  <a:lnTo>
                    <a:pt x="900" y="2153"/>
                  </a:lnTo>
                  <a:lnTo>
                    <a:pt x="905" y="2195"/>
                  </a:lnTo>
                  <a:lnTo>
                    <a:pt x="908" y="2216"/>
                  </a:lnTo>
                  <a:lnTo>
                    <a:pt x="911" y="2236"/>
                  </a:lnTo>
                  <a:lnTo>
                    <a:pt x="916" y="2255"/>
                  </a:lnTo>
                  <a:lnTo>
                    <a:pt x="921" y="2274"/>
                  </a:lnTo>
                  <a:lnTo>
                    <a:pt x="927" y="2294"/>
                  </a:lnTo>
                  <a:lnTo>
                    <a:pt x="933" y="2311"/>
                  </a:lnTo>
                  <a:lnTo>
                    <a:pt x="940" y="2328"/>
                  </a:lnTo>
                  <a:lnTo>
                    <a:pt x="948" y="2345"/>
                  </a:lnTo>
                  <a:lnTo>
                    <a:pt x="957" y="2360"/>
                  </a:lnTo>
                  <a:lnTo>
                    <a:pt x="967" y="2375"/>
                  </a:lnTo>
                  <a:lnTo>
                    <a:pt x="978" y="2389"/>
                  </a:lnTo>
                  <a:lnTo>
                    <a:pt x="990" y="2403"/>
                  </a:lnTo>
                  <a:lnTo>
                    <a:pt x="1002" y="2415"/>
                  </a:lnTo>
                  <a:lnTo>
                    <a:pt x="1017" y="2426"/>
                  </a:lnTo>
                  <a:lnTo>
                    <a:pt x="1032" y="2437"/>
                  </a:lnTo>
                  <a:lnTo>
                    <a:pt x="1049" y="2447"/>
                  </a:lnTo>
                  <a:lnTo>
                    <a:pt x="1066" y="2455"/>
                  </a:lnTo>
                  <a:lnTo>
                    <a:pt x="1085" y="2463"/>
                  </a:lnTo>
                  <a:lnTo>
                    <a:pt x="1105" y="2469"/>
                  </a:lnTo>
                  <a:lnTo>
                    <a:pt x="1126" y="2475"/>
                  </a:lnTo>
                  <a:lnTo>
                    <a:pt x="1149" y="2479"/>
                  </a:lnTo>
                  <a:lnTo>
                    <a:pt x="1173" y="2482"/>
                  </a:lnTo>
                  <a:lnTo>
                    <a:pt x="1198" y="2484"/>
                  </a:lnTo>
                  <a:lnTo>
                    <a:pt x="1226" y="2484"/>
                  </a:lnTo>
                  <a:lnTo>
                    <a:pt x="1255" y="2484"/>
                  </a:lnTo>
                  <a:lnTo>
                    <a:pt x="1284" y="2482"/>
                  </a:lnTo>
                  <a:lnTo>
                    <a:pt x="1314" y="2478"/>
                  </a:lnTo>
                  <a:lnTo>
                    <a:pt x="1342" y="2474"/>
                  </a:lnTo>
                  <a:lnTo>
                    <a:pt x="1370" y="2469"/>
                  </a:lnTo>
                  <a:lnTo>
                    <a:pt x="1397" y="2464"/>
                  </a:lnTo>
                  <a:lnTo>
                    <a:pt x="1424" y="2458"/>
                  </a:lnTo>
                  <a:lnTo>
                    <a:pt x="1452" y="2452"/>
                  </a:lnTo>
                  <a:lnTo>
                    <a:pt x="1452" y="2799"/>
                  </a:lnTo>
                  <a:lnTo>
                    <a:pt x="1403" y="2805"/>
                  </a:lnTo>
                  <a:lnTo>
                    <a:pt x="1354" y="2811"/>
                  </a:lnTo>
                  <a:lnTo>
                    <a:pt x="1304" y="2816"/>
                  </a:lnTo>
                  <a:lnTo>
                    <a:pt x="1254" y="2821"/>
                  </a:lnTo>
                  <a:lnTo>
                    <a:pt x="1204" y="2825"/>
                  </a:lnTo>
                  <a:lnTo>
                    <a:pt x="1154" y="2828"/>
                  </a:lnTo>
                  <a:lnTo>
                    <a:pt x="1105" y="2830"/>
                  </a:lnTo>
                  <a:lnTo>
                    <a:pt x="1057" y="2831"/>
                  </a:lnTo>
                  <a:lnTo>
                    <a:pt x="1017" y="2830"/>
                  </a:lnTo>
                  <a:lnTo>
                    <a:pt x="978" y="2829"/>
                  </a:lnTo>
                  <a:lnTo>
                    <a:pt x="941" y="2827"/>
                  </a:lnTo>
                  <a:lnTo>
                    <a:pt x="906" y="2824"/>
                  </a:lnTo>
                  <a:lnTo>
                    <a:pt x="871" y="2820"/>
                  </a:lnTo>
                  <a:lnTo>
                    <a:pt x="838" y="2815"/>
                  </a:lnTo>
                  <a:lnTo>
                    <a:pt x="806" y="2809"/>
                  </a:lnTo>
                  <a:lnTo>
                    <a:pt x="776" y="2802"/>
                  </a:lnTo>
                  <a:lnTo>
                    <a:pt x="746" y="2794"/>
                  </a:lnTo>
                  <a:lnTo>
                    <a:pt x="717" y="2784"/>
                  </a:lnTo>
                  <a:lnTo>
                    <a:pt x="690" y="2774"/>
                  </a:lnTo>
                  <a:lnTo>
                    <a:pt x="664" y="2763"/>
                  </a:lnTo>
                  <a:lnTo>
                    <a:pt x="640" y="2750"/>
                  </a:lnTo>
                  <a:lnTo>
                    <a:pt x="616" y="2736"/>
                  </a:lnTo>
                  <a:lnTo>
                    <a:pt x="594" y="2722"/>
                  </a:lnTo>
                  <a:lnTo>
                    <a:pt x="574" y="2705"/>
                  </a:lnTo>
                  <a:lnTo>
                    <a:pt x="554" y="2688"/>
                  </a:lnTo>
                  <a:lnTo>
                    <a:pt x="536" y="2669"/>
                  </a:lnTo>
                  <a:lnTo>
                    <a:pt x="519" y="2649"/>
                  </a:lnTo>
                  <a:lnTo>
                    <a:pt x="503" y="2628"/>
                  </a:lnTo>
                  <a:lnTo>
                    <a:pt x="488" y="2605"/>
                  </a:lnTo>
                  <a:lnTo>
                    <a:pt x="475" y="2581"/>
                  </a:lnTo>
                  <a:lnTo>
                    <a:pt x="463" y="2555"/>
                  </a:lnTo>
                  <a:lnTo>
                    <a:pt x="451" y="2528"/>
                  </a:lnTo>
                  <a:lnTo>
                    <a:pt x="442" y="2500"/>
                  </a:lnTo>
                  <a:lnTo>
                    <a:pt x="434" y="2470"/>
                  </a:lnTo>
                  <a:lnTo>
                    <a:pt x="427" y="2439"/>
                  </a:lnTo>
                  <a:lnTo>
                    <a:pt x="421" y="2406"/>
                  </a:lnTo>
                  <a:lnTo>
                    <a:pt x="417" y="2372"/>
                  </a:lnTo>
                  <a:lnTo>
                    <a:pt x="413" y="2336"/>
                  </a:lnTo>
                  <a:lnTo>
                    <a:pt x="411" y="2298"/>
                  </a:lnTo>
                  <a:lnTo>
                    <a:pt x="411" y="2258"/>
                  </a:lnTo>
                  <a:lnTo>
                    <a:pt x="411" y="1033"/>
                  </a:lnTo>
                  <a:lnTo>
                    <a:pt x="0" y="1033"/>
                  </a:lnTo>
                  <a:lnTo>
                    <a:pt x="0" y="694"/>
                  </a:lnTo>
                  <a:lnTo>
                    <a:pt x="411" y="694"/>
                  </a:lnTo>
                  <a:lnTo>
                    <a:pt x="411" y="194"/>
                  </a:lnTo>
                  <a:lnTo>
                    <a:pt x="895" y="0"/>
                  </a:lnTo>
                  <a:lnTo>
                    <a:pt x="895" y="694"/>
                  </a:lnTo>
                  <a:lnTo>
                    <a:pt x="1516" y="694"/>
                  </a:lnTo>
                  <a:lnTo>
                    <a:pt x="1516" y="1033"/>
                  </a:lnTo>
                  <a:lnTo>
                    <a:pt x="895" y="1033"/>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23" name="Freeform 10"/>
            <p:cNvSpPr>
              <a:spLocks/>
            </p:cNvSpPr>
            <p:nvPr userDrawn="1">
              <p:custDataLst>
                <p:tags r:id="rId9"/>
              </p:custDataLst>
            </p:nvPr>
          </p:nvSpPr>
          <p:spPr bwMode="gray">
            <a:xfrm>
              <a:off x="2921000" y="2720975"/>
              <a:ext cx="366713" cy="460375"/>
            </a:xfrm>
            <a:custGeom>
              <a:avLst/>
              <a:gdLst/>
              <a:ahLst/>
              <a:cxnLst>
                <a:cxn ang="0">
                  <a:pos x="1185" y="1702"/>
                </a:cxn>
                <a:cxn ang="0">
                  <a:pos x="1151" y="1772"/>
                </a:cxn>
                <a:cxn ang="0">
                  <a:pos x="1112" y="1838"/>
                </a:cxn>
                <a:cxn ang="0">
                  <a:pos x="1067" y="1899"/>
                </a:cxn>
                <a:cxn ang="0">
                  <a:pos x="1018" y="1953"/>
                </a:cxn>
                <a:cxn ang="0">
                  <a:pos x="964" y="2002"/>
                </a:cxn>
                <a:cxn ang="0">
                  <a:pos x="904" y="2043"/>
                </a:cxn>
                <a:cxn ang="0">
                  <a:pos x="840" y="2078"/>
                </a:cxn>
                <a:cxn ang="0">
                  <a:pos x="772" y="2105"/>
                </a:cxn>
                <a:cxn ang="0">
                  <a:pos x="698" y="2124"/>
                </a:cxn>
                <a:cxn ang="0">
                  <a:pos x="619" y="2135"/>
                </a:cxn>
                <a:cxn ang="0">
                  <a:pos x="528" y="2136"/>
                </a:cxn>
                <a:cxn ang="0">
                  <a:pos x="427" y="2122"/>
                </a:cxn>
                <a:cxn ang="0">
                  <a:pos x="337" y="2093"/>
                </a:cxn>
                <a:cxn ang="0">
                  <a:pos x="258" y="2050"/>
                </a:cxn>
                <a:cxn ang="0">
                  <a:pos x="191" y="1994"/>
                </a:cxn>
                <a:cxn ang="0">
                  <a:pos x="134" y="1928"/>
                </a:cxn>
                <a:cxn ang="0">
                  <a:pos x="87" y="1851"/>
                </a:cxn>
                <a:cxn ang="0">
                  <a:pos x="51" y="1768"/>
                </a:cxn>
                <a:cxn ang="0">
                  <a:pos x="25" y="1678"/>
                </a:cxn>
                <a:cxn ang="0">
                  <a:pos x="8" y="1583"/>
                </a:cxn>
                <a:cxn ang="0">
                  <a:pos x="0" y="1485"/>
                </a:cxn>
                <a:cxn ang="0">
                  <a:pos x="492" y="0"/>
                </a:cxn>
                <a:cxn ang="0">
                  <a:pos x="491" y="1293"/>
                </a:cxn>
                <a:cxn ang="0">
                  <a:pos x="493" y="1391"/>
                </a:cxn>
                <a:cxn ang="0">
                  <a:pos x="503" y="1490"/>
                </a:cxn>
                <a:cxn ang="0">
                  <a:pos x="520" y="1564"/>
                </a:cxn>
                <a:cxn ang="0">
                  <a:pos x="536" y="1602"/>
                </a:cxn>
                <a:cxn ang="0">
                  <a:pos x="556" y="1630"/>
                </a:cxn>
                <a:cxn ang="0">
                  <a:pos x="577" y="1651"/>
                </a:cxn>
                <a:cxn ang="0">
                  <a:pos x="600" y="1665"/>
                </a:cxn>
                <a:cxn ang="0">
                  <a:pos x="627" y="1673"/>
                </a:cxn>
                <a:cxn ang="0">
                  <a:pos x="683" y="1678"/>
                </a:cxn>
                <a:cxn ang="0">
                  <a:pos x="766" y="1672"/>
                </a:cxn>
                <a:cxn ang="0">
                  <a:pos x="852" y="1645"/>
                </a:cxn>
                <a:cxn ang="0">
                  <a:pos x="928" y="1597"/>
                </a:cxn>
                <a:cxn ang="0">
                  <a:pos x="994" y="1531"/>
                </a:cxn>
                <a:cxn ang="0">
                  <a:pos x="1049" y="1454"/>
                </a:cxn>
                <a:cxn ang="0">
                  <a:pos x="1095" y="1367"/>
                </a:cxn>
                <a:cxn ang="0">
                  <a:pos x="1131" y="1272"/>
                </a:cxn>
                <a:cxn ang="0">
                  <a:pos x="1159" y="1176"/>
                </a:cxn>
                <a:cxn ang="0">
                  <a:pos x="1178" y="1080"/>
                </a:cxn>
                <a:cxn ang="0">
                  <a:pos x="1189" y="987"/>
                </a:cxn>
                <a:cxn ang="0">
                  <a:pos x="1193" y="903"/>
                </a:cxn>
                <a:cxn ang="0">
                  <a:pos x="1685" y="2089"/>
                </a:cxn>
              </a:cxnLst>
              <a:rect l="0" t="0" r="r" b="b"/>
              <a:pathLst>
                <a:path w="1685" h="2137">
                  <a:moveTo>
                    <a:pt x="1193" y="2089"/>
                  </a:moveTo>
                  <a:lnTo>
                    <a:pt x="1193" y="1702"/>
                  </a:lnTo>
                  <a:lnTo>
                    <a:pt x="1185" y="1702"/>
                  </a:lnTo>
                  <a:lnTo>
                    <a:pt x="1174" y="1726"/>
                  </a:lnTo>
                  <a:lnTo>
                    <a:pt x="1163" y="1749"/>
                  </a:lnTo>
                  <a:lnTo>
                    <a:pt x="1151" y="1772"/>
                  </a:lnTo>
                  <a:lnTo>
                    <a:pt x="1138" y="1794"/>
                  </a:lnTo>
                  <a:lnTo>
                    <a:pt x="1125" y="1816"/>
                  </a:lnTo>
                  <a:lnTo>
                    <a:pt x="1112" y="1838"/>
                  </a:lnTo>
                  <a:lnTo>
                    <a:pt x="1097" y="1858"/>
                  </a:lnTo>
                  <a:lnTo>
                    <a:pt x="1083" y="1879"/>
                  </a:lnTo>
                  <a:lnTo>
                    <a:pt x="1067" y="1899"/>
                  </a:lnTo>
                  <a:lnTo>
                    <a:pt x="1052" y="1918"/>
                  </a:lnTo>
                  <a:lnTo>
                    <a:pt x="1035" y="1936"/>
                  </a:lnTo>
                  <a:lnTo>
                    <a:pt x="1018" y="1953"/>
                  </a:lnTo>
                  <a:lnTo>
                    <a:pt x="1001" y="1970"/>
                  </a:lnTo>
                  <a:lnTo>
                    <a:pt x="983" y="1986"/>
                  </a:lnTo>
                  <a:lnTo>
                    <a:pt x="964" y="2002"/>
                  </a:lnTo>
                  <a:lnTo>
                    <a:pt x="945" y="2016"/>
                  </a:lnTo>
                  <a:lnTo>
                    <a:pt x="924" y="2030"/>
                  </a:lnTo>
                  <a:lnTo>
                    <a:pt x="904" y="2043"/>
                  </a:lnTo>
                  <a:lnTo>
                    <a:pt x="883" y="2056"/>
                  </a:lnTo>
                  <a:lnTo>
                    <a:pt x="862" y="2067"/>
                  </a:lnTo>
                  <a:lnTo>
                    <a:pt x="840" y="2078"/>
                  </a:lnTo>
                  <a:lnTo>
                    <a:pt x="818" y="2088"/>
                  </a:lnTo>
                  <a:lnTo>
                    <a:pt x="795" y="2097"/>
                  </a:lnTo>
                  <a:lnTo>
                    <a:pt x="772" y="2105"/>
                  </a:lnTo>
                  <a:lnTo>
                    <a:pt x="748" y="2113"/>
                  </a:lnTo>
                  <a:lnTo>
                    <a:pt x="723" y="2119"/>
                  </a:lnTo>
                  <a:lnTo>
                    <a:pt x="698" y="2124"/>
                  </a:lnTo>
                  <a:lnTo>
                    <a:pt x="673" y="2129"/>
                  </a:lnTo>
                  <a:lnTo>
                    <a:pt x="646" y="2132"/>
                  </a:lnTo>
                  <a:lnTo>
                    <a:pt x="619" y="2135"/>
                  </a:lnTo>
                  <a:lnTo>
                    <a:pt x="592" y="2136"/>
                  </a:lnTo>
                  <a:lnTo>
                    <a:pt x="564" y="2137"/>
                  </a:lnTo>
                  <a:lnTo>
                    <a:pt x="528" y="2136"/>
                  </a:lnTo>
                  <a:lnTo>
                    <a:pt x="493" y="2133"/>
                  </a:lnTo>
                  <a:lnTo>
                    <a:pt x="459" y="2128"/>
                  </a:lnTo>
                  <a:lnTo>
                    <a:pt x="427" y="2122"/>
                  </a:lnTo>
                  <a:lnTo>
                    <a:pt x="396" y="2114"/>
                  </a:lnTo>
                  <a:lnTo>
                    <a:pt x="365" y="2104"/>
                  </a:lnTo>
                  <a:lnTo>
                    <a:pt x="337" y="2093"/>
                  </a:lnTo>
                  <a:lnTo>
                    <a:pt x="309" y="2080"/>
                  </a:lnTo>
                  <a:lnTo>
                    <a:pt x="283" y="2066"/>
                  </a:lnTo>
                  <a:lnTo>
                    <a:pt x="258" y="2050"/>
                  </a:lnTo>
                  <a:lnTo>
                    <a:pt x="235" y="2033"/>
                  </a:lnTo>
                  <a:lnTo>
                    <a:pt x="212" y="2014"/>
                  </a:lnTo>
                  <a:lnTo>
                    <a:pt x="191" y="1994"/>
                  </a:lnTo>
                  <a:lnTo>
                    <a:pt x="171" y="1973"/>
                  </a:lnTo>
                  <a:lnTo>
                    <a:pt x="152" y="1951"/>
                  </a:lnTo>
                  <a:lnTo>
                    <a:pt x="134" y="1928"/>
                  </a:lnTo>
                  <a:lnTo>
                    <a:pt x="118" y="1904"/>
                  </a:lnTo>
                  <a:lnTo>
                    <a:pt x="101" y="1879"/>
                  </a:lnTo>
                  <a:lnTo>
                    <a:pt x="87" y="1851"/>
                  </a:lnTo>
                  <a:lnTo>
                    <a:pt x="74" y="1824"/>
                  </a:lnTo>
                  <a:lnTo>
                    <a:pt x="62" y="1797"/>
                  </a:lnTo>
                  <a:lnTo>
                    <a:pt x="51" y="1768"/>
                  </a:lnTo>
                  <a:lnTo>
                    <a:pt x="41" y="1739"/>
                  </a:lnTo>
                  <a:lnTo>
                    <a:pt x="32" y="1709"/>
                  </a:lnTo>
                  <a:lnTo>
                    <a:pt x="25" y="1678"/>
                  </a:lnTo>
                  <a:lnTo>
                    <a:pt x="18" y="1647"/>
                  </a:lnTo>
                  <a:lnTo>
                    <a:pt x="12" y="1616"/>
                  </a:lnTo>
                  <a:lnTo>
                    <a:pt x="8" y="1583"/>
                  </a:lnTo>
                  <a:lnTo>
                    <a:pt x="4" y="1550"/>
                  </a:lnTo>
                  <a:lnTo>
                    <a:pt x="2" y="1518"/>
                  </a:lnTo>
                  <a:lnTo>
                    <a:pt x="0" y="1485"/>
                  </a:lnTo>
                  <a:lnTo>
                    <a:pt x="0" y="1452"/>
                  </a:lnTo>
                  <a:lnTo>
                    <a:pt x="0" y="0"/>
                  </a:lnTo>
                  <a:lnTo>
                    <a:pt x="492" y="0"/>
                  </a:lnTo>
                  <a:lnTo>
                    <a:pt x="492" y="1194"/>
                  </a:lnTo>
                  <a:lnTo>
                    <a:pt x="491" y="1237"/>
                  </a:lnTo>
                  <a:lnTo>
                    <a:pt x="491" y="1293"/>
                  </a:lnTo>
                  <a:lnTo>
                    <a:pt x="491" y="1325"/>
                  </a:lnTo>
                  <a:lnTo>
                    <a:pt x="492" y="1358"/>
                  </a:lnTo>
                  <a:lnTo>
                    <a:pt x="493" y="1391"/>
                  </a:lnTo>
                  <a:lnTo>
                    <a:pt x="495" y="1425"/>
                  </a:lnTo>
                  <a:lnTo>
                    <a:pt x="498" y="1458"/>
                  </a:lnTo>
                  <a:lnTo>
                    <a:pt x="503" y="1490"/>
                  </a:lnTo>
                  <a:lnTo>
                    <a:pt x="508" y="1521"/>
                  </a:lnTo>
                  <a:lnTo>
                    <a:pt x="516" y="1551"/>
                  </a:lnTo>
                  <a:lnTo>
                    <a:pt x="520" y="1564"/>
                  </a:lnTo>
                  <a:lnTo>
                    <a:pt x="525" y="1577"/>
                  </a:lnTo>
                  <a:lnTo>
                    <a:pt x="530" y="1591"/>
                  </a:lnTo>
                  <a:lnTo>
                    <a:pt x="536" y="1602"/>
                  </a:lnTo>
                  <a:lnTo>
                    <a:pt x="542" y="1612"/>
                  </a:lnTo>
                  <a:lnTo>
                    <a:pt x="549" y="1622"/>
                  </a:lnTo>
                  <a:lnTo>
                    <a:pt x="556" y="1630"/>
                  </a:lnTo>
                  <a:lnTo>
                    <a:pt x="564" y="1638"/>
                  </a:lnTo>
                  <a:lnTo>
                    <a:pt x="571" y="1645"/>
                  </a:lnTo>
                  <a:lnTo>
                    <a:pt x="577" y="1651"/>
                  </a:lnTo>
                  <a:lnTo>
                    <a:pt x="585" y="1656"/>
                  </a:lnTo>
                  <a:lnTo>
                    <a:pt x="592" y="1661"/>
                  </a:lnTo>
                  <a:lnTo>
                    <a:pt x="600" y="1665"/>
                  </a:lnTo>
                  <a:lnTo>
                    <a:pt x="609" y="1668"/>
                  </a:lnTo>
                  <a:lnTo>
                    <a:pt x="618" y="1671"/>
                  </a:lnTo>
                  <a:lnTo>
                    <a:pt x="627" y="1673"/>
                  </a:lnTo>
                  <a:lnTo>
                    <a:pt x="645" y="1676"/>
                  </a:lnTo>
                  <a:lnTo>
                    <a:pt x="665" y="1677"/>
                  </a:lnTo>
                  <a:lnTo>
                    <a:pt x="683" y="1678"/>
                  </a:lnTo>
                  <a:lnTo>
                    <a:pt x="702" y="1678"/>
                  </a:lnTo>
                  <a:lnTo>
                    <a:pt x="734" y="1676"/>
                  </a:lnTo>
                  <a:lnTo>
                    <a:pt x="766" y="1672"/>
                  </a:lnTo>
                  <a:lnTo>
                    <a:pt x="796" y="1665"/>
                  </a:lnTo>
                  <a:lnTo>
                    <a:pt x="824" y="1656"/>
                  </a:lnTo>
                  <a:lnTo>
                    <a:pt x="852" y="1645"/>
                  </a:lnTo>
                  <a:lnTo>
                    <a:pt x="878" y="1631"/>
                  </a:lnTo>
                  <a:lnTo>
                    <a:pt x="904" y="1615"/>
                  </a:lnTo>
                  <a:lnTo>
                    <a:pt x="928" y="1597"/>
                  </a:lnTo>
                  <a:lnTo>
                    <a:pt x="952" y="1576"/>
                  </a:lnTo>
                  <a:lnTo>
                    <a:pt x="973" y="1555"/>
                  </a:lnTo>
                  <a:lnTo>
                    <a:pt x="994" y="1531"/>
                  </a:lnTo>
                  <a:lnTo>
                    <a:pt x="1013" y="1507"/>
                  </a:lnTo>
                  <a:lnTo>
                    <a:pt x="1032" y="1481"/>
                  </a:lnTo>
                  <a:lnTo>
                    <a:pt x="1049" y="1454"/>
                  </a:lnTo>
                  <a:lnTo>
                    <a:pt x="1065" y="1426"/>
                  </a:lnTo>
                  <a:lnTo>
                    <a:pt x="1081" y="1397"/>
                  </a:lnTo>
                  <a:lnTo>
                    <a:pt x="1095" y="1367"/>
                  </a:lnTo>
                  <a:lnTo>
                    <a:pt x="1108" y="1336"/>
                  </a:lnTo>
                  <a:lnTo>
                    <a:pt x="1120" y="1304"/>
                  </a:lnTo>
                  <a:lnTo>
                    <a:pt x="1131" y="1272"/>
                  </a:lnTo>
                  <a:lnTo>
                    <a:pt x="1141" y="1240"/>
                  </a:lnTo>
                  <a:lnTo>
                    <a:pt x="1151" y="1208"/>
                  </a:lnTo>
                  <a:lnTo>
                    <a:pt x="1159" y="1176"/>
                  </a:lnTo>
                  <a:lnTo>
                    <a:pt x="1166" y="1143"/>
                  </a:lnTo>
                  <a:lnTo>
                    <a:pt x="1173" y="1112"/>
                  </a:lnTo>
                  <a:lnTo>
                    <a:pt x="1178" y="1080"/>
                  </a:lnTo>
                  <a:lnTo>
                    <a:pt x="1183" y="1049"/>
                  </a:lnTo>
                  <a:lnTo>
                    <a:pt x="1187" y="1017"/>
                  </a:lnTo>
                  <a:lnTo>
                    <a:pt x="1189" y="987"/>
                  </a:lnTo>
                  <a:lnTo>
                    <a:pt x="1192" y="958"/>
                  </a:lnTo>
                  <a:lnTo>
                    <a:pt x="1193" y="930"/>
                  </a:lnTo>
                  <a:lnTo>
                    <a:pt x="1193" y="903"/>
                  </a:lnTo>
                  <a:lnTo>
                    <a:pt x="1193" y="0"/>
                  </a:lnTo>
                  <a:lnTo>
                    <a:pt x="1685" y="0"/>
                  </a:lnTo>
                  <a:lnTo>
                    <a:pt x="1685" y="2089"/>
                  </a:lnTo>
                  <a:lnTo>
                    <a:pt x="1193" y="2089"/>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24" name="Freeform 11"/>
            <p:cNvSpPr>
              <a:spLocks/>
            </p:cNvSpPr>
            <p:nvPr userDrawn="1">
              <p:custDataLst>
                <p:tags r:id="rId10"/>
              </p:custDataLst>
            </p:nvPr>
          </p:nvSpPr>
          <p:spPr bwMode="gray">
            <a:xfrm>
              <a:off x="3354388" y="2708275"/>
              <a:ext cx="250825" cy="463550"/>
            </a:xfrm>
            <a:custGeom>
              <a:avLst/>
              <a:gdLst/>
              <a:ahLst/>
              <a:cxnLst>
                <a:cxn ang="0">
                  <a:pos x="484" y="2137"/>
                </a:cxn>
                <a:cxn ang="0">
                  <a:pos x="0" y="48"/>
                </a:cxn>
                <a:cxn ang="0">
                  <a:pos x="484" y="435"/>
                </a:cxn>
                <a:cxn ang="0">
                  <a:pos x="523" y="382"/>
                </a:cxn>
                <a:cxn ang="0">
                  <a:pos x="571" y="310"/>
                </a:cxn>
                <a:cxn ang="0">
                  <a:pos x="603" y="266"/>
                </a:cxn>
                <a:cxn ang="0">
                  <a:pos x="638" y="224"/>
                </a:cxn>
                <a:cxn ang="0">
                  <a:pos x="672" y="187"/>
                </a:cxn>
                <a:cxn ang="0">
                  <a:pos x="707" y="153"/>
                </a:cxn>
                <a:cxn ang="0">
                  <a:pos x="745" y="122"/>
                </a:cxn>
                <a:cxn ang="0">
                  <a:pos x="784" y="95"/>
                </a:cxn>
                <a:cxn ang="0">
                  <a:pos x="825" y="72"/>
                </a:cxn>
                <a:cxn ang="0">
                  <a:pos x="869" y="51"/>
                </a:cxn>
                <a:cxn ang="0">
                  <a:pos x="917" y="34"/>
                </a:cxn>
                <a:cxn ang="0">
                  <a:pos x="967" y="21"/>
                </a:cxn>
                <a:cxn ang="0">
                  <a:pos x="1020" y="11"/>
                </a:cxn>
                <a:cxn ang="0">
                  <a:pos x="1076" y="4"/>
                </a:cxn>
                <a:cxn ang="0">
                  <a:pos x="1137" y="0"/>
                </a:cxn>
                <a:cxn ang="0">
                  <a:pos x="1170" y="507"/>
                </a:cxn>
                <a:cxn ang="0">
                  <a:pos x="1079" y="510"/>
                </a:cxn>
                <a:cxn ang="0">
                  <a:pos x="997" y="519"/>
                </a:cxn>
                <a:cxn ang="0">
                  <a:pos x="921" y="532"/>
                </a:cxn>
                <a:cxn ang="0">
                  <a:pos x="851" y="550"/>
                </a:cxn>
                <a:cxn ang="0">
                  <a:pos x="789" y="574"/>
                </a:cxn>
                <a:cxn ang="0">
                  <a:pos x="733" y="603"/>
                </a:cxn>
                <a:cxn ang="0">
                  <a:pos x="683" y="638"/>
                </a:cxn>
                <a:cxn ang="0">
                  <a:pos x="640" y="678"/>
                </a:cxn>
                <a:cxn ang="0">
                  <a:pos x="601" y="724"/>
                </a:cxn>
                <a:cxn ang="0">
                  <a:pos x="569" y="776"/>
                </a:cxn>
                <a:cxn ang="0">
                  <a:pos x="542" y="835"/>
                </a:cxn>
                <a:cxn ang="0">
                  <a:pos x="521" y="899"/>
                </a:cxn>
                <a:cxn ang="0">
                  <a:pos x="504" y="969"/>
                </a:cxn>
                <a:cxn ang="0">
                  <a:pos x="493" y="1045"/>
                </a:cxn>
                <a:cxn ang="0">
                  <a:pos x="486" y="1129"/>
                </a:cxn>
                <a:cxn ang="0">
                  <a:pos x="484" y="1217"/>
                </a:cxn>
              </a:cxnLst>
              <a:rect l="0" t="0" r="r" b="b"/>
              <a:pathLst>
                <a:path w="1170" h="2137">
                  <a:moveTo>
                    <a:pt x="484" y="1217"/>
                  </a:moveTo>
                  <a:lnTo>
                    <a:pt x="484" y="2137"/>
                  </a:lnTo>
                  <a:lnTo>
                    <a:pt x="0" y="2137"/>
                  </a:lnTo>
                  <a:lnTo>
                    <a:pt x="0" y="48"/>
                  </a:lnTo>
                  <a:lnTo>
                    <a:pt x="484" y="48"/>
                  </a:lnTo>
                  <a:lnTo>
                    <a:pt x="484" y="435"/>
                  </a:lnTo>
                  <a:lnTo>
                    <a:pt x="492" y="435"/>
                  </a:lnTo>
                  <a:lnTo>
                    <a:pt x="523" y="382"/>
                  </a:lnTo>
                  <a:lnTo>
                    <a:pt x="555" y="333"/>
                  </a:lnTo>
                  <a:lnTo>
                    <a:pt x="571" y="310"/>
                  </a:lnTo>
                  <a:lnTo>
                    <a:pt x="587" y="287"/>
                  </a:lnTo>
                  <a:lnTo>
                    <a:pt x="603" y="266"/>
                  </a:lnTo>
                  <a:lnTo>
                    <a:pt x="621" y="245"/>
                  </a:lnTo>
                  <a:lnTo>
                    <a:pt x="638" y="224"/>
                  </a:lnTo>
                  <a:lnTo>
                    <a:pt x="655" y="205"/>
                  </a:lnTo>
                  <a:lnTo>
                    <a:pt x="672" y="187"/>
                  </a:lnTo>
                  <a:lnTo>
                    <a:pt x="690" y="170"/>
                  </a:lnTo>
                  <a:lnTo>
                    <a:pt x="707" y="153"/>
                  </a:lnTo>
                  <a:lnTo>
                    <a:pt x="726" y="137"/>
                  </a:lnTo>
                  <a:lnTo>
                    <a:pt x="745" y="122"/>
                  </a:lnTo>
                  <a:lnTo>
                    <a:pt x="764" y="108"/>
                  </a:lnTo>
                  <a:lnTo>
                    <a:pt x="784" y="95"/>
                  </a:lnTo>
                  <a:lnTo>
                    <a:pt x="804" y="83"/>
                  </a:lnTo>
                  <a:lnTo>
                    <a:pt x="825" y="72"/>
                  </a:lnTo>
                  <a:lnTo>
                    <a:pt x="847" y="61"/>
                  </a:lnTo>
                  <a:lnTo>
                    <a:pt x="869" y="51"/>
                  </a:lnTo>
                  <a:lnTo>
                    <a:pt x="893" y="42"/>
                  </a:lnTo>
                  <a:lnTo>
                    <a:pt x="917" y="34"/>
                  </a:lnTo>
                  <a:lnTo>
                    <a:pt x="941" y="27"/>
                  </a:lnTo>
                  <a:lnTo>
                    <a:pt x="967" y="21"/>
                  </a:lnTo>
                  <a:lnTo>
                    <a:pt x="993" y="15"/>
                  </a:lnTo>
                  <a:lnTo>
                    <a:pt x="1020" y="11"/>
                  </a:lnTo>
                  <a:lnTo>
                    <a:pt x="1048" y="7"/>
                  </a:lnTo>
                  <a:lnTo>
                    <a:pt x="1076" y="4"/>
                  </a:lnTo>
                  <a:lnTo>
                    <a:pt x="1106" y="2"/>
                  </a:lnTo>
                  <a:lnTo>
                    <a:pt x="1137" y="0"/>
                  </a:lnTo>
                  <a:lnTo>
                    <a:pt x="1170" y="0"/>
                  </a:lnTo>
                  <a:lnTo>
                    <a:pt x="1170" y="507"/>
                  </a:lnTo>
                  <a:lnTo>
                    <a:pt x="1123" y="508"/>
                  </a:lnTo>
                  <a:lnTo>
                    <a:pt x="1079" y="510"/>
                  </a:lnTo>
                  <a:lnTo>
                    <a:pt x="1037" y="513"/>
                  </a:lnTo>
                  <a:lnTo>
                    <a:pt x="997" y="519"/>
                  </a:lnTo>
                  <a:lnTo>
                    <a:pt x="958" y="524"/>
                  </a:lnTo>
                  <a:lnTo>
                    <a:pt x="921" y="532"/>
                  </a:lnTo>
                  <a:lnTo>
                    <a:pt x="886" y="540"/>
                  </a:lnTo>
                  <a:lnTo>
                    <a:pt x="851" y="550"/>
                  </a:lnTo>
                  <a:lnTo>
                    <a:pt x="819" y="561"/>
                  </a:lnTo>
                  <a:lnTo>
                    <a:pt x="789" y="574"/>
                  </a:lnTo>
                  <a:lnTo>
                    <a:pt x="760" y="588"/>
                  </a:lnTo>
                  <a:lnTo>
                    <a:pt x="733" y="603"/>
                  </a:lnTo>
                  <a:lnTo>
                    <a:pt x="707" y="620"/>
                  </a:lnTo>
                  <a:lnTo>
                    <a:pt x="683" y="638"/>
                  </a:lnTo>
                  <a:lnTo>
                    <a:pt x="661" y="657"/>
                  </a:lnTo>
                  <a:lnTo>
                    <a:pt x="640" y="678"/>
                  </a:lnTo>
                  <a:lnTo>
                    <a:pt x="620" y="700"/>
                  </a:lnTo>
                  <a:lnTo>
                    <a:pt x="601" y="724"/>
                  </a:lnTo>
                  <a:lnTo>
                    <a:pt x="584" y="750"/>
                  </a:lnTo>
                  <a:lnTo>
                    <a:pt x="569" y="776"/>
                  </a:lnTo>
                  <a:lnTo>
                    <a:pt x="555" y="806"/>
                  </a:lnTo>
                  <a:lnTo>
                    <a:pt x="542" y="835"/>
                  </a:lnTo>
                  <a:lnTo>
                    <a:pt x="531" y="867"/>
                  </a:lnTo>
                  <a:lnTo>
                    <a:pt x="521" y="899"/>
                  </a:lnTo>
                  <a:lnTo>
                    <a:pt x="512" y="933"/>
                  </a:lnTo>
                  <a:lnTo>
                    <a:pt x="504" y="969"/>
                  </a:lnTo>
                  <a:lnTo>
                    <a:pt x="498" y="1007"/>
                  </a:lnTo>
                  <a:lnTo>
                    <a:pt x="493" y="1045"/>
                  </a:lnTo>
                  <a:lnTo>
                    <a:pt x="489" y="1087"/>
                  </a:lnTo>
                  <a:lnTo>
                    <a:pt x="486" y="1129"/>
                  </a:lnTo>
                  <a:lnTo>
                    <a:pt x="484" y="1172"/>
                  </a:lnTo>
                  <a:lnTo>
                    <a:pt x="484" y="1217"/>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25" name="Freeform 12"/>
            <p:cNvSpPr>
              <a:spLocks noEditPoints="1"/>
            </p:cNvSpPr>
            <p:nvPr userDrawn="1">
              <p:custDataLst>
                <p:tags r:id="rId11"/>
              </p:custDataLst>
            </p:nvPr>
          </p:nvSpPr>
          <p:spPr bwMode="gray">
            <a:xfrm>
              <a:off x="3627438" y="2708275"/>
              <a:ext cx="365125" cy="473075"/>
            </a:xfrm>
            <a:custGeom>
              <a:avLst/>
              <a:gdLst/>
              <a:ahLst/>
              <a:cxnLst>
                <a:cxn ang="0">
                  <a:pos x="475" y="631"/>
                </a:cxn>
                <a:cxn ang="0">
                  <a:pos x="496" y="558"/>
                </a:cxn>
                <a:cxn ang="0">
                  <a:pos x="528" y="492"/>
                </a:cxn>
                <a:cxn ang="0">
                  <a:pos x="571" y="434"/>
                </a:cxn>
                <a:cxn ang="0">
                  <a:pos x="623" y="386"/>
                </a:cxn>
                <a:cxn ang="0">
                  <a:pos x="683" y="348"/>
                </a:cxn>
                <a:cxn ang="0">
                  <a:pos x="751" y="322"/>
                </a:cxn>
                <a:cxn ang="0">
                  <a:pos x="825" y="308"/>
                </a:cxn>
                <a:cxn ang="0">
                  <a:pos x="904" y="308"/>
                </a:cxn>
                <a:cxn ang="0">
                  <a:pos x="981" y="320"/>
                </a:cxn>
                <a:cxn ang="0">
                  <a:pos x="1050" y="345"/>
                </a:cxn>
                <a:cxn ang="0">
                  <a:pos x="1108" y="381"/>
                </a:cxn>
                <a:cxn ang="0">
                  <a:pos x="1156" y="427"/>
                </a:cxn>
                <a:cxn ang="0">
                  <a:pos x="1193" y="484"/>
                </a:cxn>
                <a:cxn ang="0">
                  <a:pos x="1219" y="552"/>
                </a:cxn>
                <a:cxn ang="0">
                  <a:pos x="1232" y="628"/>
                </a:cxn>
                <a:cxn ang="0">
                  <a:pos x="1694" y="847"/>
                </a:cxn>
                <a:cxn ang="0">
                  <a:pos x="1682" y="664"/>
                </a:cxn>
                <a:cxn ang="0">
                  <a:pos x="1646" y="499"/>
                </a:cxn>
                <a:cxn ang="0">
                  <a:pos x="1585" y="355"/>
                </a:cxn>
                <a:cxn ang="0">
                  <a:pos x="1498" y="232"/>
                </a:cxn>
                <a:cxn ang="0">
                  <a:pos x="1388" y="133"/>
                </a:cxn>
                <a:cxn ang="0">
                  <a:pos x="1251" y="61"/>
                </a:cxn>
                <a:cxn ang="0">
                  <a:pos x="1091" y="15"/>
                </a:cxn>
                <a:cxn ang="0">
                  <a:pos x="903" y="0"/>
                </a:cxn>
                <a:cxn ang="0">
                  <a:pos x="684" y="18"/>
                </a:cxn>
                <a:cxn ang="0">
                  <a:pos x="497" y="70"/>
                </a:cxn>
                <a:cxn ang="0">
                  <a:pos x="341" y="153"/>
                </a:cxn>
                <a:cxn ang="0">
                  <a:pos x="216" y="268"/>
                </a:cxn>
                <a:cxn ang="0">
                  <a:pos x="120" y="410"/>
                </a:cxn>
                <a:cxn ang="0">
                  <a:pos x="53" y="578"/>
                </a:cxn>
                <a:cxn ang="0">
                  <a:pos x="13" y="770"/>
                </a:cxn>
                <a:cxn ang="0">
                  <a:pos x="0" y="983"/>
                </a:cxn>
                <a:cxn ang="0">
                  <a:pos x="15" y="1232"/>
                </a:cxn>
                <a:cxn ang="0">
                  <a:pos x="61" y="1461"/>
                </a:cxn>
                <a:cxn ang="0">
                  <a:pos x="139" y="1666"/>
                </a:cxn>
                <a:cxn ang="0">
                  <a:pos x="250" y="1841"/>
                </a:cxn>
                <a:cxn ang="0">
                  <a:pos x="396" y="1986"/>
                </a:cxn>
                <a:cxn ang="0">
                  <a:pos x="579" y="2094"/>
                </a:cxn>
                <a:cxn ang="0">
                  <a:pos x="799" y="2161"/>
                </a:cxn>
                <a:cxn ang="0">
                  <a:pos x="1057" y="2185"/>
                </a:cxn>
                <a:cxn ang="0">
                  <a:pos x="1206" y="2180"/>
                </a:cxn>
                <a:cxn ang="0">
                  <a:pos x="1354" y="2166"/>
                </a:cxn>
                <a:cxn ang="0">
                  <a:pos x="1500" y="2141"/>
                </a:cxn>
                <a:cxn ang="0">
                  <a:pos x="1646" y="2105"/>
                </a:cxn>
                <a:cxn ang="0">
                  <a:pos x="1495" y="1807"/>
                </a:cxn>
                <a:cxn ang="0">
                  <a:pos x="1367" y="1830"/>
                </a:cxn>
                <a:cxn ang="0">
                  <a:pos x="1266" y="1838"/>
                </a:cxn>
                <a:cxn ang="0">
                  <a:pos x="1113" y="1827"/>
                </a:cxn>
                <a:cxn ang="0">
                  <a:pos x="954" y="1781"/>
                </a:cxn>
                <a:cxn ang="0">
                  <a:pos x="815" y="1704"/>
                </a:cxn>
                <a:cxn ang="0">
                  <a:pos x="695" y="1599"/>
                </a:cxn>
                <a:cxn ang="0">
                  <a:pos x="597" y="1473"/>
                </a:cxn>
                <a:cxn ang="0">
                  <a:pos x="523" y="1328"/>
                </a:cxn>
                <a:cxn ang="0">
                  <a:pos x="475" y="1173"/>
                </a:cxn>
                <a:cxn ang="0">
                  <a:pos x="453" y="1009"/>
                </a:cxn>
              </a:cxnLst>
              <a:rect l="0" t="0" r="r" b="b"/>
              <a:pathLst>
                <a:path w="1694" h="2185">
                  <a:moveTo>
                    <a:pt x="1234" y="669"/>
                  </a:moveTo>
                  <a:lnTo>
                    <a:pt x="469" y="669"/>
                  </a:lnTo>
                  <a:lnTo>
                    <a:pt x="471" y="650"/>
                  </a:lnTo>
                  <a:lnTo>
                    <a:pt x="475" y="631"/>
                  </a:lnTo>
                  <a:lnTo>
                    <a:pt x="479" y="612"/>
                  </a:lnTo>
                  <a:lnTo>
                    <a:pt x="484" y="593"/>
                  </a:lnTo>
                  <a:lnTo>
                    <a:pt x="489" y="576"/>
                  </a:lnTo>
                  <a:lnTo>
                    <a:pt x="496" y="558"/>
                  </a:lnTo>
                  <a:lnTo>
                    <a:pt x="503" y="541"/>
                  </a:lnTo>
                  <a:lnTo>
                    <a:pt x="511" y="524"/>
                  </a:lnTo>
                  <a:lnTo>
                    <a:pt x="519" y="507"/>
                  </a:lnTo>
                  <a:lnTo>
                    <a:pt x="528" y="492"/>
                  </a:lnTo>
                  <a:lnTo>
                    <a:pt x="538" y="476"/>
                  </a:lnTo>
                  <a:lnTo>
                    <a:pt x="549" y="462"/>
                  </a:lnTo>
                  <a:lnTo>
                    <a:pt x="560" y="448"/>
                  </a:lnTo>
                  <a:lnTo>
                    <a:pt x="571" y="434"/>
                  </a:lnTo>
                  <a:lnTo>
                    <a:pt x="583" y="421"/>
                  </a:lnTo>
                  <a:lnTo>
                    <a:pt x="596" y="409"/>
                  </a:lnTo>
                  <a:lnTo>
                    <a:pt x="609" y="397"/>
                  </a:lnTo>
                  <a:lnTo>
                    <a:pt x="623" y="386"/>
                  </a:lnTo>
                  <a:lnTo>
                    <a:pt x="637" y="376"/>
                  </a:lnTo>
                  <a:lnTo>
                    <a:pt x="652" y="366"/>
                  </a:lnTo>
                  <a:lnTo>
                    <a:pt x="667" y="357"/>
                  </a:lnTo>
                  <a:lnTo>
                    <a:pt x="683" y="348"/>
                  </a:lnTo>
                  <a:lnTo>
                    <a:pt x="699" y="341"/>
                  </a:lnTo>
                  <a:lnTo>
                    <a:pt x="716" y="333"/>
                  </a:lnTo>
                  <a:lnTo>
                    <a:pt x="734" y="327"/>
                  </a:lnTo>
                  <a:lnTo>
                    <a:pt x="751" y="322"/>
                  </a:lnTo>
                  <a:lnTo>
                    <a:pt x="769" y="317"/>
                  </a:lnTo>
                  <a:lnTo>
                    <a:pt x="787" y="313"/>
                  </a:lnTo>
                  <a:lnTo>
                    <a:pt x="806" y="310"/>
                  </a:lnTo>
                  <a:lnTo>
                    <a:pt x="825" y="308"/>
                  </a:lnTo>
                  <a:lnTo>
                    <a:pt x="844" y="307"/>
                  </a:lnTo>
                  <a:lnTo>
                    <a:pt x="863" y="306"/>
                  </a:lnTo>
                  <a:lnTo>
                    <a:pt x="884" y="307"/>
                  </a:lnTo>
                  <a:lnTo>
                    <a:pt x="904" y="308"/>
                  </a:lnTo>
                  <a:lnTo>
                    <a:pt x="924" y="310"/>
                  </a:lnTo>
                  <a:lnTo>
                    <a:pt x="944" y="313"/>
                  </a:lnTo>
                  <a:lnTo>
                    <a:pt x="963" y="316"/>
                  </a:lnTo>
                  <a:lnTo>
                    <a:pt x="981" y="320"/>
                  </a:lnTo>
                  <a:lnTo>
                    <a:pt x="999" y="326"/>
                  </a:lnTo>
                  <a:lnTo>
                    <a:pt x="1017" y="331"/>
                  </a:lnTo>
                  <a:lnTo>
                    <a:pt x="1034" y="338"/>
                  </a:lnTo>
                  <a:lnTo>
                    <a:pt x="1050" y="345"/>
                  </a:lnTo>
                  <a:lnTo>
                    <a:pt x="1065" y="353"/>
                  </a:lnTo>
                  <a:lnTo>
                    <a:pt x="1080" y="361"/>
                  </a:lnTo>
                  <a:lnTo>
                    <a:pt x="1094" y="371"/>
                  </a:lnTo>
                  <a:lnTo>
                    <a:pt x="1108" y="381"/>
                  </a:lnTo>
                  <a:lnTo>
                    <a:pt x="1121" y="391"/>
                  </a:lnTo>
                  <a:lnTo>
                    <a:pt x="1133" y="403"/>
                  </a:lnTo>
                  <a:lnTo>
                    <a:pt x="1145" y="415"/>
                  </a:lnTo>
                  <a:lnTo>
                    <a:pt x="1156" y="427"/>
                  </a:lnTo>
                  <a:lnTo>
                    <a:pt x="1167" y="441"/>
                  </a:lnTo>
                  <a:lnTo>
                    <a:pt x="1176" y="455"/>
                  </a:lnTo>
                  <a:lnTo>
                    <a:pt x="1185" y="469"/>
                  </a:lnTo>
                  <a:lnTo>
                    <a:pt x="1193" y="484"/>
                  </a:lnTo>
                  <a:lnTo>
                    <a:pt x="1201" y="500"/>
                  </a:lnTo>
                  <a:lnTo>
                    <a:pt x="1208" y="517"/>
                  </a:lnTo>
                  <a:lnTo>
                    <a:pt x="1214" y="535"/>
                  </a:lnTo>
                  <a:lnTo>
                    <a:pt x="1219" y="552"/>
                  </a:lnTo>
                  <a:lnTo>
                    <a:pt x="1224" y="570"/>
                  </a:lnTo>
                  <a:lnTo>
                    <a:pt x="1227" y="589"/>
                  </a:lnTo>
                  <a:lnTo>
                    <a:pt x="1230" y="608"/>
                  </a:lnTo>
                  <a:lnTo>
                    <a:pt x="1232" y="628"/>
                  </a:lnTo>
                  <a:lnTo>
                    <a:pt x="1233" y="648"/>
                  </a:lnTo>
                  <a:lnTo>
                    <a:pt x="1234" y="669"/>
                  </a:lnTo>
                  <a:close/>
                  <a:moveTo>
                    <a:pt x="1694" y="967"/>
                  </a:moveTo>
                  <a:lnTo>
                    <a:pt x="1694" y="847"/>
                  </a:lnTo>
                  <a:lnTo>
                    <a:pt x="1693" y="800"/>
                  </a:lnTo>
                  <a:lnTo>
                    <a:pt x="1691" y="753"/>
                  </a:lnTo>
                  <a:lnTo>
                    <a:pt x="1687" y="708"/>
                  </a:lnTo>
                  <a:lnTo>
                    <a:pt x="1682" y="664"/>
                  </a:lnTo>
                  <a:lnTo>
                    <a:pt x="1675" y="622"/>
                  </a:lnTo>
                  <a:lnTo>
                    <a:pt x="1667" y="580"/>
                  </a:lnTo>
                  <a:lnTo>
                    <a:pt x="1657" y="540"/>
                  </a:lnTo>
                  <a:lnTo>
                    <a:pt x="1646" y="499"/>
                  </a:lnTo>
                  <a:lnTo>
                    <a:pt x="1633" y="461"/>
                  </a:lnTo>
                  <a:lnTo>
                    <a:pt x="1618" y="425"/>
                  </a:lnTo>
                  <a:lnTo>
                    <a:pt x="1602" y="389"/>
                  </a:lnTo>
                  <a:lnTo>
                    <a:pt x="1585" y="355"/>
                  </a:lnTo>
                  <a:lnTo>
                    <a:pt x="1566" y="323"/>
                  </a:lnTo>
                  <a:lnTo>
                    <a:pt x="1544" y="291"/>
                  </a:lnTo>
                  <a:lnTo>
                    <a:pt x="1522" y="262"/>
                  </a:lnTo>
                  <a:lnTo>
                    <a:pt x="1498" y="232"/>
                  </a:lnTo>
                  <a:lnTo>
                    <a:pt x="1473" y="205"/>
                  </a:lnTo>
                  <a:lnTo>
                    <a:pt x="1446" y="180"/>
                  </a:lnTo>
                  <a:lnTo>
                    <a:pt x="1418" y="156"/>
                  </a:lnTo>
                  <a:lnTo>
                    <a:pt x="1388" y="133"/>
                  </a:lnTo>
                  <a:lnTo>
                    <a:pt x="1356" y="113"/>
                  </a:lnTo>
                  <a:lnTo>
                    <a:pt x="1323" y="94"/>
                  </a:lnTo>
                  <a:lnTo>
                    <a:pt x="1288" y="76"/>
                  </a:lnTo>
                  <a:lnTo>
                    <a:pt x="1251" y="61"/>
                  </a:lnTo>
                  <a:lnTo>
                    <a:pt x="1213" y="47"/>
                  </a:lnTo>
                  <a:lnTo>
                    <a:pt x="1174" y="34"/>
                  </a:lnTo>
                  <a:lnTo>
                    <a:pt x="1133" y="24"/>
                  </a:lnTo>
                  <a:lnTo>
                    <a:pt x="1091" y="15"/>
                  </a:lnTo>
                  <a:lnTo>
                    <a:pt x="1046" y="9"/>
                  </a:lnTo>
                  <a:lnTo>
                    <a:pt x="1000" y="4"/>
                  </a:lnTo>
                  <a:lnTo>
                    <a:pt x="952" y="1"/>
                  </a:lnTo>
                  <a:lnTo>
                    <a:pt x="903" y="0"/>
                  </a:lnTo>
                  <a:lnTo>
                    <a:pt x="846" y="1"/>
                  </a:lnTo>
                  <a:lnTo>
                    <a:pt x="790" y="4"/>
                  </a:lnTo>
                  <a:lnTo>
                    <a:pt x="736" y="10"/>
                  </a:lnTo>
                  <a:lnTo>
                    <a:pt x="684" y="18"/>
                  </a:lnTo>
                  <a:lnTo>
                    <a:pt x="634" y="28"/>
                  </a:lnTo>
                  <a:lnTo>
                    <a:pt x="587" y="39"/>
                  </a:lnTo>
                  <a:lnTo>
                    <a:pt x="541" y="54"/>
                  </a:lnTo>
                  <a:lnTo>
                    <a:pt x="497" y="70"/>
                  </a:lnTo>
                  <a:lnTo>
                    <a:pt x="456" y="88"/>
                  </a:lnTo>
                  <a:lnTo>
                    <a:pt x="415" y="108"/>
                  </a:lnTo>
                  <a:lnTo>
                    <a:pt x="377" y="130"/>
                  </a:lnTo>
                  <a:lnTo>
                    <a:pt x="341" y="153"/>
                  </a:lnTo>
                  <a:lnTo>
                    <a:pt x="307" y="179"/>
                  </a:lnTo>
                  <a:lnTo>
                    <a:pt x="275" y="207"/>
                  </a:lnTo>
                  <a:lnTo>
                    <a:pt x="245" y="236"/>
                  </a:lnTo>
                  <a:lnTo>
                    <a:pt x="216" y="268"/>
                  </a:lnTo>
                  <a:lnTo>
                    <a:pt x="190" y="301"/>
                  </a:lnTo>
                  <a:lnTo>
                    <a:pt x="164" y="336"/>
                  </a:lnTo>
                  <a:lnTo>
                    <a:pt x="141" y="372"/>
                  </a:lnTo>
                  <a:lnTo>
                    <a:pt x="120" y="410"/>
                  </a:lnTo>
                  <a:lnTo>
                    <a:pt x="100" y="449"/>
                  </a:lnTo>
                  <a:lnTo>
                    <a:pt x="83" y="491"/>
                  </a:lnTo>
                  <a:lnTo>
                    <a:pt x="67" y="534"/>
                  </a:lnTo>
                  <a:lnTo>
                    <a:pt x="53" y="578"/>
                  </a:lnTo>
                  <a:lnTo>
                    <a:pt x="40" y="624"/>
                  </a:lnTo>
                  <a:lnTo>
                    <a:pt x="30" y="671"/>
                  </a:lnTo>
                  <a:lnTo>
                    <a:pt x="21" y="720"/>
                  </a:lnTo>
                  <a:lnTo>
                    <a:pt x="13" y="770"/>
                  </a:lnTo>
                  <a:lnTo>
                    <a:pt x="8" y="822"/>
                  </a:lnTo>
                  <a:lnTo>
                    <a:pt x="4" y="874"/>
                  </a:lnTo>
                  <a:lnTo>
                    <a:pt x="1" y="928"/>
                  </a:lnTo>
                  <a:lnTo>
                    <a:pt x="0" y="983"/>
                  </a:lnTo>
                  <a:lnTo>
                    <a:pt x="1" y="1047"/>
                  </a:lnTo>
                  <a:lnTo>
                    <a:pt x="4" y="1110"/>
                  </a:lnTo>
                  <a:lnTo>
                    <a:pt x="9" y="1172"/>
                  </a:lnTo>
                  <a:lnTo>
                    <a:pt x="15" y="1232"/>
                  </a:lnTo>
                  <a:lnTo>
                    <a:pt x="24" y="1291"/>
                  </a:lnTo>
                  <a:lnTo>
                    <a:pt x="34" y="1349"/>
                  </a:lnTo>
                  <a:lnTo>
                    <a:pt x="47" y="1406"/>
                  </a:lnTo>
                  <a:lnTo>
                    <a:pt x="61" y="1461"/>
                  </a:lnTo>
                  <a:lnTo>
                    <a:pt x="77" y="1514"/>
                  </a:lnTo>
                  <a:lnTo>
                    <a:pt x="96" y="1566"/>
                  </a:lnTo>
                  <a:lnTo>
                    <a:pt x="116" y="1616"/>
                  </a:lnTo>
                  <a:lnTo>
                    <a:pt x="139" y="1666"/>
                  </a:lnTo>
                  <a:lnTo>
                    <a:pt x="163" y="1712"/>
                  </a:lnTo>
                  <a:lnTo>
                    <a:pt x="191" y="1757"/>
                  </a:lnTo>
                  <a:lnTo>
                    <a:pt x="220" y="1800"/>
                  </a:lnTo>
                  <a:lnTo>
                    <a:pt x="250" y="1841"/>
                  </a:lnTo>
                  <a:lnTo>
                    <a:pt x="284" y="1881"/>
                  </a:lnTo>
                  <a:lnTo>
                    <a:pt x="319" y="1919"/>
                  </a:lnTo>
                  <a:lnTo>
                    <a:pt x="356" y="1953"/>
                  </a:lnTo>
                  <a:lnTo>
                    <a:pt x="396" y="1986"/>
                  </a:lnTo>
                  <a:lnTo>
                    <a:pt x="438" y="2017"/>
                  </a:lnTo>
                  <a:lnTo>
                    <a:pt x="483" y="2045"/>
                  </a:lnTo>
                  <a:lnTo>
                    <a:pt x="530" y="2071"/>
                  </a:lnTo>
                  <a:lnTo>
                    <a:pt x="579" y="2094"/>
                  </a:lnTo>
                  <a:lnTo>
                    <a:pt x="630" y="2115"/>
                  </a:lnTo>
                  <a:lnTo>
                    <a:pt x="683" y="2133"/>
                  </a:lnTo>
                  <a:lnTo>
                    <a:pt x="740" y="2149"/>
                  </a:lnTo>
                  <a:lnTo>
                    <a:pt x="799" y="2161"/>
                  </a:lnTo>
                  <a:lnTo>
                    <a:pt x="859" y="2172"/>
                  </a:lnTo>
                  <a:lnTo>
                    <a:pt x="922" y="2179"/>
                  </a:lnTo>
                  <a:lnTo>
                    <a:pt x="988" y="2183"/>
                  </a:lnTo>
                  <a:lnTo>
                    <a:pt x="1057" y="2185"/>
                  </a:lnTo>
                  <a:lnTo>
                    <a:pt x="1095" y="2185"/>
                  </a:lnTo>
                  <a:lnTo>
                    <a:pt x="1132" y="2184"/>
                  </a:lnTo>
                  <a:lnTo>
                    <a:pt x="1169" y="2182"/>
                  </a:lnTo>
                  <a:lnTo>
                    <a:pt x="1206" y="2180"/>
                  </a:lnTo>
                  <a:lnTo>
                    <a:pt x="1243" y="2178"/>
                  </a:lnTo>
                  <a:lnTo>
                    <a:pt x="1281" y="2174"/>
                  </a:lnTo>
                  <a:lnTo>
                    <a:pt x="1318" y="2170"/>
                  </a:lnTo>
                  <a:lnTo>
                    <a:pt x="1354" y="2166"/>
                  </a:lnTo>
                  <a:lnTo>
                    <a:pt x="1391" y="2161"/>
                  </a:lnTo>
                  <a:lnTo>
                    <a:pt x="1427" y="2155"/>
                  </a:lnTo>
                  <a:lnTo>
                    <a:pt x="1464" y="2148"/>
                  </a:lnTo>
                  <a:lnTo>
                    <a:pt x="1500" y="2141"/>
                  </a:lnTo>
                  <a:lnTo>
                    <a:pt x="1536" y="2133"/>
                  </a:lnTo>
                  <a:lnTo>
                    <a:pt x="1573" y="2124"/>
                  </a:lnTo>
                  <a:lnTo>
                    <a:pt x="1610" y="2115"/>
                  </a:lnTo>
                  <a:lnTo>
                    <a:pt x="1646" y="2105"/>
                  </a:lnTo>
                  <a:lnTo>
                    <a:pt x="1646" y="1766"/>
                  </a:lnTo>
                  <a:lnTo>
                    <a:pt x="1597" y="1781"/>
                  </a:lnTo>
                  <a:lnTo>
                    <a:pt x="1546" y="1794"/>
                  </a:lnTo>
                  <a:lnTo>
                    <a:pt x="1495" y="1807"/>
                  </a:lnTo>
                  <a:lnTo>
                    <a:pt x="1444" y="1817"/>
                  </a:lnTo>
                  <a:lnTo>
                    <a:pt x="1418" y="1822"/>
                  </a:lnTo>
                  <a:lnTo>
                    <a:pt x="1393" y="1826"/>
                  </a:lnTo>
                  <a:lnTo>
                    <a:pt x="1367" y="1830"/>
                  </a:lnTo>
                  <a:lnTo>
                    <a:pt x="1342" y="1833"/>
                  </a:lnTo>
                  <a:lnTo>
                    <a:pt x="1317" y="1835"/>
                  </a:lnTo>
                  <a:lnTo>
                    <a:pt x="1292" y="1837"/>
                  </a:lnTo>
                  <a:lnTo>
                    <a:pt x="1266" y="1838"/>
                  </a:lnTo>
                  <a:lnTo>
                    <a:pt x="1242" y="1838"/>
                  </a:lnTo>
                  <a:lnTo>
                    <a:pt x="1198" y="1837"/>
                  </a:lnTo>
                  <a:lnTo>
                    <a:pt x="1155" y="1833"/>
                  </a:lnTo>
                  <a:lnTo>
                    <a:pt x="1113" y="1827"/>
                  </a:lnTo>
                  <a:lnTo>
                    <a:pt x="1072" y="1819"/>
                  </a:lnTo>
                  <a:lnTo>
                    <a:pt x="1032" y="1809"/>
                  </a:lnTo>
                  <a:lnTo>
                    <a:pt x="992" y="1796"/>
                  </a:lnTo>
                  <a:lnTo>
                    <a:pt x="954" y="1781"/>
                  </a:lnTo>
                  <a:lnTo>
                    <a:pt x="918" y="1765"/>
                  </a:lnTo>
                  <a:lnTo>
                    <a:pt x="882" y="1746"/>
                  </a:lnTo>
                  <a:lnTo>
                    <a:pt x="848" y="1726"/>
                  </a:lnTo>
                  <a:lnTo>
                    <a:pt x="815" y="1704"/>
                  </a:lnTo>
                  <a:lnTo>
                    <a:pt x="783" y="1680"/>
                  </a:lnTo>
                  <a:lnTo>
                    <a:pt x="753" y="1655"/>
                  </a:lnTo>
                  <a:lnTo>
                    <a:pt x="723" y="1627"/>
                  </a:lnTo>
                  <a:lnTo>
                    <a:pt x="695" y="1599"/>
                  </a:lnTo>
                  <a:lnTo>
                    <a:pt x="668" y="1569"/>
                  </a:lnTo>
                  <a:lnTo>
                    <a:pt x="643" y="1538"/>
                  </a:lnTo>
                  <a:lnTo>
                    <a:pt x="620" y="1506"/>
                  </a:lnTo>
                  <a:lnTo>
                    <a:pt x="597" y="1473"/>
                  </a:lnTo>
                  <a:lnTo>
                    <a:pt x="577" y="1438"/>
                  </a:lnTo>
                  <a:lnTo>
                    <a:pt x="557" y="1403"/>
                  </a:lnTo>
                  <a:lnTo>
                    <a:pt x="539" y="1367"/>
                  </a:lnTo>
                  <a:lnTo>
                    <a:pt x="523" y="1328"/>
                  </a:lnTo>
                  <a:lnTo>
                    <a:pt x="509" y="1290"/>
                  </a:lnTo>
                  <a:lnTo>
                    <a:pt x="496" y="1252"/>
                  </a:lnTo>
                  <a:lnTo>
                    <a:pt x="484" y="1213"/>
                  </a:lnTo>
                  <a:lnTo>
                    <a:pt x="475" y="1173"/>
                  </a:lnTo>
                  <a:lnTo>
                    <a:pt x="467" y="1133"/>
                  </a:lnTo>
                  <a:lnTo>
                    <a:pt x="461" y="1092"/>
                  </a:lnTo>
                  <a:lnTo>
                    <a:pt x="456" y="1050"/>
                  </a:lnTo>
                  <a:lnTo>
                    <a:pt x="453" y="1009"/>
                  </a:lnTo>
                  <a:lnTo>
                    <a:pt x="452" y="967"/>
                  </a:lnTo>
                  <a:lnTo>
                    <a:pt x="1694" y="967"/>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26" name="Freeform 13"/>
            <p:cNvSpPr>
              <a:spLocks/>
            </p:cNvSpPr>
            <p:nvPr userDrawn="1">
              <p:custDataLst>
                <p:tags r:id="rId12"/>
              </p:custDataLst>
            </p:nvPr>
          </p:nvSpPr>
          <p:spPr bwMode="gray">
            <a:xfrm>
              <a:off x="2546350" y="2187575"/>
              <a:ext cx="330200" cy="336550"/>
            </a:xfrm>
            <a:custGeom>
              <a:avLst/>
              <a:gdLst/>
              <a:ahLst/>
              <a:cxnLst>
                <a:cxn ang="0">
                  <a:pos x="0" y="0"/>
                </a:cxn>
                <a:cxn ang="0">
                  <a:pos x="0" y="347"/>
                </a:cxn>
                <a:cxn ang="0">
                  <a:pos x="11" y="351"/>
                </a:cxn>
                <a:cxn ang="0">
                  <a:pos x="42" y="363"/>
                </a:cxn>
                <a:cxn ang="0">
                  <a:pos x="91" y="382"/>
                </a:cxn>
                <a:cxn ang="0">
                  <a:pos x="154" y="407"/>
                </a:cxn>
                <a:cxn ang="0">
                  <a:pos x="231" y="437"/>
                </a:cxn>
                <a:cxn ang="0">
                  <a:pos x="316" y="470"/>
                </a:cxn>
                <a:cxn ang="0">
                  <a:pos x="409" y="506"/>
                </a:cxn>
                <a:cxn ang="0">
                  <a:pos x="506" y="543"/>
                </a:cxn>
                <a:cxn ang="0">
                  <a:pos x="605" y="582"/>
                </a:cxn>
                <a:cxn ang="0">
                  <a:pos x="702" y="620"/>
                </a:cxn>
                <a:cxn ang="0">
                  <a:pos x="797" y="656"/>
                </a:cxn>
                <a:cxn ang="0">
                  <a:pos x="884" y="690"/>
                </a:cxn>
                <a:cxn ang="0">
                  <a:pos x="963" y="722"/>
                </a:cxn>
                <a:cxn ang="0">
                  <a:pos x="1031" y="748"/>
                </a:cxn>
                <a:cxn ang="0">
                  <a:pos x="1085" y="768"/>
                </a:cxn>
                <a:cxn ang="0">
                  <a:pos x="1121" y="783"/>
                </a:cxn>
                <a:cxn ang="0">
                  <a:pos x="1085" y="795"/>
                </a:cxn>
                <a:cxn ang="0">
                  <a:pos x="1031" y="815"/>
                </a:cxn>
                <a:cxn ang="0">
                  <a:pos x="963" y="840"/>
                </a:cxn>
                <a:cxn ang="0">
                  <a:pos x="884" y="869"/>
                </a:cxn>
                <a:cxn ang="0">
                  <a:pos x="797" y="903"/>
                </a:cxn>
                <a:cxn ang="0">
                  <a:pos x="702" y="939"/>
                </a:cxn>
                <a:cxn ang="0">
                  <a:pos x="605" y="976"/>
                </a:cxn>
                <a:cxn ang="0">
                  <a:pos x="506" y="1015"/>
                </a:cxn>
                <a:cxn ang="0">
                  <a:pos x="409" y="1052"/>
                </a:cxn>
                <a:cxn ang="0">
                  <a:pos x="316" y="1087"/>
                </a:cxn>
                <a:cxn ang="0">
                  <a:pos x="231" y="1120"/>
                </a:cxn>
                <a:cxn ang="0">
                  <a:pos x="154" y="1150"/>
                </a:cxn>
                <a:cxn ang="0">
                  <a:pos x="91" y="1174"/>
                </a:cxn>
                <a:cxn ang="0">
                  <a:pos x="42" y="1193"/>
                </a:cxn>
                <a:cxn ang="0">
                  <a:pos x="11" y="1205"/>
                </a:cxn>
                <a:cxn ang="0">
                  <a:pos x="0" y="1209"/>
                </a:cxn>
                <a:cxn ang="0">
                  <a:pos x="0" y="1549"/>
                </a:cxn>
                <a:cxn ang="0">
                  <a:pos x="1516" y="935"/>
                </a:cxn>
                <a:cxn ang="0">
                  <a:pos x="1516" y="621"/>
                </a:cxn>
                <a:cxn ang="0">
                  <a:pos x="0" y="0"/>
                </a:cxn>
              </a:cxnLst>
              <a:rect l="0" t="0" r="r" b="b"/>
              <a:pathLst>
                <a:path w="1516" h="1549">
                  <a:moveTo>
                    <a:pt x="0" y="0"/>
                  </a:moveTo>
                  <a:lnTo>
                    <a:pt x="0" y="347"/>
                  </a:lnTo>
                  <a:lnTo>
                    <a:pt x="11" y="351"/>
                  </a:lnTo>
                  <a:lnTo>
                    <a:pt x="42" y="363"/>
                  </a:lnTo>
                  <a:lnTo>
                    <a:pt x="91" y="382"/>
                  </a:lnTo>
                  <a:lnTo>
                    <a:pt x="154" y="407"/>
                  </a:lnTo>
                  <a:lnTo>
                    <a:pt x="231" y="437"/>
                  </a:lnTo>
                  <a:lnTo>
                    <a:pt x="316" y="470"/>
                  </a:lnTo>
                  <a:lnTo>
                    <a:pt x="409" y="506"/>
                  </a:lnTo>
                  <a:lnTo>
                    <a:pt x="506" y="543"/>
                  </a:lnTo>
                  <a:lnTo>
                    <a:pt x="605" y="582"/>
                  </a:lnTo>
                  <a:lnTo>
                    <a:pt x="702" y="620"/>
                  </a:lnTo>
                  <a:lnTo>
                    <a:pt x="797" y="656"/>
                  </a:lnTo>
                  <a:lnTo>
                    <a:pt x="884" y="690"/>
                  </a:lnTo>
                  <a:lnTo>
                    <a:pt x="963" y="722"/>
                  </a:lnTo>
                  <a:lnTo>
                    <a:pt x="1031" y="748"/>
                  </a:lnTo>
                  <a:lnTo>
                    <a:pt x="1085" y="768"/>
                  </a:lnTo>
                  <a:lnTo>
                    <a:pt x="1121" y="783"/>
                  </a:lnTo>
                  <a:lnTo>
                    <a:pt x="1085" y="795"/>
                  </a:lnTo>
                  <a:lnTo>
                    <a:pt x="1031" y="815"/>
                  </a:lnTo>
                  <a:lnTo>
                    <a:pt x="963" y="840"/>
                  </a:lnTo>
                  <a:lnTo>
                    <a:pt x="884" y="869"/>
                  </a:lnTo>
                  <a:lnTo>
                    <a:pt x="797" y="903"/>
                  </a:lnTo>
                  <a:lnTo>
                    <a:pt x="702" y="939"/>
                  </a:lnTo>
                  <a:lnTo>
                    <a:pt x="605" y="976"/>
                  </a:lnTo>
                  <a:lnTo>
                    <a:pt x="506" y="1015"/>
                  </a:lnTo>
                  <a:lnTo>
                    <a:pt x="409" y="1052"/>
                  </a:lnTo>
                  <a:lnTo>
                    <a:pt x="316" y="1087"/>
                  </a:lnTo>
                  <a:lnTo>
                    <a:pt x="231" y="1120"/>
                  </a:lnTo>
                  <a:lnTo>
                    <a:pt x="154" y="1150"/>
                  </a:lnTo>
                  <a:lnTo>
                    <a:pt x="91" y="1174"/>
                  </a:lnTo>
                  <a:lnTo>
                    <a:pt x="42" y="1193"/>
                  </a:lnTo>
                  <a:lnTo>
                    <a:pt x="11" y="1205"/>
                  </a:lnTo>
                  <a:lnTo>
                    <a:pt x="0" y="1209"/>
                  </a:lnTo>
                  <a:lnTo>
                    <a:pt x="0" y="1549"/>
                  </a:lnTo>
                  <a:lnTo>
                    <a:pt x="1516" y="935"/>
                  </a:lnTo>
                  <a:lnTo>
                    <a:pt x="1516" y="621"/>
                  </a:lnTo>
                  <a:lnTo>
                    <a:pt x="0" y="0"/>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27" name="Freeform 14"/>
            <p:cNvSpPr>
              <a:spLocks/>
            </p:cNvSpPr>
            <p:nvPr userDrawn="1">
              <p:custDataLst>
                <p:tags r:id="rId13"/>
              </p:custDataLst>
            </p:nvPr>
          </p:nvSpPr>
          <p:spPr bwMode="gray">
            <a:xfrm>
              <a:off x="522288" y="3679825"/>
              <a:ext cx="200025" cy="241300"/>
            </a:xfrm>
            <a:custGeom>
              <a:avLst/>
              <a:gdLst/>
              <a:ahLst/>
              <a:cxnLst>
                <a:cxn ang="0">
                  <a:pos x="710" y="1121"/>
                </a:cxn>
                <a:cxn ang="0">
                  <a:pos x="589" y="1121"/>
                </a:cxn>
                <a:cxn ang="0">
                  <a:pos x="685" y="589"/>
                </a:cxn>
                <a:cxn ang="0">
                  <a:pos x="226" y="589"/>
                </a:cxn>
                <a:cxn ang="0">
                  <a:pos x="121" y="1121"/>
                </a:cxn>
                <a:cxn ang="0">
                  <a:pos x="0" y="1121"/>
                </a:cxn>
                <a:cxn ang="0">
                  <a:pos x="218" y="0"/>
                </a:cxn>
                <a:cxn ang="0">
                  <a:pos x="339" y="0"/>
                </a:cxn>
                <a:cxn ang="0">
                  <a:pos x="242" y="484"/>
                </a:cxn>
                <a:cxn ang="0">
                  <a:pos x="710" y="484"/>
                </a:cxn>
                <a:cxn ang="0">
                  <a:pos x="799" y="0"/>
                </a:cxn>
                <a:cxn ang="0">
                  <a:pos x="927" y="0"/>
                </a:cxn>
                <a:cxn ang="0">
                  <a:pos x="710" y="1121"/>
                </a:cxn>
              </a:cxnLst>
              <a:rect l="0" t="0" r="r" b="b"/>
              <a:pathLst>
                <a:path w="927" h="1121">
                  <a:moveTo>
                    <a:pt x="710" y="1121"/>
                  </a:moveTo>
                  <a:lnTo>
                    <a:pt x="589" y="1121"/>
                  </a:lnTo>
                  <a:lnTo>
                    <a:pt x="685" y="589"/>
                  </a:lnTo>
                  <a:lnTo>
                    <a:pt x="226" y="589"/>
                  </a:lnTo>
                  <a:lnTo>
                    <a:pt x="121" y="1121"/>
                  </a:lnTo>
                  <a:lnTo>
                    <a:pt x="0" y="1121"/>
                  </a:lnTo>
                  <a:lnTo>
                    <a:pt x="218" y="0"/>
                  </a:lnTo>
                  <a:lnTo>
                    <a:pt x="339" y="0"/>
                  </a:lnTo>
                  <a:lnTo>
                    <a:pt x="242" y="484"/>
                  </a:lnTo>
                  <a:lnTo>
                    <a:pt x="710" y="484"/>
                  </a:lnTo>
                  <a:lnTo>
                    <a:pt x="799" y="0"/>
                  </a:lnTo>
                  <a:lnTo>
                    <a:pt x="927" y="0"/>
                  </a:lnTo>
                  <a:lnTo>
                    <a:pt x="710" y="1121"/>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28" name="Freeform 15"/>
            <p:cNvSpPr>
              <a:spLocks noEditPoints="1"/>
            </p:cNvSpPr>
            <p:nvPr userDrawn="1">
              <p:custDataLst>
                <p:tags r:id="rId14"/>
              </p:custDataLst>
            </p:nvPr>
          </p:nvSpPr>
          <p:spPr bwMode="gray">
            <a:xfrm>
              <a:off x="712788" y="3679825"/>
              <a:ext cx="76200" cy="241300"/>
            </a:xfrm>
            <a:custGeom>
              <a:avLst/>
              <a:gdLst/>
              <a:ahLst/>
              <a:cxnLst>
                <a:cxn ang="0">
                  <a:pos x="322" y="145"/>
                </a:cxn>
                <a:cxn ang="0">
                  <a:pos x="178" y="145"/>
                </a:cxn>
                <a:cxn ang="0">
                  <a:pos x="202" y="0"/>
                </a:cxn>
                <a:cxn ang="0">
                  <a:pos x="347" y="0"/>
                </a:cxn>
                <a:cxn ang="0">
                  <a:pos x="322" y="145"/>
                </a:cxn>
                <a:cxn ang="0">
                  <a:pos x="122" y="1121"/>
                </a:cxn>
                <a:cxn ang="0">
                  <a:pos x="0" y="1121"/>
                </a:cxn>
                <a:cxn ang="0">
                  <a:pos x="154" y="347"/>
                </a:cxn>
                <a:cxn ang="0">
                  <a:pos x="266" y="347"/>
                </a:cxn>
                <a:cxn ang="0">
                  <a:pos x="122" y="1121"/>
                </a:cxn>
              </a:cxnLst>
              <a:rect l="0" t="0" r="r" b="b"/>
              <a:pathLst>
                <a:path w="347" h="1121">
                  <a:moveTo>
                    <a:pt x="322" y="145"/>
                  </a:moveTo>
                  <a:lnTo>
                    <a:pt x="178" y="145"/>
                  </a:lnTo>
                  <a:lnTo>
                    <a:pt x="202" y="0"/>
                  </a:lnTo>
                  <a:lnTo>
                    <a:pt x="347" y="0"/>
                  </a:lnTo>
                  <a:lnTo>
                    <a:pt x="322" y="145"/>
                  </a:lnTo>
                  <a:close/>
                  <a:moveTo>
                    <a:pt x="122" y="1121"/>
                  </a:moveTo>
                  <a:lnTo>
                    <a:pt x="0" y="1121"/>
                  </a:lnTo>
                  <a:lnTo>
                    <a:pt x="154" y="347"/>
                  </a:lnTo>
                  <a:lnTo>
                    <a:pt x="266" y="347"/>
                  </a:lnTo>
                  <a:lnTo>
                    <a:pt x="122" y="1121"/>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29" name="Freeform 16"/>
            <p:cNvSpPr>
              <a:spLocks noEditPoints="1"/>
            </p:cNvSpPr>
            <p:nvPr userDrawn="1">
              <p:custDataLst>
                <p:tags r:id="rId15"/>
              </p:custDataLst>
            </p:nvPr>
          </p:nvSpPr>
          <p:spPr bwMode="gray">
            <a:xfrm>
              <a:off x="760413" y="3751263"/>
              <a:ext cx="161925" cy="239712"/>
            </a:xfrm>
            <a:custGeom>
              <a:avLst/>
              <a:gdLst/>
              <a:ahLst/>
              <a:cxnLst>
                <a:cxn ang="0">
                  <a:pos x="551" y="417"/>
                </a:cxn>
                <a:cxn ang="0">
                  <a:pos x="514" y="532"/>
                </a:cxn>
                <a:cxn ang="0">
                  <a:pos x="474" y="604"/>
                </a:cxn>
                <a:cxn ang="0">
                  <a:pos x="420" y="660"/>
                </a:cxn>
                <a:cxn ang="0">
                  <a:pos x="353" y="690"/>
                </a:cxn>
                <a:cxn ang="0">
                  <a:pos x="297" y="690"/>
                </a:cxn>
                <a:cxn ang="0">
                  <a:pos x="264" y="674"/>
                </a:cxn>
                <a:cxn ang="0">
                  <a:pos x="237" y="641"/>
                </a:cxn>
                <a:cxn ang="0">
                  <a:pos x="214" y="568"/>
                </a:cxn>
                <a:cxn ang="0">
                  <a:pos x="211" y="484"/>
                </a:cxn>
                <a:cxn ang="0">
                  <a:pos x="236" y="322"/>
                </a:cxn>
                <a:cxn ang="0">
                  <a:pos x="279" y="205"/>
                </a:cxn>
                <a:cxn ang="0">
                  <a:pos x="325" y="137"/>
                </a:cxn>
                <a:cxn ang="0">
                  <a:pos x="384" y="96"/>
                </a:cxn>
                <a:cxn ang="0">
                  <a:pos x="447" y="90"/>
                </a:cxn>
                <a:cxn ang="0">
                  <a:pos x="486" y="104"/>
                </a:cxn>
                <a:cxn ang="0">
                  <a:pos x="517" y="131"/>
                </a:cxn>
                <a:cxn ang="0">
                  <a:pos x="554" y="211"/>
                </a:cxn>
                <a:cxn ang="0">
                  <a:pos x="564" y="298"/>
                </a:cxn>
                <a:cxn ang="0">
                  <a:pos x="600" y="122"/>
                </a:cxn>
                <a:cxn ang="0">
                  <a:pos x="559" y="58"/>
                </a:cxn>
                <a:cxn ang="0">
                  <a:pos x="497" y="15"/>
                </a:cxn>
                <a:cxn ang="0">
                  <a:pos x="420" y="0"/>
                </a:cxn>
                <a:cxn ang="0">
                  <a:pos x="316" y="22"/>
                </a:cxn>
                <a:cxn ang="0">
                  <a:pos x="234" y="80"/>
                </a:cxn>
                <a:cxn ang="0">
                  <a:pos x="170" y="166"/>
                </a:cxn>
                <a:cxn ang="0">
                  <a:pos x="124" y="268"/>
                </a:cxn>
                <a:cxn ang="0">
                  <a:pos x="95" y="375"/>
                </a:cxn>
                <a:cxn ang="0">
                  <a:pos x="81" y="479"/>
                </a:cxn>
                <a:cxn ang="0">
                  <a:pos x="86" y="586"/>
                </a:cxn>
                <a:cxn ang="0">
                  <a:pos x="112" y="677"/>
                </a:cxn>
                <a:cxn ang="0">
                  <a:pos x="142" y="727"/>
                </a:cxn>
                <a:cxn ang="0">
                  <a:pos x="183" y="765"/>
                </a:cxn>
                <a:cxn ang="0">
                  <a:pos x="236" y="787"/>
                </a:cxn>
                <a:cxn ang="0">
                  <a:pos x="312" y="788"/>
                </a:cxn>
                <a:cxn ang="0">
                  <a:pos x="394" y="761"/>
                </a:cxn>
                <a:cxn ang="0">
                  <a:pos x="463" y="708"/>
                </a:cxn>
                <a:cxn ang="0">
                  <a:pos x="494" y="731"/>
                </a:cxn>
                <a:cxn ang="0">
                  <a:pos x="453" y="888"/>
                </a:cxn>
                <a:cxn ang="0">
                  <a:pos x="414" y="944"/>
                </a:cxn>
                <a:cxn ang="0">
                  <a:pos x="356" y="983"/>
                </a:cxn>
                <a:cxn ang="0">
                  <a:pos x="270" y="1005"/>
                </a:cxn>
                <a:cxn ang="0">
                  <a:pos x="155" y="1006"/>
                </a:cxn>
                <a:cxn ang="0">
                  <a:pos x="45" y="976"/>
                </a:cxn>
                <a:cxn ang="0">
                  <a:pos x="78" y="1092"/>
                </a:cxn>
                <a:cxn ang="0">
                  <a:pos x="202" y="1105"/>
                </a:cxn>
                <a:cxn ang="0">
                  <a:pos x="303" y="1098"/>
                </a:cxn>
                <a:cxn ang="0">
                  <a:pos x="388" y="1078"/>
                </a:cxn>
                <a:cxn ang="0">
                  <a:pos x="460" y="1042"/>
                </a:cxn>
                <a:cxn ang="0">
                  <a:pos x="516" y="989"/>
                </a:cxn>
                <a:cxn ang="0">
                  <a:pos x="558" y="919"/>
                </a:cxn>
                <a:cxn ang="0">
                  <a:pos x="588" y="831"/>
                </a:cxn>
              </a:cxnLst>
              <a:rect l="0" t="0" r="r" b="b"/>
              <a:pathLst>
                <a:path w="750" h="1105">
                  <a:moveTo>
                    <a:pt x="564" y="298"/>
                  </a:moveTo>
                  <a:lnTo>
                    <a:pt x="564" y="325"/>
                  </a:lnTo>
                  <a:lnTo>
                    <a:pt x="561" y="354"/>
                  </a:lnTo>
                  <a:lnTo>
                    <a:pt x="557" y="385"/>
                  </a:lnTo>
                  <a:lnTo>
                    <a:pt x="551" y="417"/>
                  </a:lnTo>
                  <a:lnTo>
                    <a:pt x="543" y="451"/>
                  </a:lnTo>
                  <a:lnTo>
                    <a:pt x="533" y="484"/>
                  </a:lnTo>
                  <a:lnTo>
                    <a:pt x="527" y="500"/>
                  </a:lnTo>
                  <a:lnTo>
                    <a:pt x="521" y="516"/>
                  </a:lnTo>
                  <a:lnTo>
                    <a:pt x="514" y="532"/>
                  </a:lnTo>
                  <a:lnTo>
                    <a:pt x="507" y="547"/>
                  </a:lnTo>
                  <a:lnTo>
                    <a:pt x="500" y="562"/>
                  </a:lnTo>
                  <a:lnTo>
                    <a:pt x="491" y="577"/>
                  </a:lnTo>
                  <a:lnTo>
                    <a:pt x="483" y="591"/>
                  </a:lnTo>
                  <a:lnTo>
                    <a:pt x="474" y="604"/>
                  </a:lnTo>
                  <a:lnTo>
                    <a:pt x="464" y="617"/>
                  </a:lnTo>
                  <a:lnTo>
                    <a:pt x="454" y="629"/>
                  </a:lnTo>
                  <a:lnTo>
                    <a:pt x="443" y="640"/>
                  </a:lnTo>
                  <a:lnTo>
                    <a:pt x="432" y="651"/>
                  </a:lnTo>
                  <a:lnTo>
                    <a:pt x="420" y="660"/>
                  </a:lnTo>
                  <a:lnTo>
                    <a:pt x="407" y="668"/>
                  </a:lnTo>
                  <a:lnTo>
                    <a:pt x="394" y="676"/>
                  </a:lnTo>
                  <a:lnTo>
                    <a:pt x="381" y="682"/>
                  </a:lnTo>
                  <a:lnTo>
                    <a:pt x="367" y="687"/>
                  </a:lnTo>
                  <a:lnTo>
                    <a:pt x="353" y="690"/>
                  </a:lnTo>
                  <a:lnTo>
                    <a:pt x="338" y="692"/>
                  </a:lnTo>
                  <a:lnTo>
                    <a:pt x="322" y="693"/>
                  </a:lnTo>
                  <a:lnTo>
                    <a:pt x="314" y="693"/>
                  </a:lnTo>
                  <a:lnTo>
                    <a:pt x="305" y="692"/>
                  </a:lnTo>
                  <a:lnTo>
                    <a:pt x="297" y="690"/>
                  </a:lnTo>
                  <a:lnTo>
                    <a:pt x="290" y="688"/>
                  </a:lnTo>
                  <a:lnTo>
                    <a:pt x="283" y="685"/>
                  </a:lnTo>
                  <a:lnTo>
                    <a:pt x="276" y="682"/>
                  </a:lnTo>
                  <a:lnTo>
                    <a:pt x="270" y="678"/>
                  </a:lnTo>
                  <a:lnTo>
                    <a:pt x="264" y="674"/>
                  </a:lnTo>
                  <a:lnTo>
                    <a:pt x="259" y="670"/>
                  </a:lnTo>
                  <a:lnTo>
                    <a:pt x="254" y="665"/>
                  </a:lnTo>
                  <a:lnTo>
                    <a:pt x="249" y="659"/>
                  </a:lnTo>
                  <a:lnTo>
                    <a:pt x="244" y="654"/>
                  </a:lnTo>
                  <a:lnTo>
                    <a:pt x="237" y="641"/>
                  </a:lnTo>
                  <a:lnTo>
                    <a:pt x="230" y="628"/>
                  </a:lnTo>
                  <a:lnTo>
                    <a:pt x="224" y="613"/>
                  </a:lnTo>
                  <a:lnTo>
                    <a:pt x="220" y="598"/>
                  </a:lnTo>
                  <a:lnTo>
                    <a:pt x="217" y="583"/>
                  </a:lnTo>
                  <a:lnTo>
                    <a:pt x="214" y="568"/>
                  </a:lnTo>
                  <a:lnTo>
                    <a:pt x="212" y="552"/>
                  </a:lnTo>
                  <a:lnTo>
                    <a:pt x="211" y="537"/>
                  </a:lnTo>
                  <a:lnTo>
                    <a:pt x="210" y="522"/>
                  </a:lnTo>
                  <a:lnTo>
                    <a:pt x="210" y="508"/>
                  </a:lnTo>
                  <a:lnTo>
                    <a:pt x="211" y="484"/>
                  </a:lnTo>
                  <a:lnTo>
                    <a:pt x="213" y="456"/>
                  </a:lnTo>
                  <a:lnTo>
                    <a:pt x="216" y="424"/>
                  </a:lnTo>
                  <a:lnTo>
                    <a:pt x="221" y="391"/>
                  </a:lnTo>
                  <a:lnTo>
                    <a:pt x="228" y="357"/>
                  </a:lnTo>
                  <a:lnTo>
                    <a:pt x="236" y="322"/>
                  </a:lnTo>
                  <a:lnTo>
                    <a:pt x="246" y="287"/>
                  </a:lnTo>
                  <a:lnTo>
                    <a:pt x="258" y="253"/>
                  </a:lnTo>
                  <a:lnTo>
                    <a:pt x="265" y="236"/>
                  </a:lnTo>
                  <a:lnTo>
                    <a:pt x="272" y="220"/>
                  </a:lnTo>
                  <a:lnTo>
                    <a:pt x="279" y="205"/>
                  </a:lnTo>
                  <a:lnTo>
                    <a:pt x="288" y="190"/>
                  </a:lnTo>
                  <a:lnTo>
                    <a:pt x="296" y="175"/>
                  </a:lnTo>
                  <a:lnTo>
                    <a:pt x="305" y="162"/>
                  </a:lnTo>
                  <a:lnTo>
                    <a:pt x="315" y="148"/>
                  </a:lnTo>
                  <a:lnTo>
                    <a:pt x="325" y="137"/>
                  </a:lnTo>
                  <a:lnTo>
                    <a:pt x="336" y="126"/>
                  </a:lnTo>
                  <a:lnTo>
                    <a:pt x="347" y="117"/>
                  </a:lnTo>
                  <a:lnTo>
                    <a:pt x="359" y="108"/>
                  </a:lnTo>
                  <a:lnTo>
                    <a:pt x="371" y="101"/>
                  </a:lnTo>
                  <a:lnTo>
                    <a:pt x="384" y="96"/>
                  </a:lnTo>
                  <a:lnTo>
                    <a:pt x="398" y="92"/>
                  </a:lnTo>
                  <a:lnTo>
                    <a:pt x="412" y="89"/>
                  </a:lnTo>
                  <a:lnTo>
                    <a:pt x="428" y="88"/>
                  </a:lnTo>
                  <a:lnTo>
                    <a:pt x="437" y="89"/>
                  </a:lnTo>
                  <a:lnTo>
                    <a:pt x="447" y="90"/>
                  </a:lnTo>
                  <a:lnTo>
                    <a:pt x="455" y="91"/>
                  </a:lnTo>
                  <a:lnTo>
                    <a:pt x="464" y="94"/>
                  </a:lnTo>
                  <a:lnTo>
                    <a:pt x="472" y="97"/>
                  </a:lnTo>
                  <a:lnTo>
                    <a:pt x="479" y="100"/>
                  </a:lnTo>
                  <a:lnTo>
                    <a:pt x="486" y="104"/>
                  </a:lnTo>
                  <a:lnTo>
                    <a:pt x="493" y="108"/>
                  </a:lnTo>
                  <a:lnTo>
                    <a:pt x="500" y="114"/>
                  </a:lnTo>
                  <a:lnTo>
                    <a:pt x="506" y="119"/>
                  </a:lnTo>
                  <a:lnTo>
                    <a:pt x="512" y="125"/>
                  </a:lnTo>
                  <a:lnTo>
                    <a:pt x="517" y="131"/>
                  </a:lnTo>
                  <a:lnTo>
                    <a:pt x="527" y="145"/>
                  </a:lnTo>
                  <a:lnTo>
                    <a:pt x="535" y="161"/>
                  </a:lnTo>
                  <a:lnTo>
                    <a:pt x="543" y="177"/>
                  </a:lnTo>
                  <a:lnTo>
                    <a:pt x="549" y="193"/>
                  </a:lnTo>
                  <a:lnTo>
                    <a:pt x="554" y="211"/>
                  </a:lnTo>
                  <a:lnTo>
                    <a:pt x="558" y="228"/>
                  </a:lnTo>
                  <a:lnTo>
                    <a:pt x="561" y="246"/>
                  </a:lnTo>
                  <a:lnTo>
                    <a:pt x="563" y="264"/>
                  </a:lnTo>
                  <a:lnTo>
                    <a:pt x="564" y="281"/>
                  </a:lnTo>
                  <a:lnTo>
                    <a:pt x="564" y="298"/>
                  </a:lnTo>
                  <a:close/>
                  <a:moveTo>
                    <a:pt x="750" y="16"/>
                  </a:moveTo>
                  <a:lnTo>
                    <a:pt x="629" y="16"/>
                  </a:lnTo>
                  <a:lnTo>
                    <a:pt x="613" y="136"/>
                  </a:lnTo>
                  <a:lnTo>
                    <a:pt x="605" y="136"/>
                  </a:lnTo>
                  <a:lnTo>
                    <a:pt x="600" y="122"/>
                  </a:lnTo>
                  <a:lnTo>
                    <a:pt x="593" y="108"/>
                  </a:lnTo>
                  <a:lnTo>
                    <a:pt x="586" y="94"/>
                  </a:lnTo>
                  <a:lnTo>
                    <a:pt x="578" y="81"/>
                  </a:lnTo>
                  <a:lnTo>
                    <a:pt x="569" y="69"/>
                  </a:lnTo>
                  <a:lnTo>
                    <a:pt x="559" y="58"/>
                  </a:lnTo>
                  <a:lnTo>
                    <a:pt x="548" y="48"/>
                  </a:lnTo>
                  <a:lnTo>
                    <a:pt x="536" y="38"/>
                  </a:lnTo>
                  <a:lnTo>
                    <a:pt x="524" y="30"/>
                  </a:lnTo>
                  <a:lnTo>
                    <a:pt x="511" y="22"/>
                  </a:lnTo>
                  <a:lnTo>
                    <a:pt x="497" y="15"/>
                  </a:lnTo>
                  <a:lnTo>
                    <a:pt x="483" y="10"/>
                  </a:lnTo>
                  <a:lnTo>
                    <a:pt x="468" y="6"/>
                  </a:lnTo>
                  <a:lnTo>
                    <a:pt x="452" y="2"/>
                  </a:lnTo>
                  <a:lnTo>
                    <a:pt x="436" y="1"/>
                  </a:lnTo>
                  <a:lnTo>
                    <a:pt x="420" y="0"/>
                  </a:lnTo>
                  <a:lnTo>
                    <a:pt x="397" y="1"/>
                  </a:lnTo>
                  <a:lnTo>
                    <a:pt x="375" y="4"/>
                  </a:lnTo>
                  <a:lnTo>
                    <a:pt x="355" y="8"/>
                  </a:lnTo>
                  <a:lnTo>
                    <a:pt x="335" y="14"/>
                  </a:lnTo>
                  <a:lnTo>
                    <a:pt x="316" y="22"/>
                  </a:lnTo>
                  <a:lnTo>
                    <a:pt x="298" y="31"/>
                  </a:lnTo>
                  <a:lnTo>
                    <a:pt x="281" y="41"/>
                  </a:lnTo>
                  <a:lnTo>
                    <a:pt x="264" y="53"/>
                  </a:lnTo>
                  <a:lnTo>
                    <a:pt x="249" y="66"/>
                  </a:lnTo>
                  <a:lnTo>
                    <a:pt x="234" y="80"/>
                  </a:lnTo>
                  <a:lnTo>
                    <a:pt x="219" y="96"/>
                  </a:lnTo>
                  <a:lnTo>
                    <a:pt x="206" y="112"/>
                  </a:lnTo>
                  <a:lnTo>
                    <a:pt x="193" y="129"/>
                  </a:lnTo>
                  <a:lnTo>
                    <a:pt x="181" y="147"/>
                  </a:lnTo>
                  <a:lnTo>
                    <a:pt x="170" y="166"/>
                  </a:lnTo>
                  <a:lnTo>
                    <a:pt x="160" y="186"/>
                  </a:lnTo>
                  <a:lnTo>
                    <a:pt x="150" y="206"/>
                  </a:lnTo>
                  <a:lnTo>
                    <a:pt x="140" y="226"/>
                  </a:lnTo>
                  <a:lnTo>
                    <a:pt x="131" y="247"/>
                  </a:lnTo>
                  <a:lnTo>
                    <a:pt x="124" y="268"/>
                  </a:lnTo>
                  <a:lnTo>
                    <a:pt x="116" y="289"/>
                  </a:lnTo>
                  <a:lnTo>
                    <a:pt x="110" y="310"/>
                  </a:lnTo>
                  <a:lnTo>
                    <a:pt x="104" y="332"/>
                  </a:lnTo>
                  <a:lnTo>
                    <a:pt x="99" y="353"/>
                  </a:lnTo>
                  <a:lnTo>
                    <a:pt x="95" y="375"/>
                  </a:lnTo>
                  <a:lnTo>
                    <a:pt x="91" y="396"/>
                  </a:lnTo>
                  <a:lnTo>
                    <a:pt x="87" y="417"/>
                  </a:lnTo>
                  <a:lnTo>
                    <a:pt x="85" y="438"/>
                  </a:lnTo>
                  <a:lnTo>
                    <a:pt x="83" y="459"/>
                  </a:lnTo>
                  <a:lnTo>
                    <a:pt x="81" y="479"/>
                  </a:lnTo>
                  <a:lnTo>
                    <a:pt x="81" y="498"/>
                  </a:lnTo>
                  <a:lnTo>
                    <a:pt x="80" y="516"/>
                  </a:lnTo>
                  <a:lnTo>
                    <a:pt x="81" y="539"/>
                  </a:lnTo>
                  <a:lnTo>
                    <a:pt x="83" y="563"/>
                  </a:lnTo>
                  <a:lnTo>
                    <a:pt x="86" y="586"/>
                  </a:lnTo>
                  <a:lnTo>
                    <a:pt x="90" y="610"/>
                  </a:lnTo>
                  <a:lnTo>
                    <a:pt x="96" y="633"/>
                  </a:lnTo>
                  <a:lnTo>
                    <a:pt x="103" y="656"/>
                  </a:lnTo>
                  <a:lnTo>
                    <a:pt x="107" y="667"/>
                  </a:lnTo>
                  <a:lnTo>
                    <a:pt x="112" y="677"/>
                  </a:lnTo>
                  <a:lnTo>
                    <a:pt x="117" y="688"/>
                  </a:lnTo>
                  <a:lnTo>
                    <a:pt x="122" y="698"/>
                  </a:lnTo>
                  <a:lnTo>
                    <a:pt x="128" y="708"/>
                  </a:lnTo>
                  <a:lnTo>
                    <a:pt x="135" y="717"/>
                  </a:lnTo>
                  <a:lnTo>
                    <a:pt x="142" y="727"/>
                  </a:lnTo>
                  <a:lnTo>
                    <a:pt x="150" y="736"/>
                  </a:lnTo>
                  <a:lnTo>
                    <a:pt x="157" y="744"/>
                  </a:lnTo>
                  <a:lnTo>
                    <a:pt x="165" y="751"/>
                  </a:lnTo>
                  <a:lnTo>
                    <a:pt x="174" y="758"/>
                  </a:lnTo>
                  <a:lnTo>
                    <a:pt x="183" y="765"/>
                  </a:lnTo>
                  <a:lnTo>
                    <a:pt x="193" y="770"/>
                  </a:lnTo>
                  <a:lnTo>
                    <a:pt x="203" y="776"/>
                  </a:lnTo>
                  <a:lnTo>
                    <a:pt x="213" y="780"/>
                  </a:lnTo>
                  <a:lnTo>
                    <a:pt x="224" y="784"/>
                  </a:lnTo>
                  <a:lnTo>
                    <a:pt x="236" y="787"/>
                  </a:lnTo>
                  <a:lnTo>
                    <a:pt x="248" y="789"/>
                  </a:lnTo>
                  <a:lnTo>
                    <a:pt x="261" y="790"/>
                  </a:lnTo>
                  <a:lnTo>
                    <a:pt x="274" y="790"/>
                  </a:lnTo>
                  <a:lnTo>
                    <a:pt x="293" y="790"/>
                  </a:lnTo>
                  <a:lnTo>
                    <a:pt x="312" y="788"/>
                  </a:lnTo>
                  <a:lnTo>
                    <a:pt x="330" y="785"/>
                  </a:lnTo>
                  <a:lnTo>
                    <a:pt x="347" y="780"/>
                  </a:lnTo>
                  <a:lnTo>
                    <a:pt x="363" y="775"/>
                  </a:lnTo>
                  <a:lnTo>
                    <a:pt x="379" y="768"/>
                  </a:lnTo>
                  <a:lnTo>
                    <a:pt x="394" y="761"/>
                  </a:lnTo>
                  <a:lnTo>
                    <a:pt x="409" y="752"/>
                  </a:lnTo>
                  <a:lnTo>
                    <a:pt x="424" y="743"/>
                  </a:lnTo>
                  <a:lnTo>
                    <a:pt x="437" y="732"/>
                  </a:lnTo>
                  <a:lnTo>
                    <a:pt x="450" y="721"/>
                  </a:lnTo>
                  <a:lnTo>
                    <a:pt x="463" y="708"/>
                  </a:lnTo>
                  <a:lnTo>
                    <a:pt x="475" y="695"/>
                  </a:lnTo>
                  <a:lnTo>
                    <a:pt x="486" y="682"/>
                  </a:lnTo>
                  <a:lnTo>
                    <a:pt x="497" y="668"/>
                  </a:lnTo>
                  <a:lnTo>
                    <a:pt x="508" y="653"/>
                  </a:lnTo>
                  <a:lnTo>
                    <a:pt x="494" y="731"/>
                  </a:lnTo>
                  <a:lnTo>
                    <a:pt x="481" y="801"/>
                  </a:lnTo>
                  <a:lnTo>
                    <a:pt x="473" y="832"/>
                  </a:lnTo>
                  <a:lnTo>
                    <a:pt x="464" y="861"/>
                  </a:lnTo>
                  <a:lnTo>
                    <a:pt x="459" y="875"/>
                  </a:lnTo>
                  <a:lnTo>
                    <a:pt x="453" y="888"/>
                  </a:lnTo>
                  <a:lnTo>
                    <a:pt x="447" y="900"/>
                  </a:lnTo>
                  <a:lnTo>
                    <a:pt x="440" y="912"/>
                  </a:lnTo>
                  <a:lnTo>
                    <a:pt x="432" y="923"/>
                  </a:lnTo>
                  <a:lnTo>
                    <a:pt x="424" y="934"/>
                  </a:lnTo>
                  <a:lnTo>
                    <a:pt x="414" y="944"/>
                  </a:lnTo>
                  <a:lnTo>
                    <a:pt x="404" y="953"/>
                  </a:lnTo>
                  <a:lnTo>
                    <a:pt x="394" y="961"/>
                  </a:lnTo>
                  <a:lnTo>
                    <a:pt x="382" y="969"/>
                  </a:lnTo>
                  <a:lnTo>
                    <a:pt x="369" y="976"/>
                  </a:lnTo>
                  <a:lnTo>
                    <a:pt x="356" y="983"/>
                  </a:lnTo>
                  <a:lnTo>
                    <a:pt x="341" y="988"/>
                  </a:lnTo>
                  <a:lnTo>
                    <a:pt x="325" y="993"/>
                  </a:lnTo>
                  <a:lnTo>
                    <a:pt x="308" y="999"/>
                  </a:lnTo>
                  <a:lnTo>
                    <a:pt x="289" y="1002"/>
                  </a:lnTo>
                  <a:lnTo>
                    <a:pt x="270" y="1005"/>
                  </a:lnTo>
                  <a:lnTo>
                    <a:pt x="248" y="1007"/>
                  </a:lnTo>
                  <a:lnTo>
                    <a:pt x="226" y="1008"/>
                  </a:lnTo>
                  <a:lnTo>
                    <a:pt x="202" y="1008"/>
                  </a:lnTo>
                  <a:lnTo>
                    <a:pt x="178" y="1008"/>
                  </a:lnTo>
                  <a:lnTo>
                    <a:pt x="155" y="1006"/>
                  </a:lnTo>
                  <a:lnTo>
                    <a:pt x="131" y="1002"/>
                  </a:lnTo>
                  <a:lnTo>
                    <a:pt x="109" y="996"/>
                  </a:lnTo>
                  <a:lnTo>
                    <a:pt x="88" y="991"/>
                  </a:lnTo>
                  <a:lnTo>
                    <a:pt x="66" y="984"/>
                  </a:lnTo>
                  <a:lnTo>
                    <a:pt x="45" y="976"/>
                  </a:lnTo>
                  <a:lnTo>
                    <a:pt x="24" y="967"/>
                  </a:lnTo>
                  <a:lnTo>
                    <a:pt x="0" y="1081"/>
                  </a:lnTo>
                  <a:lnTo>
                    <a:pt x="27" y="1084"/>
                  </a:lnTo>
                  <a:lnTo>
                    <a:pt x="53" y="1088"/>
                  </a:lnTo>
                  <a:lnTo>
                    <a:pt x="78" y="1092"/>
                  </a:lnTo>
                  <a:lnTo>
                    <a:pt x="103" y="1096"/>
                  </a:lnTo>
                  <a:lnTo>
                    <a:pt x="128" y="1099"/>
                  </a:lnTo>
                  <a:lnTo>
                    <a:pt x="154" y="1102"/>
                  </a:lnTo>
                  <a:lnTo>
                    <a:pt x="178" y="1104"/>
                  </a:lnTo>
                  <a:lnTo>
                    <a:pt x="202" y="1105"/>
                  </a:lnTo>
                  <a:lnTo>
                    <a:pt x="223" y="1105"/>
                  </a:lnTo>
                  <a:lnTo>
                    <a:pt x="244" y="1104"/>
                  </a:lnTo>
                  <a:lnTo>
                    <a:pt x="264" y="1103"/>
                  </a:lnTo>
                  <a:lnTo>
                    <a:pt x="284" y="1101"/>
                  </a:lnTo>
                  <a:lnTo>
                    <a:pt x="303" y="1098"/>
                  </a:lnTo>
                  <a:lnTo>
                    <a:pt x="321" y="1095"/>
                  </a:lnTo>
                  <a:lnTo>
                    <a:pt x="339" y="1092"/>
                  </a:lnTo>
                  <a:lnTo>
                    <a:pt x="356" y="1088"/>
                  </a:lnTo>
                  <a:lnTo>
                    <a:pt x="372" y="1083"/>
                  </a:lnTo>
                  <a:lnTo>
                    <a:pt x="388" y="1078"/>
                  </a:lnTo>
                  <a:lnTo>
                    <a:pt x="404" y="1072"/>
                  </a:lnTo>
                  <a:lnTo>
                    <a:pt x="419" y="1065"/>
                  </a:lnTo>
                  <a:lnTo>
                    <a:pt x="433" y="1058"/>
                  </a:lnTo>
                  <a:lnTo>
                    <a:pt x="447" y="1050"/>
                  </a:lnTo>
                  <a:lnTo>
                    <a:pt x="460" y="1042"/>
                  </a:lnTo>
                  <a:lnTo>
                    <a:pt x="472" y="1033"/>
                  </a:lnTo>
                  <a:lnTo>
                    <a:pt x="484" y="1023"/>
                  </a:lnTo>
                  <a:lnTo>
                    <a:pt x="495" y="1012"/>
                  </a:lnTo>
                  <a:lnTo>
                    <a:pt x="506" y="1001"/>
                  </a:lnTo>
                  <a:lnTo>
                    <a:pt x="516" y="989"/>
                  </a:lnTo>
                  <a:lnTo>
                    <a:pt x="525" y="976"/>
                  </a:lnTo>
                  <a:lnTo>
                    <a:pt x="534" y="963"/>
                  </a:lnTo>
                  <a:lnTo>
                    <a:pt x="543" y="949"/>
                  </a:lnTo>
                  <a:lnTo>
                    <a:pt x="551" y="934"/>
                  </a:lnTo>
                  <a:lnTo>
                    <a:pt x="558" y="919"/>
                  </a:lnTo>
                  <a:lnTo>
                    <a:pt x="565" y="903"/>
                  </a:lnTo>
                  <a:lnTo>
                    <a:pt x="572" y="886"/>
                  </a:lnTo>
                  <a:lnTo>
                    <a:pt x="578" y="869"/>
                  </a:lnTo>
                  <a:lnTo>
                    <a:pt x="583" y="850"/>
                  </a:lnTo>
                  <a:lnTo>
                    <a:pt x="588" y="831"/>
                  </a:lnTo>
                  <a:lnTo>
                    <a:pt x="593" y="811"/>
                  </a:lnTo>
                  <a:lnTo>
                    <a:pt x="597" y="790"/>
                  </a:lnTo>
                  <a:lnTo>
                    <a:pt x="750" y="16"/>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30" name="Freeform 17"/>
            <p:cNvSpPr>
              <a:spLocks/>
            </p:cNvSpPr>
            <p:nvPr userDrawn="1">
              <p:custDataLst>
                <p:tags r:id="rId16"/>
              </p:custDataLst>
            </p:nvPr>
          </p:nvSpPr>
          <p:spPr bwMode="gray">
            <a:xfrm>
              <a:off x="923925" y="3679825"/>
              <a:ext cx="142875" cy="241300"/>
            </a:xfrm>
            <a:custGeom>
              <a:avLst/>
              <a:gdLst/>
              <a:ahLst/>
              <a:cxnLst>
                <a:cxn ang="0">
                  <a:pos x="549" y="1121"/>
                </a:cxn>
                <a:cxn ang="0">
                  <a:pos x="525" y="661"/>
                </a:cxn>
                <a:cxn ang="0">
                  <a:pos x="536" y="594"/>
                </a:cxn>
                <a:cxn ang="0">
                  <a:pos x="539" y="563"/>
                </a:cxn>
                <a:cxn ang="0">
                  <a:pos x="541" y="533"/>
                </a:cxn>
                <a:cxn ang="0">
                  <a:pos x="539" y="513"/>
                </a:cxn>
                <a:cxn ang="0">
                  <a:pos x="535" y="494"/>
                </a:cxn>
                <a:cxn ang="0">
                  <a:pos x="528" y="477"/>
                </a:cxn>
                <a:cxn ang="0">
                  <a:pos x="518" y="462"/>
                </a:cxn>
                <a:cxn ang="0">
                  <a:pos x="505" y="451"/>
                </a:cxn>
                <a:cxn ang="0">
                  <a:pos x="489" y="442"/>
                </a:cxn>
                <a:cxn ang="0">
                  <a:pos x="471" y="437"/>
                </a:cxn>
                <a:cxn ang="0">
                  <a:pos x="451" y="435"/>
                </a:cxn>
                <a:cxn ang="0">
                  <a:pos x="419" y="439"/>
                </a:cxn>
                <a:cxn ang="0">
                  <a:pos x="389" y="448"/>
                </a:cxn>
                <a:cxn ang="0">
                  <a:pos x="361" y="463"/>
                </a:cxn>
                <a:cxn ang="0">
                  <a:pos x="335" y="483"/>
                </a:cxn>
                <a:cxn ang="0">
                  <a:pos x="311" y="507"/>
                </a:cxn>
                <a:cxn ang="0">
                  <a:pos x="288" y="535"/>
                </a:cxn>
                <a:cxn ang="0">
                  <a:pos x="268" y="565"/>
                </a:cxn>
                <a:cxn ang="0">
                  <a:pos x="249" y="597"/>
                </a:cxn>
                <a:cxn ang="0">
                  <a:pos x="218" y="666"/>
                </a:cxn>
                <a:cxn ang="0">
                  <a:pos x="192" y="735"/>
                </a:cxn>
                <a:cxn ang="0">
                  <a:pos x="173" y="800"/>
                </a:cxn>
                <a:cxn ang="0">
                  <a:pos x="161" y="855"/>
                </a:cxn>
                <a:cxn ang="0">
                  <a:pos x="0" y="1121"/>
                </a:cxn>
                <a:cxn ang="0">
                  <a:pos x="331" y="0"/>
                </a:cxn>
                <a:cxn ang="0">
                  <a:pos x="234" y="509"/>
                </a:cxn>
                <a:cxn ang="0">
                  <a:pos x="261" y="470"/>
                </a:cxn>
                <a:cxn ang="0">
                  <a:pos x="288" y="436"/>
                </a:cxn>
                <a:cxn ang="0">
                  <a:pos x="317" y="406"/>
                </a:cxn>
                <a:cxn ang="0">
                  <a:pos x="347" y="380"/>
                </a:cxn>
                <a:cxn ang="0">
                  <a:pos x="380" y="359"/>
                </a:cxn>
                <a:cxn ang="0">
                  <a:pos x="417" y="344"/>
                </a:cxn>
                <a:cxn ang="0">
                  <a:pos x="460" y="334"/>
                </a:cxn>
                <a:cxn ang="0">
                  <a:pos x="509" y="331"/>
                </a:cxn>
                <a:cxn ang="0">
                  <a:pos x="543" y="334"/>
                </a:cxn>
                <a:cxn ang="0">
                  <a:pos x="573" y="345"/>
                </a:cxn>
                <a:cxn ang="0">
                  <a:pos x="599" y="361"/>
                </a:cxn>
                <a:cxn ang="0">
                  <a:pos x="621" y="382"/>
                </a:cxn>
                <a:cxn ang="0">
                  <a:pos x="638" y="407"/>
                </a:cxn>
                <a:cxn ang="0">
                  <a:pos x="651" y="436"/>
                </a:cxn>
                <a:cxn ang="0">
                  <a:pos x="659" y="467"/>
                </a:cxn>
                <a:cxn ang="0">
                  <a:pos x="661" y="501"/>
                </a:cxn>
                <a:cxn ang="0">
                  <a:pos x="660" y="531"/>
                </a:cxn>
                <a:cxn ang="0">
                  <a:pos x="656" y="561"/>
                </a:cxn>
                <a:cxn ang="0">
                  <a:pos x="645" y="621"/>
                </a:cxn>
              </a:cxnLst>
              <a:rect l="0" t="0" r="r" b="b"/>
              <a:pathLst>
                <a:path w="661" h="1121">
                  <a:moveTo>
                    <a:pt x="645" y="621"/>
                  </a:moveTo>
                  <a:lnTo>
                    <a:pt x="549" y="1121"/>
                  </a:lnTo>
                  <a:lnTo>
                    <a:pt x="435" y="1121"/>
                  </a:lnTo>
                  <a:lnTo>
                    <a:pt x="525" y="661"/>
                  </a:lnTo>
                  <a:lnTo>
                    <a:pt x="531" y="627"/>
                  </a:lnTo>
                  <a:lnTo>
                    <a:pt x="536" y="594"/>
                  </a:lnTo>
                  <a:lnTo>
                    <a:pt x="538" y="578"/>
                  </a:lnTo>
                  <a:lnTo>
                    <a:pt x="539" y="563"/>
                  </a:lnTo>
                  <a:lnTo>
                    <a:pt x="540" y="548"/>
                  </a:lnTo>
                  <a:lnTo>
                    <a:pt x="541" y="533"/>
                  </a:lnTo>
                  <a:lnTo>
                    <a:pt x="540" y="522"/>
                  </a:lnTo>
                  <a:lnTo>
                    <a:pt x="539" y="513"/>
                  </a:lnTo>
                  <a:lnTo>
                    <a:pt x="537" y="503"/>
                  </a:lnTo>
                  <a:lnTo>
                    <a:pt x="535" y="494"/>
                  </a:lnTo>
                  <a:lnTo>
                    <a:pt x="532" y="485"/>
                  </a:lnTo>
                  <a:lnTo>
                    <a:pt x="528" y="477"/>
                  </a:lnTo>
                  <a:lnTo>
                    <a:pt x="523" y="469"/>
                  </a:lnTo>
                  <a:lnTo>
                    <a:pt x="518" y="462"/>
                  </a:lnTo>
                  <a:lnTo>
                    <a:pt x="512" y="456"/>
                  </a:lnTo>
                  <a:lnTo>
                    <a:pt x="505" y="451"/>
                  </a:lnTo>
                  <a:lnTo>
                    <a:pt x="498" y="446"/>
                  </a:lnTo>
                  <a:lnTo>
                    <a:pt x="489" y="442"/>
                  </a:lnTo>
                  <a:lnTo>
                    <a:pt x="480" y="439"/>
                  </a:lnTo>
                  <a:lnTo>
                    <a:pt x="471" y="437"/>
                  </a:lnTo>
                  <a:lnTo>
                    <a:pt x="462" y="436"/>
                  </a:lnTo>
                  <a:lnTo>
                    <a:pt x="451" y="435"/>
                  </a:lnTo>
                  <a:lnTo>
                    <a:pt x="435" y="436"/>
                  </a:lnTo>
                  <a:lnTo>
                    <a:pt x="419" y="439"/>
                  </a:lnTo>
                  <a:lnTo>
                    <a:pt x="404" y="443"/>
                  </a:lnTo>
                  <a:lnTo>
                    <a:pt x="389" y="448"/>
                  </a:lnTo>
                  <a:lnTo>
                    <a:pt x="375" y="455"/>
                  </a:lnTo>
                  <a:lnTo>
                    <a:pt x="361" y="463"/>
                  </a:lnTo>
                  <a:lnTo>
                    <a:pt x="348" y="472"/>
                  </a:lnTo>
                  <a:lnTo>
                    <a:pt x="335" y="483"/>
                  </a:lnTo>
                  <a:lnTo>
                    <a:pt x="323" y="495"/>
                  </a:lnTo>
                  <a:lnTo>
                    <a:pt x="311" y="507"/>
                  </a:lnTo>
                  <a:lnTo>
                    <a:pt x="299" y="521"/>
                  </a:lnTo>
                  <a:lnTo>
                    <a:pt x="288" y="535"/>
                  </a:lnTo>
                  <a:lnTo>
                    <a:pt x="278" y="549"/>
                  </a:lnTo>
                  <a:lnTo>
                    <a:pt x="268" y="565"/>
                  </a:lnTo>
                  <a:lnTo>
                    <a:pt x="259" y="581"/>
                  </a:lnTo>
                  <a:lnTo>
                    <a:pt x="249" y="597"/>
                  </a:lnTo>
                  <a:lnTo>
                    <a:pt x="233" y="631"/>
                  </a:lnTo>
                  <a:lnTo>
                    <a:pt x="218" y="666"/>
                  </a:lnTo>
                  <a:lnTo>
                    <a:pt x="203" y="700"/>
                  </a:lnTo>
                  <a:lnTo>
                    <a:pt x="192" y="735"/>
                  </a:lnTo>
                  <a:lnTo>
                    <a:pt x="182" y="768"/>
                  </a:lnTo>
                  <a:lnTo>
                    <a:pt x="173" y="800"/>
                  </a:lnTo>
                  <a:lnTo>
                    <a:pt x="166" y="829"/>
                  </a:lnTo>
                  <a:lnTo>
                    <a:pt x="161" y="855"/>
                  </a:lnTo>
                  <a:lnTo>
                    <a:pt x="113" y="1121"/>
                  </a:lnTo>
                  <a:lnTo>
                    <a:pt x="0" y="1121"/>
                  </a:lnTo>
                  <a:lnTo>
                    <a:pt x="218" y="0"/>
                  </a:lnTo>
                  <a:lnTo>
                    <a:pt x="331" y="0"/>
                  </a:lnTo>
                  <a:lnTo>
                    <a:pt x="234" y="501"/>
                  </a:lnTo>
                  <a:lnTo>
                    <a:pt x="234" y="509"/>
                  </a:lnTo>
                  <a:lnTo>
                    <a:pt x="248" y="488"/>
                  </a:lnTo>
                  <a:lnTo>
                    <a:pt x="261" y="470"/>
                  </a:lnTo>
                  <a:lnTo>
                    <a:pt x="275" y="453"/>
                  </a:lnTo>
                  <a:lnTo>
                    <a:pt x="288" y="436"/>
                  </a:lnTo>
                  <a:lnTo>
                    <a:pt x="302" y="420"/>
                  </a:lnTo>
                  <a:lnTo>
                    <a:pt x="317" y="406"/>
                  </a:lnTo>
                  <a:lnTo>
                    <a:pt x="331" y="392"/>
                  </a:lnTo>
                  <a:lnTo>
                    <a:pt x="347" y="380"/>
                  </a:lnTo>
                  <a:lnTo>
                    <a:pt x="363" y="369"/>
                  </a:lnTo>
                  <a:lnTo>
                    <a:pt x="380" y="359"/>
                  </a:lnTo>
                  <a:lnTo>
                    <a:pt x="398" y="351"/>
                  </a:lnTo>
                  <a:lnTo>
                    <a:pt x="417" y="344"/>
                  </a:lnTo>
                  <a:lnTo>
                    <a:pt x="438" y="338"/>
                  </a:lnTo>
                  <a:lnTo>
                    <a:pt x="460" y="334"/>
                  </a:lnTo>
                  <a:lnTo>
                    <a:pt x="483" y="332"/>
                  </a:lnTo>
                  <a:lnTo>
                    <a:pt x="509" y="331"/>
                  </a:lnTo>
                  <a:lnTo>
                    <a:pt x="526" y="332"/>
                  </a:lnTo>
                  <a:lnTo>
                    <a:pt x="543" y="334"/>
                  </a:lnTo>
                  <a:lnTo>
                    <a:pt x="558" y="339"/>
                  </a:lnTo>
                  <a:lnTo>
                    <a:pt x="573" y="345"/>
                  </a:lnTo>
                  <a:lnTo>
                    <a:pt x="587" y="352"/>
                  </a:lnTo>
                  <a:lnTo>
                    <a:pt x="599" y="361"/>
                  </a:lnTo>
                  <a:lnTo>
                    <a:pt x="611" y="371"/>
                  </a:lnTo>
                  <a:lnTo>
                    <a:pt x="621" y="382"/>
                  </a:lnTo>
                  <a:lnTo>
                    <a:pt x="630" y="394"/>
                  </a:lnTo>
                  <a:lnTo>
                    <a:pt x="638" y="407"/>
                  </a:lnTo>
                  <a:lnTo>
                    <a:pt x="645" y="421"/>
                  </a:lnTo>
                  <a:lnTo>
                    <a:pt x="651" y="436"/>
                  </a:lnTo>
                  <a:lnTo>
                    <a:pt x="655" y="451"/>
                  </a:lnTo>
                  <a:lnTo>
                    <a:pt x="659" y="467"/>
                  </a:lnTo>
                  <a:lnTo>
                    <a:pt x="661" y="483"/>
                  </a:lnTo>
                  <a:lnTo>
                    <a:pt x="661" y="501"/>
                  </a:lnTo>
                  <a:lnTo>
                    <a:pt x="661" y="516"/>
                  </a:lnTo>
                  <a:lnTo>
                    <a:pt x="660" y="531"/>
                  </a:lnTo>
                  <a:lnTo>
                    <a:pt x="658" y="546"/>
                  </a:lnTo>
                  <a:lnTo>
                    <a:pt x="656" y="561"/>
                  </a:lnTo>
                  <a:lnTo>
                    <a:pt x="651" y="591"/>
                  </a:lnTo>
                  <a:lnTo>
                    <a:pt x="645" y="621"/>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31" name="Freeform 18"/>
            <p:cNvSpPr>
              <a:spLocks noEditPoints="1"/>
            </p:cNvSpPr>
            <p:nvPr userDrawn="1">
              <p:custDataLst>
                <p:tags r:id="rId17"/>
              </p:custDataLst>
            </p:nvPr>
          </p:nvSpPr>
          <p:spPr bwMode="gray">
            <a:xfrm>
              <a:off x="1116013" y="3751263"/>
              <a:ext cx="158750" cy="246062"/>
            </a:xfrm>
            <a:custGeom>
              <a:avLst/>
              <a:gdLst/>
              <a:ahLst/>
              <a:cxnLst>
                <a:cxn ang="0">
                  <a:pos x="602" y="337"/>
                </a:cxn>
                <a:cxn ang="0">
                  <a:pos x="587" y="438"/>
                </a:cxn>
                <a:cxn ang="0">
                  <a:pos x="557" y="544"/>
                </a:cxn>
                <a:cxn ang="0">
                  <a:pos x="535" y="593"/>
                </a:cxn>
                <a:cxn ang="0">
                  <a:pos x="510" y="636"/>
                </a:cxn>
                <a:cxn ang="0">
                  <a:pos x="479" y="671"/>
                </a:cxn>
                <a:cxn ang="0">
                  <a:pos x="443" y="696"/>
                </a:cxn>
                <a:cxn ang="0">
                  <a:pos x="402" y="708"/>
                </a:cxn>
                <a:cxn ang="0">
                  <a:pos x="368" y="708"/>
                </a:cxn>
                <a:cxn ang="0">
                  <a:pos x="343" y="701"/>
                </a:cxn>
                <a:cxn ang="0">
                  <a:pos x="322" y="690"/>
                </a:cxn>
                <a:cxn ang="0">
                  <a:pos x="303" y="675"/>
                </a:cxn>
                <a:cxn ang="0">
                  <a:pos x="280" y="642"/>
                </a:cxn>
                <a:cxn ang="0">
                  <a:pos x="261" y="594"/>
                </a:cxn>
                <a:cxn ang="0">
                  <a:pos x="252" y="542"/>
                </a:cxn>
                <a:cxn ang="0">
                  <a:pos x="251" y="481"/>
                </a:cxn>
                <a:cxn ang="0">
                  <a:pos x="263" y="384"/>
                </a:cxn>
                <a:cxn ang="0">
                  <a:pos x="285" y="298"/>
                </a:cxn>
                <a:cxn ang="0">
                  <a:pos x="304" y="247"/>
                </a:cxn>
                <a:cxn ang="0">
                  <a:pos x="327" y="200"/>
                </a:cxn>
                <a:cxn ang="0">
                  <a:pos x="355" y="158"/>
                </a:cxn>
                <a:cxn ang="0">
                  <a:pos x="387" y="124"/>
                </a:cxn>
                <a:cxn ang="0">
                  <a:pos x="425" y="101"/>
                </a:cxn>
                <a:cxn ang="0">
                  <a:pos x="469" y="89"/>
                </a:cxn>
                <a:cxn ang="0">
                  <a:pos x="504" y="90"/>
                </a:cxn>
                <a:cxn ang="0">
                  <a:pos x="530" y="96"/>
                </a:cxn>
                <a:cxn ang="0">
                  <a:pos x="551" y="107"/>
                </a:cxn>
                <a:cxn ang="0">
                  <a:pos x="567" y="122"/>
                </a:cxn>
                <a:cxn ang="0">
                  <a:pos x="587" y="155"/>
                </a:cxn>
                <a:cxn ang="0">
                  <a:pos x="600" y="202"/>
                </a:cxn>
                <a:cxn ang="0">
                  <a:pos x="605" y="282"/>
                </a:cxn>
                <a:cxn ang="0">
                  <a:pos x="732" y="215"/>
                </a:cxn>
                <a:cxn ang="0">
                  <a:pos x="718" y="143"/>
                </a:cxn>
                <a:cxn ang="0">
                  <a:pos x="701" y="100"/>
                </a:cxn>
                <a:cxn ang="0">
                  <a:pos x="683" y="72"/>
                </a:cxn>
                <a:cxn ang="0">
                  <a:pos x="661" y="48"/>
                </a:cxn>
                <a:cxn ang="0">
                  <a:pos x="635" y="28"/>
                </a:cxn>
                <a:cxn ang="0">
                  <a:pos x="604" y="13"/>
                </a:cxn>
                <a:cxn ang="0">
                  <a:pos x="567" y="3"/>
                </a:cxn>
                <a:cxn ang="0">
                  <a:pos x="525" y="0"/>
                </a:cxn>
                <a:cxn ang="0">
                  <a:pos x="471" y="6"/>
                </a:cxn>
                <a:cxn ang="0">
                  <a:pos x="424" y="22"/>
                </a:cxn>
                <a:cxn ang="0">
                  <a:pos x="386" y="49"/>
                </a:cxn>
                <a:cxn ang="0">
                  <a:pos x="353" y="85"/>
                </a:cxn>
                <a:cxn ang="0">
                  <a:pos x="324" y="128"/>
                </a:cxn>
                <a:cxn ang="0">
                  <a:pos x="331" y="16"/>
                </a:cxn>
                <a:cxn ang="0">
                  <a:pos x="113" y="1137"/>
                </a:cxn>
                <a:cxn ang="0">
                  <a:pos x="215" y="684"/>
                </a:cxn>
                <a:cxn ang="0">
                  <a:pos x="237" y="725"/>
                </a:cxn>
                <a:cxn ang="0">
                  <a:pos x="267" y="759"/>
                </a:cxn>
                <a:cxn ang="0">
                  <a:pos x="304" y="785"/>
                </a:cxn>
                <a:cxn ang="0">
                  <a:pos x="347" y="801"/>
                </a:cxn>
                <a:cxn ang="0">
                  <a:pos x="395" y="806"/>
                </a:cxn>
                <a:cxn ang="0">
                  <a:pos x="462" y="798"/>
                </a:cxn>
                <a:cxn ang="0">
                  <a:pos x="520" y="773"/>
                </a:cxn>
                <a:cxn ang="0">
                  <a:pos x="570" y="736"/>
                </a:cxn>
                <a:cxn ang="0">
                  <a:pos x="612" y="686"/>
                </a:cxn>
                <a:cxn ang="0">
                  <a:pos x="648" y="629"/>
                </a:cxn>
                <a:cxn ang="0">
                  <a:pos x="677" y="566"/>
                </a:cxn>
                <a:cxn ang="0">
                  <a:pos x="699" y="500"/>
                </a:cxn>
                <a:cxn ang="0">
                  <a:pos x="717" y="432"/>
                </a:cxn>
                <a:cxn ang="0">
                  <a:pos x="728" y="366"/>
                </a:cxn>
                <a:cxn ang="0">
                  <a:pos x="735" y="266"/>
                </a:cxn>
              </a:cxnLst>
              <a:rect l="0" t="0" r="r" b="b"/>
              <a:pathLst>
                <a:path w="735" h="1137">
                  <a:moveTo>
                    <a:pt x="605" y="282"/>
                  </a:moveTo>
                  <a:lnTo>
                    <a:pt x="604" y="308"/>
                  </a:lnTo>
                  <a:lnTo>
                    <a:pt x="602" y="337"/>
                  </a:lnTo>
                  <a:lnTo>
                    <a:pt x="599" y="369"/>
                  </a:lnTo>
                  <a:lnTo>
                    <a:pt x="594" y="403"/>
                  </a:lnTo>
                  <a:lnTo>
                    <a:pt x="587" y="438"/>
                  </a:lnTo>
                  <a:lnTo>
                    <a:pt x="579" y="474"/>
                  </a:lnTo>
                  <a:lnTo>
                    <a:pt x="569" y="510"/>
                  </a:lnTo>
                  <a:lnTo>
                    <a:pt x="557" y="544"/>
                  </a:lnTo>
                  <a:lnTo>
                    <a:pt x="550" y="561"/>
                  </a:lnTo>
                  <a:lnTo>
                    <a:pt x="543" y="577"/>
                  </a:lnTo>
                  <a:lnTo>
                    <a:pt x="535" y="593"/>
                  </a:lnTo>
                  <a:lnTo>
                    <a:pt x="527" y="608"/>
                  </a:lnTo>
                  <a:lnTo>
                    <a:pt x="519" y="623"/>
                  </a:lnTo>
                  <a:lnTo>
                    <a:pt x="510" y="636"/>
                  </a:lnTo>
                  <a:lnTo>
                    <a:pt x="500" y="649"/>
                  </a:lnTo>
                  <a:lnTo>
                    <a:pt x="490" y="661"/>
                  </a:lnTo>
                  <a:lnTo>
                    <a:pt x="479" y="671"/>
                  </a:lnTo>
                  <a:lnTo>
                    <a:pt x="468" y="681"/>
                  </a:lnTo>
                  <a:lnTo>
                    <a:pt x="456" y="689"/>
                  </a:lnTo>
                  <a:lnTo>
                    <a:pt x="443" y="696"/>
                  </a:lnTo>
                  <a:lnTo>
                    <a:pt x="429" y="702"/>
                  </a:lnTo>
                  <a:lnTo>
                    <a:pt x="416" y="706"/>
                  </a:lnTo>
                  <a:lnTo>
                    <a:pt x="402" y="708"/>
                  </a:lnTo>
                  <a:lnTo>
                    <a:pt x="387" y="709"/>
                  </a:lnTo>
                  <a:lnTo>
                    <a:pt x="377" y="709"/>
                  </a:lnTo>
                  <a:lnTo>
                    <a:pt x="368" y="708"/>
                  </a:lnTo>
                  <a:lnTo>
                    <a:pt x="360" y="706"/>
                  </a:lnTo>
                  <a:lnTo>
                    <a:pt x="351" y="704"/>
                  </a:lnTo>
                  <a:lnTo>
                    <a:pt x="343" y="701"/>
                  </a:lnTo>
                  <a:lnTo>
                    <a:pt x="336" y="698"/>
                  </a:lnTo>
                  <a:lnTo>
                    <a:pt x="328" y="694"/>
                  </a:lnTo>
                  <a:lnTo>
                    <a:pt x="322" y="690"/>
                  </a:lnTo>
                  <a:lnTo>
                    <a:pt x="315" y="685"/>
                  </a:lnTo>
                  <a:lnTo>
                    <a:pt x="309" y="680"/>
                  </a:lnTo>
                  <a:lnTo>
                    <a:pt x="303" y="675"/>
                  </a:lnTo>
                  <a:lnTo>
                    <a:pt x="298" y="669"/>
                  </a:lnTo>
                  <a:lnTo>
                    <a:pt x="288" y="656"/>
                  </a:lnTo>
                  <a:lnTo>
                    <a:pt x="280" y="642"/>
                  </a:lnTo>
                  <a:lnTo>
                    <a:pt x="272" y="627"/>
                  </a:lnTo>
                  <a:lnTo>
                    <a:pt x="266" y="611"/>
                  </a:lnTo>
                  <a:lnTo>
                    <a:pt x="261" y="594"/>
                  </a:lnTo>
                  <a:lnTo>
                    <a:pt x="257" y="577"/>
                  </a:lnTo>
                  <a:lnTo>
                    <a:pt x="254" y="560"/>
                  </a:lnTo>
                  <a:lnTo>
                    <a:pt x="252" y="542"/>
                  </a:lnTo>
                  <a:lnTo>
                    <a:pt x="251" y="525"/>
                  </a:lnTo>
                  <a:lnTo>
                    <a:pt x="250" y="508"/>
                  </a:lnTo>
                  <a:lnTo>
                    <a:pt x="251" y="481"/>
                  </a:lnTo>
                  <a:lnTo>
                    <a:pt x="254" y="451"/>
                  </a:lnTo>
                  <a:lnTo>
                    <a:pt x="257" y="418"/>
                  </a:lnTo>
                  <a:lnTo>
                    <a:pt x="263" y="384"/>
                  </a:lnTo>
                  <a:lnTo>
                    <a:pt x="270" y="350"/>
                  </a:lnTo>
                  <a:lnTo>
                    <a:pt x="280" y="315"/>
                  </a:lnTo>
                  <a:lnTo>
                    <a:pt x="285" y="298"/>
                  </a:lnTo>
                  <a:lnTo>
                    <a:pt x="291" y="280"/>
                  </a:lnTo>
                  <a:lnTo>
                    <a:pt x="297" y="264"/>
                  </a:lnTo>
                  <a:lnTo>
                    <a:pt x="304" y="247"/>
                  </a:lnTo>
                  <a:lnTo>
                    <a:pt x="311" y="231"/>
                  </a:lnTo>
                  <a:lnTo>
                    <a:pt x="319" y="215"/>
                  </a:lnTo>
                  <a:lnTo>
                    <a:pt x="327" y="200"/>
                  </a:lnTo>
                  <a:lnTo>
                    <a:pt x="336" y="185"/>
                  </a:lnTo>
                  <a:lnTo>
                    <a:pt x="345" y="172"/>
                  </a:lnTo>
                  <a:lnTo>
                    <a:pt x="355" y="158"/>
                  </a:lnTo>
                  <a:lnTo>
                    <a:pt x="365" y="146"/>
                  </a:lnTo>
                  <a:lnTo>
                    <a:pt x="376" y="134"/>
                  </a:lnTo>
                  <a:lnTo>
                    <a:pt x="387" y="124"/>
                  </a:lnTo>
                  <a:lnTo>
                    <a:pt x="399" y="115"/>
                  </a:lnTo>
                  <a:lnTo>
                    <a:pt x="412" y="107"/>
                  </a:lnTo>
                  <a:lnTo>
                    <a:pt x="425" y="101"/>
                  </a:lnTo>
                  <a:lnTo>
                    <a:pt x="440" y="95"/>
                  </a:lnTo>
                  <a:lnTo>
                    <a:pt x="454" y="91"/>
                  </a:lnTo>
                  <a:lnTo>
                    <a:pt x="469" y="89"/>
                  </a:lnTo>
                  <a:lnTo>
                    <a:pt x="485" y="88"/>
                  </a:lnTo>
                  <a:lnTo>
                    <a:pt x="495" y="89"/>
                  </a:lnTo>
                  <a:lnTo>
                    <a:pt x="504" y="90"/>
                  </a:lnTo>
                  <a:lnTo>
                    <a:pt x="513" y="91"/>
                  </a:lnTo>
                  <a:lnTo>
                    <a:pt x="522" y="93"/>
                  </a:lnTo>
                  <a:lnTo>
                    <a:pt x="530" y="96"/>
                  </a:lnTo>
                  <a:lnTo>
                    <a:pt x="537" y="99"/>
                  </a:lnTo>
                  <a:lnTo>
                    <a:pt x="544" y="103"/>
                  </a:lnTo>
                  <a:lnTo>
                    <a:pt x="551" y="107"/>
                  </a:lnTo>
                  <a:lnTo>
                    <a:pt x="557" y="112"/>
                  </a:lnTo>
                  <a:lnTo>
                    <a:pt x="562" y="117"/>
                  </a:lnTo>
                  <a:lnTo>
                    <a:pt x="567" y="122"/>
                  </a:lnTo>
                  <a:lnTo>
                    <a:pt x="572" y="128"/>
                  </a:lnTo>
                  <a:lnTo>
                    <a:pt x="580" y="141"/>
                  </a:lnTo>
                  <a:lnTo>
                    <a:pt x="587" y="155"/>
                  </a:lnTo>
                  <a:lnTo>
                    <a:pt x="592" y="170"/>
                  </a:lnTo>
                  <a:lnTo>
                    <a:pt x="597" y="186"/>
                  </a:lnTo>
                  <a:lnTo>
                    <a:pt x="600" y="202"/>
                  </a:lnTo>
                  <a:lnTo>
                    <a:pt x="602" y="218"/>
                  </a:lnTo>
                  <a:lnTo>
                    <a:pt x="604" y="251"/>
                  </a:lnTo>
                  <a:lnTo>
                    <a:pt x="605" y="282"/>
                  </a:lnTo>
                  <a:close/>
                  <a:moveTo>
                    <a:pt x="735" y="266"/>
                  </a:moveTo>
                  <a:lnTo>
                    <a:pt x="734" y="241"/>
                  </a:lnTo>
                  <a:lnTo>
                    <a:pt x="732" y="215"/>
                  </a:lnTo>
                  <a:lnTo>
                    <a:pt x="729" y="191"/>
                  </a:lnTo>
                  <a:lnTo>
                    <a:pt x="725" y="167"/>
                  </a:lnTo>
                  <a:lnTo>
                    <a:pt x="718" y="143"/>
                  </a:lnTo>
                  <a:lnTo>
                    <a:pt x="710" y="121"/>
                  </a:lnTo>
                  <a:lnTo>
                    <a:pt x="705" y="111"/>
                  </a:lnTo>
                  <a:lnTo>
                    <a:pt x="701" y="100"/>
                  </a:lnTo>
                  <a:lnTo>
                    <a:pt x="695" y="91"/>
                  </a:lnTo>
                  <a:lnTo>
                    <a:pt x="689" y="81"/>
                  </a:lnTo>
                  <a:lnTo>
                    <a:pt x="683" y="72"/>
                  </a:lnTo>
                  <a:lnTo>
                    <a:pt x="676" y="64"/>
                  </a:lnTo>
                  <a:lnTo>
                    <a:pt x="669" y="55"/>
                  </a:lnTo>
                  <a:lnTo>
                    <a:pt x="661" y="48"/>
                  </a:lnTo>
                  <a:lnTo>
                    <a:pt x="653" y="41"/>
                  </a:lnTo>
                  <a:lnTo>
                    <a:pt x="644" y="34"/>
                  </a:lnTo>
                  <a:lnTo>
                    <a:pt x="635" y="28"/>
                  </a:lnTo>
                  <a:lnTo>
                    <a:pt x="625" y="22"/>
                  </a:lnTo>
                  <a:lnTo>
                    <a:pt x="615" y="17"/>
                  </a:lnTo>
                  <a:lnTo>
                    <a:pt x="604" y="13"/>
                  </a:lnTo>
                  <a:lnTo>
                    <a:pt x="592" y="9"/>
                  </a:lnTo>
                  <a:lnTo>
                    <a:pt x="580" y="6"/>
                  </a:lnTo>
                  <a:lnTo>
                    <a:pt x="567" y="3"/>
                  </a:lnTo>
                  <a:lnTo>
                    <a:pt x="553" y="1"/>
                  </a:lnTo>
                  <a:lnTo>
                    <a:pt x="539" y="0"/>
                  </a:lnTo>
                  <a:lnTo>
                    <a:pt x="525" y="0"/>
                  </a:lnTo>
                  <a:lnTo>
                    <a:pt x="506" y="1"/>
                  </a:lnTo>
                  <a:lnTo>
                    <a:pt x="488" y="2"/>
                  </a:lnTo>
                  <a:lnTo>
                    <a:pt x="471" y="6"/>
                  </a:lnTo>
                  <a:lnTo>
                    <a:pt x="455" y="10"/>
                  </a:lnTo>
                  <a:lnTo>
                    <a:pt x="440" y="16"/>
                  </a:lnTo>
                  <a:lnTo>
                    <a:pt x="424" y="22"/>
                  </a:lnTo>
                  <a:lnTo>
                    <a:pt x="411" y="30"/>
                  </a:lnTo>
                  <a:lnTo>
                    <a:pt x="398" y="39"/>
                  </a:lnTo>
                  <a:lnTo>
                    <a:pt x="386" y="49"/>
                  </a:lnTo>
                  <a:lnTo>
                    <a:pt x="374" y="60"/>
                  </a:lnTo>
                  <a:lnTo>
                    <a:pt x="363" y="72"/>
                  </a:lnTo>
                  <a:lnTo>
                    <a:pt x="353" y="85"/>
                  </a:lnTo>
                  <a:lnTo>
                    <a:pt x="343" y="98"/>
                  </a:lnTo>
                  <a:lnTo>
                    <a:pt x="333" y="113"/>
                  </a:lnTo>
                  <a:lnTo>
                    <a:pt x="324" y="128"/>
                  </a:lnTo>
                  <a:lnTo>
                    <a:pt x="315" y="144"/>
                  </a:lnTo>
                  <a:lnTo>
                    <a:pt x="307" y="144"/>
                  </a:lnTo>
                  <a:lnTo>
                    <a:pt x="331" y="16"/>
                  </a:lnTo>
                  <a:lnTo>
                    <a:pt x="218" y="16"/>
                  </a:lnTo>
                  <a:lnTo>
                    <a:pt x="0" y="1137"/>
                  </a:lnTo>
                  <a:lnTo>
                    <a:pt x="113" y="1137"/>
                  </a:lnTo>
                  <a:lnTo>
                    <a:pt x="202" y="669"/>
                  </a:lnTo>
                  <a:lnTo>
                    <a:pt x="210" y="669"/>
                  </a:lnTo>
                  <a:lnTo>
                    <a:pt x="215" y="684"/>
                  </a:lnTo>
                  <a:lnTo>
                    <a:pt x="221" y="698"/>
                  </a:lnTo>
                  <a:lnTo>
                    <a:pt x="229" y="711"/>
                  </a:lnTo>
                  <a:lnTo>
                    <a:pt x="237" y="725"/>
                  </a:lnTo>
                  <a:lnTo>
                    <a:pt x="246" y="737"/>
                  </a:lnTo>
                  <a:lnTo>
                    <a:pt x="256" y="748"/>
                  </a:lnTo>
                  <a:lnTo>
                    <a:pt x="267" y="759"/>
                  </a:lnTo>
                  <a:lnTo>
                    <a:pt x="279" y="768"/>
                  </a:lnTo>
                  <a:lnTo>
                    <a:pt x="291" y="777"/>
                  </a:lnTo>
                  <a:lnTo>
                    <a:pt x="304" y="785"/>
                  </a:lnTo>
                  <a:lnTo>
                    <a:pt x="318" y="791"/>
                  </a:lnTo>
                  <a:lnTo>
                    <a:pt x="332" y="796"/>
                  </a:lnTo>
                  <a:lnTo>
                    <a:pt x="347" y="801"/>
                  </a:lnTo>
                  <a:lnTo>
                    <a:pt x="363" y="804"/>
                  </a:lnTo>
                  <a:lnTo>
                    <a:pt x="379" y="806"/>
                  </a:lnTo>
                  <a:lnTo>
                    <a:pt x="395" y="806"/>
                  </a:lnTo>
                  <a:lnTo>
                    <a:pt x="418" y="806"/>
                  </a:lnTo>
                  <a:lnTo>
                    <a:pt x="441" y="803"/>
                  </a:lnTo>
                  <a:lnTo>
                    <a:pt x="462" y="798"/>
                  </a:lnTo>
                  <a:lnTo>
                    <a:pt x="482" y="791"/>
                  </a:lnTo>
                  <a:lnTo>
                    <a:pt x="501" y="783"/>
                  </a:lnTo>
                  <a:lnTo>
                    <a:pt x="520" y="773"/>
                  </a:lnTo>
                  <a:lnTo>
                    <a:pt x="537" y="762"/>
                  </a:lnTo>
                  <a:lnTo>
                    <a:pt x="554" y="750"/>
                  </a:lnTo>
                  <a:lnTo>
                    <a:pt x="570" y="736"/>
                  </a:lnTo>
                  <a:lnTo>
                    <a:pt x="585" y="721"/>
                  </a:lnTo>
                  <a:lnTo>
                    <a:pt x="599" y="703"/>
                  </a:lnTo>
                  <a:lnTo>
                    <a:pt x="612" y="686"/>
                  </a:lnTo>
                  <a:lnTo>
                    <a:pt x="625" y="668"/>
                  </a:lnTo>
                  <a:lnTo>
                    <a:pt x="637" y="649"/>
                  </a:lnTo>
                  <a:lnTo>
                    <a:pt x="648" y="629"/>
                  </a:lnTo>
                  <a:lnTo>
                    <a:pt x="658" y="609"/>
                  </a:lnTo>
                  <a:lnTo>
                    <a:pt x="668" y="588"/>
                  </a:lnTo>
                  <a:lnTo>
                    <a:pt x="677" y="566"/>
                  </a:lnTo>
                  <a:lnTo>
                    <a:pt x="685" y="544"/>
                  </a:lnTo>
                  <a:lnTo>
                    <a:pt x="692" y="522"/>
                  </a:lnTo>
                  <a:lnTo>
                    <a:pt x="699" y="500"/>
                  </a:lnTo>
                  <a:lnTo>
                    <a:pt x="705" y="477"/>
                  </a:lnTo>
                  <a:lnTo>
                    <a:pt x="712" y="455"/>
                  </a:lnTo>
                  <a:lnTo>
                    <a:pt x="717" y="432"/>
                  </a:lnTo>
                  <a:lnTo>
                    <a:pt x="721" y="409"/>
                  </a:lnTo>
                  <a:lnTo>
                    <a:pt x="725" y="387"/>
                  </a:lnTo>
                  <a:lnTo>
                    <a:pt x="728" y="366"/>
                  </a:lnTo>
                  <a:lnTo>
                    <a:pt x="730" y="345"/>
                  </a:lnTo>
                  <a:lnTo>
                    <a:pt x="734" y="304"/>
                  </a:lnTo>
                  <a:lnTo>
                    <a:pt x="735" y="266"/>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32" name="Freeform 19"/>
            <p:cNvSpPr>
              <a:spLocks noEditPoints="1"/>
            </p:cNvSpPr>
            <p:nvPr userDrawn="1">
              <p:custDataLst>
                <p:tags r:id="rId18"/>
              </p:custDataLst>
            </p:nvPr>
          </p:nvSpPr>
          <p:spPr bwMode="gray">
            <a:xfrm>
              <a:off x="1287463" y="3751263"/>
              <a:ext cx="133350" cy="173037"/>
            </a:xfrm>
            <a:custGeom>
              <a:avLst/>
              <a:gdLst/>
              <a:ahLst/>
              <a:cxnLst>
                <a:cxn ang="0">
                  <a:pos x="492" y="229"/>
                </a:cxn>
                <a:cxn ang="0">
                  <a:pos x="169" y="242"/>
                </a:cxn>
                <a:cxn ang="0">
                  <a:pos x="190" y="195"/>
                </a:cxn>
                <a:cxn ang="0">
                  <a:pos x="217" y="154"/>
                </a:cxn>
                <a:cxn ang="0">
                  <a:pos x="251" y="122"/>
                </a:cxn>
                <a:cxn ang="0">
                  <a:pos x="293" y="100"/>
                </a:cxn>
                <a:cxn ang="0">
                  <a:pos x="343" y="89"/>
                </a:cxn>
                <a:cxn ang="0">
                  <a:pos x="389" y="90"/>
                </a:cxn>
                <a:cxn ang="0">
                  <a:pos x="424" y="102"/>
                </a:cxn>
                <a:cxn ang="0">
                  <a:pos x="454" y="121"/>
                </a:cxn>
                <a:cxn ang="0">
                  <a:pos x="477" y="149"/>
                </a:cxn>
                <a:cxn ang="0">
                  <a:pos x="490" y="184"/>
                </a:cxn>
                <a:cxn ang="0">
                  <a:pos x="605" y="218"/>
                </a:cxn>
                <a:cxn ang="0">
                  <a:pos x="602" y="181"/>
                </a:cxn>
                <a:cxn ang="0">
                  <a:pos x="594" y="146"/>
                </a:cxn>
                <a:cxn ang="0">
                  <a:pos x="582" y="116"/>
                </a:cxn>
                <a:cxn ang="0">
                  <a:pos x="565" y="88"/>
                </a:cxn>
                <a:cxn ang="0">
                  <a:pos x="544" y="64"/>
                </a:cxn>
                <a:cxn ang="0">
                  <a:pos x="520" y="44"/>
                </a:cxn>
                <a:cxn ang="0">
                  <a:pos x="483" y="23"/>
                </a:cxn>
                <a:cxn ang="0">
                  <a:pos x="417" y="4"/>
                </a:cxn>
                <a:cxn ang="0">
                  <a:pos x="346" y="1"/>
                </a:cxn>
                <a:cxn ang="0">
                  <a:pos x="279" y="11"/>
                </a:cxn>
                <a:cxn ang="0">
                  <a:pos x="219" y="34"/>
                </a:cxn>
                <a:cxn ang="0">
                  <a:pos x="166" y="66"/>
                </a:cxn>
                <a:cxn ang="0">
                  <a:pos x="122" y="108"/>
                </a:cxn>
                <a:cxn ang="0">
                  <a:pos x="85" y="157"/>
                </a:cxn>
                <a:cxn ang="0">
                  <a:pos x="55" y="212"/>
                </a:cxn>
                <a:cxn ang="0">
                  <a:pos x="32" y="272"/>
                </a:cxn>
                <a:cxn ang="0">
                  <a:pos x="15" y="334"/>
                </a:cxn>
                <a:cxn ang="0">
                  <a:pos x="5" y="398"/>
                </a:cxn>
                <a:cxn ang="0">
                  <a:pos x="0" y="463"/>
                </a:cxn>
                <a:cxn ang="0">
                  <a:pos x="1" y="523"/>
                </a:cxn>
                <a:cxn ang="0">
                  <a:pos x="8" y="578"/>
                </a:cxn>
                <a:cxn ang="0">
                  <a:pos x="21" y="626"/>
                </a:cxn>
                <a:cxn ang="0">
                  <a:pos x="39" y="668"/>
                </a:cxn>
                <a:cxn ang="0">
                  <a:pos x="63" y="705"/>
                </a:cxn>
                <a:cxn ang="0">
                  <a:pos x="93" y="737"/>
                </a:cxn>
                <a:cxn ang="0">
                  <a:pos x="128" y="762"/>
                </a:cxn>
                <a:cxn ang="0">
                  <a:pos x="168" y="782"/>
                </a:cxn>
                <a:cxn ang="0">
                  <a:pos x="215" y="795"/>
                </a:cxn>
                <a:cxn ang="0">
                  <a:pos x="266" y="804"/>
                </a:cxn>
                <a:cxn ang="0">
                  <a:pos x="322" y="806"/>
                </a:cxn>
                <a:cxn ang="0">
                  <a:pos x="386" y="803"/>
                </a:cxn>
                <a:cxn ang="0">
                  <a:pos x="449" y="793"/>
                </a:cxn>
                <a:cxn ang="0">
                  <a:pos x="508" y="693"/>
                </a:cxn>
                <a:cxn ang="0">
                  <a:pos x="430" y="706"/>
                </a:cxn>
                <a:cxn ang="0">
                  <a:pos x="379" y="709"/>
                </a:cxn>
                <a:cxn ang="0">
                  <a:pos x="333" y="707"/>
                </a:cxn>
                <a:cxn ang="0">
                  <a:pos x="293" y="701"/>
                </a:cxn>
                <a:cxn ang="0">
                  <a:pos x="257" y="690"/>
                </a:cxn>
                <a:cxn ang="0">
                  <a:pos x="226" y="674"/>
                </a:cxn>
                <a:cxn ang="0">
                  <a:pos x="199" y="654"/>
                </a:cxn>
                <a:cxn ang="0">
                  <a:pos x="175" y="630"/>
                </a:cxn>
                <a:cxn ang="0">
                  <a:pos x="157" y="601"/>
                </a:cxn>
                <a:cxn ang="0">
                  <a:pos x="144" y="567"/>
                </a:cxn>
                <a:cxn ang="0">
                  <a:pos x="134" y="528"/>
                </a:cxn>
                <a:cxn ang="0">
                  <a:pos x="129" y="484"/>
                </a:cxn>
                <a:cxn ang="0">
                  <a:pos x="129" y="436"/>
                </a:cxn>
                <a:cxn ang="0">
                  <a:pos x="133" y="391"/>
                </a:cxn>
                <a:cxn ang="0">
                  <a:pos x="589" y="330"/>
                </a:cxn>
                <a:cxn ang="0">
                  <a:pos x="602" y="263"/>
                </a:cxn>
                <a:cxn ang="0">
                  <a:pos x="605" y="218"/>
                </a:cxn>
              </a:cxnLst>
              <a:rect l="0" t="0" r="r" b="b"/>
              <a:pathLst>
                <a:path w="605" h="806">
                  <a:moveTo>
                    <a:pt x="492" y="210"/>
                  </a:moveTo>
                  <a:lnTo>
                    <a:pt x="492" y="221"/>
                  </a:lnTo>
                  <a:lnTo>
                    <a:pt x="492" y="229"/>
                  </a:lnTo>
                  <a:lnTo>
                    <a:pt x="492" y="236"/>
                  </a:lnTo>
                  <a:lnTo>
                    <a:pt x="492" y="242"/>
                  </a:lnTo>
                  <a:lnTo>
                    <a:pt x="169" y="242"/>
                  </a:lnTo>
                  <a:lnTo>
                    <a:pt x="175" y="226"/>
                  </a:lnTo>
                  <a:lnTo>
                    <a:pt x="182" y="210"/>
                  </a:lnTo>
                  <a:lnTo>
                    <a:pt x="190" y="195"/>
                  </a:lnTo>
                  <a:lnTo>
                    <a:pt x="199" y="181"/>
                  </a:lnTo>
                  <a:lnTo>
                    <a:pt x="208" y="167"/>
                  </a:lnTo>
                  <a:lnTo>
                    <a:pt x="217" y="154"/>
                  </a:lnTo>
                  <a:lnTo>
                    <a:pt x="228" y="142"/>
                  </a:lnTo>
                  <a:lnTo>
                    <a:pt x="239" y="131"/>
                  </a:lnTo>
                  <a:lnTo>
                    <a:pt x="251" y="122"/>
                  </a:lnTo>
                  <a:lnTo>
                    <a:pt x="264" y="113"/>
                  </a:lnTo>
                  <a:lnTo>
                    <a:pt x="278" y="106"/>
                  </a:lnTo>
                  <a:lnTo>
                    <a:pt x="293" y="100"/>
                  </a:lnTo>
                  <a:lnTo>
                    <a:pt x="309" y="95"/>
                  </a:lnTo>
                  <a:lnTo>
                    <a:pt x="326" y="91"/>
                  </a:lnTo>
                  <a:lnTo>
                    <a:pt x="343" y="89"/>
                  </a:lnTo>
                  <a:lnTo>
                    <a:pt x="363" y="88"/>
                  </a:lnTo>
                  <a:lnTo>
                    <a:pt x="376" y="89"/>
                  </a:lnTo>
                  <a:lnTo>
                    <a:pt x="389" y="90"/>
                  </a:lnTo>
                  <a:lnTo>
                    <a:pt x="401" y="93"/>
                  </a:lnTo>
                  <a:lnTo>
                    <a:pt x="413" y="97"/>
                  </a:lnTo>
                  <a:lnTo>
                    <a:pt x="424" y="102"/>
                  </a:lnTo>
                  <a:lnTo>
                    <a:pt x="435" y="107"/>
                  </a:lnTo>
                  <a:lnTo>
                    <a:pt x="445" y="114"/>
                  </a:lnTo>
                  <a:lnTo>
                    <a:pt x="454" y="121"/>
                  </a:lnTo>
                  <a:lnTo>
                    <a:pt x="462" y="130"/>
                  </a:lnTo>
                  <a:lnTo>
                    <a:pt x="470" y="139"/>
                  </a:lnTo>
                  <a:lnTo>
                    <a:pt x="477" y="149"/>
                  </a:lnTo>
                  <a:lnTo>
                    <a:pt x="482" y="159"/>
                  </a:lnTo>
                  <a:lnTo>
                    <a:pt x="486" y="172"/>
                  </a:lnTo>
                  <a:lnTo>
                    <a:pt x="490" y="184"/>
                  </a:lnTo>
                  <a:lnTo>
                    <a:pt x="491" y="197"/>
                  </a:lnTo>
                  <a:lnTo>
                    <a:pt x="492" y="210"/>
                  </a:lnTo>
                  <a:close/>
                  <a:moveTo>
                    <a:pt x="605" y="218"/>
                  </a:moveTo>
                  <a:lnTo>
                    <a:pt x="604" y="205"/>
                  </a:lnTo>
                  <a:lnTo>
                    <a:pt x="603" y="193"/>
                  </a:lnTo>
                  <a:lnTo>
                    <a:pt x="602" y="181"/>
                  </a:lnTo>
                  <a:lnTo>
                    <a:pt x="600" y="169"/>
                  </a:lnTo>
                  <a:lnTo>
                    <a:pt x="597" y="157"/>
                  </a:lnTo>
                  <a:lnTo>
                    <a:pt x="594" y="146"/>
                  </a:lnTo>
                  <a:lnTo>
                    <a:pt x="590" y="136"/>
                  </a:lnTo>
                  <a:lnTo>
                    <a:pt x="586" y="125"/>
                  </a:lnTo>
                  <a:lnTo>
                    <a:pt x="582" y="116"/>
                  </a:lnTo>
                  <a:lnTo>
                    <a:pt x="576" y="106"/>
                  </a:lnTo>
                  <a:lnTo>
                    <a:pt x="571" y="97"/>
                  </a:lnTo>
                  <a:lnTo>
                    <a:pt x="565" y="88"/>
                  </a:lnTo>
                  <a:lnTo>
                    <a:pt x="558" y="80"/>
                  </a:lnTo>
                  <a:lnTo>
                    <a:pt x="551" y="72"/>
                  </a:lnTo>
                  <a:lnTo>
                    <a:pt x="544" y="64"/>
                  </a:lnTo>
                  <a:lnTo>
                    <a:pt x="536" y="57"/>
                  </a:lnTo>
                  <a:lnTo>
                    <a:pt x="528" y="50"/>
                  </a:lnTo>
                  <a:lnTo>
                    <a:pt x="520" y="44"/>
                  </a:lnTo>
                  <a:lnTo>
                    <a:pt x="511" y="38"/>
                  </a:lnTo>
                  <a:lnTo>
                    <a:pt x="502" y="33"/>
                  </a:lnTo>
                  <a:lnTo>
                    <a:pt x="483" y="23"/>
                  </a:lnTo>
                  <a:lnTo>
                    <a:pt x="461" y="15"/>
                  </a:lnTo>
                  <a:lnTo>
                    <a:pt x="440" y="8"/>
                  </a:lnTo>
                  <a:lnTo>
                    <a:pt x="417" y="4"/>
                  </a:lnTo>
                  <a:lnTo>
                    <a:pt x="394" y="1"/>
                  </a:lnTo>
                  <a:lnTo>
                    <a:pt x="371" y="0"/>
                  </a:lnTo>
                  <a:lnTo>
                    <a:pt x="346" y="1"/>
                  </a:lnTo>
                  <a:lnTo>
                    <a:pt x="323" y="3"/>
                  </a:lnTo>
                  <a:lnTo>
                    <a:pt x="300" y="6"/>
                  </a:lnTo>
                  <a:lnTo>
                    <a:pt x="279" y="11"/>
                  </a:lnTo>
                  <a:lnTo>
                    <a:pt x="258" y="18"/>
                  </a:lnTo>
                  <a:lnTo>
                    <a:pt x="238" y="25"/>
                  </a:lnTo>
                  <a:lnTo>
                    <a:pt x="219" y="34"/>
                  </a:lnTo>
                  <a:lnTo>
                    <a:pt x="201" y="44"/>
                  </a:lnTo>
                  <a:lnTo>
                    <a:pt x="183" y="55"/>
                  </a:lnTo>
                  <a:lnTo>
                    <a:pt x="166" y="66"/>
                  </a:lnTo>
                  <a:lnTo>
                    <a:pt x="151" y="79"/>
                  </a:lnTo>
                  <a:lnTo>
                    <a:pt x="136" y="93"/>
                  </a:lnTo>
                  <a:lnTo>
                    <a:pt x="122" y="108"/>
                  </a:lnTo>
                  <a:lnTo>
                    <a:pt x="109" y="123"/>
                  </a:lnTo>
                  <a:lnTo>
                    <a:pt x="97" y="140"/>
                  </a:lnTo>
                  <a:lnTo>
                    <a:pt x="85" y="157"/>
                  </a:lnTo>
                  <a:lnTo>
                    <a:pt x="75" y="175"/>
                  </a:lnTo>
                  <a:lnTo>
                    <a:pt x="65" y="193"/>
                  </a:lnTo>
                  <a:lnTo>
                    <a:pt x="55" y="212"/>
                  </a:lnTo>
                  <a:lnTo>
                    <a:pt x="47" y="232"/>
                  </a:lnTo>
                  <a:lnTo>
                    <a:pt x="39" y="251"/>
                  </a:lnTo>
                  <a:lnTo>
                    <a:pt x="32" y="272"/>
                  </a:lnTo>
                  <a:lnTo>
                    <a:pt x="26" y="292"/>
                  </a:lnTo>
                  <a:lnTo>
                    <a:pt x="20" y="313"/>
                  </a:lnTo>
                  <a:lnTo>
                    <a:pt x="15" y="334"/>
                  </a:lnTo>
                  <a:lnTo>
                    <a:pt x="11" y="355"/>
                  </a:lnTo>
                  <a:lnTo>
                    <a:pt x="8" y="376"/>
                  </a:lnTo>
                  <a:lnTo>
                    <a:pt x="5" y="398"/>
                  </a:lnTo>
                  <a:lnTo>
                    <a:pt x="3" y="419"/>
                  </a:lnTo>
                  <a:lnTo>
                    <a:pt x="1" y="442"/>
                  </a:lnTo>
                  <a:lnTo>
                    <a:pt x="0" y="463"/>
                  </a:lnTo>
                  <a:lnTo>
                    <a:pt x="0" y="484"/>
                  </a:lnTo>
                  <a:lnTo>
                    <a:pt x="0" y="504"/>
                  </a:lnTo>
                  <a:lnTo>
                    <a:pt x="1" y="523"/>
                  </a:lnTo>
                  <a:lnTo>
                    <a:pt x="3" y="542"/>
                  </a:lnTo>
                  <a:lnTo>
                    <a:pt x="5" y="560"/>
                  </a:lnTo>
                  <a:lnTo>
                    <a:pt x="8" y="578"/>
                  </a:lnTo>
                  <a:lnTo>
                    <a:pt x="12" y="594"/>
                  </a:lnTo>
                  <a:lnTo>
                    <a:pt x="16" y="610"/>
                  </a:lnTo>
                  <a:lnTo>
                    <a:pt x="21" y="626"/>
                  </a:lnTo>
                  <a:lnTo>
                    <a:pt x="26" y="641"/>
                  </a:lnTo>
                  <a:lnTo>
                    <a:pt x="32" y="655"/>
                  </a:lnTo>
                  <a:lnTo>
                    <a:pt x="39" y="668"/>
                  </a:lnTo>
                  <a:lnTo>
                    <a:pt x="46" y="681"/>
                  </a:lnTo>
                  <a:lnTo>
                    <a:pt x="54" y="693"/>
                  </a:lnTo>
                  <a:lnTo>
                    <a:pt x="63" y="705"/>
                  </a:lnTo>
                  <a:lnTo>
                    <a:pt x="72" y="716"/>
                  </a:lnTo>
                  <a:lnTo>
                    <a:pt x="82" y="727"/>
                  </a:lnTo>
                  <a:lnTo>
                    <a:pt x="93" y="737"/>
                  </a:lnTo>
                  <a:lnTo>
                    <a:pt x="104" y="746"/>
                  </a:lnTo>
                  <a:lnTo>
                    <a:pt x="115" y="754"/>
                  </a:lnTo>
                  <a:lnTo>
                    <a:pt x="128" y="762"/>
                  </a:lnTo>
                  <a:lnTo>
                    <a:pt x="141" y="769"/>
                  </a:lnTo>
                  <a:lnTo>
                    <a:pt x="154" y="776"/>
                  </a:lnTo>
                  <a:lnTo>
                    <a:pt x="168" y="782"/>
                  </a:lnTo>
                  <a:lnTo>
                    <a:pt x="183" y="787"/>
                  </a:lnTo>
                  <a:lnTo>
                    <a:pt x="199" y="791"/>
                  </a:lnTo>
                  <a:lnTo>
                    <a:pt x="215" y="795"/>
                  </a:lnTo>
                  <a:lnTo>
                    <a:pt x="231" y="799"/>
                  </a:lnTo>
                  <a:lnTo>
                    <a:pt x="249" y="802"/>
                  </a:lnTo>
                  <a:lnTo>
                    <a:pt x="266" y="804"/>
                  </a:lnTo>
                  <a:lnTo>
                    <a:pt x="284" y="805"/>
                  </a:lnTo>
                  <a:lnTo>
                    <a:pt x="303" y="806"/>
                  </a:lnTo>
                  <a:lnTo>
                    <a:pt x="322" y="806"/>
                  </a:lnTo>
                  <a:lnTo>
                    <a:pt x="343" y="806"/>
                  </a:lnTo>
                  <a:lnTo>
                    <a:pt x="365" y="805"/>
                  </a:lnTo>
                  <a:lnTo>
                    <a:pt x="386" y="803"/>
                  </a:lnTo>
                  <a:lnTo>
                    <a:pt x="407" y="800"/>
                  </a:lnTo>
                  <a:lnTo>
                    <a:pt x="428" y="797"/>
                  </a:lnTo>
                  <a:lnTo>
                    <a:pt x="449" y="793"/>
                  </a:lnTo>
                  <a:lnTo>
                    <a:pt x="471" y="788"/>
                  </a:lnTo>
                  <a:lnTo>
                    <a:pt x="492" y="782"/>
                  </a:lnTo>
                  <a:lnTo>
                    <a:pt x="508" y="693"/>
                  </a:lnTo>
                  <a:lnTo>
                    <a:pt x="478" y="699"/>
                  </a:lnTo>
                  <a:lnTo>
                    <a:pt x="446" y="704"/>
                  </a:lnTo>
                  <a:lnTo>
                    <a:pt x="430" y="706"/>
                  </a:lnTo>
                  <a:lnTo>
                    <a:pt x="413" y="708"/>
                  </a:lnTo>
                  <a:lnTo>
                    <a:pt x="396" y="709"/>
                  </a:lnTo>
                  <a:lnTo>
                    <a:pt x="379" y="709"/>
                  </a:lnTo>
                  <a:lnTo>
                    <a:pt x="363" y="709"/>
                  </a:lnTo>
                  <a:lnTo>
                    <a:pt x="348" y="708"/>
                  </a:lnTo>
                  <a:lnTo>
                    <a:pt x="333" y="707"/>
                  </a:lnTo>
                  <a:lnTo>
                    <a:pt x="319" y="705"/>
                  </a:lnTo>
                  <a:lnTo>
                    <a:pt x="306" y="703"/>
                  </a:lnTo>
                  <a:lnTo>
                    <a:pt x="293" y="701"/>
                  </a:lnTo>
                  <a:lnTo>
                    <a:pt x="280" y="697"/>
                  </a:lnTo>
                  <a:lnTo>
                    <a:pt x="268" y="694"/>
                  </a:lnTo>
                  <a:lnTo>
                    <a:pt x="257" y="690"/>
                  </a:lnTo>
                  <a:lnTo>
                    <a:pt x="246" y="685"/>
                  </a:lnTo>
                  <a:lnTo>
                    <a:pt x="235" y="680"/>
                  </a:lnTo>
                  <a:lnTo>
                    <a:pt x="226" y="674"/>
                  </a:lnTo>
                  <a:lnTo>
                    <a:pt x="216" y="668"/>
                  </a:lnTo>
                  <a:lnTo>
                    <a:pt x="207" y="662"/>
                  </a:lnTo>
                  <a:lnTo>
                    <a:pt x="199" y="654"/>
                  </a:lnTo>
                  <a:lnTo>
                    <a:pt x="191" y="647"/>
                  </a:lnTo>
                  <a:lnTo>
                    <a:pt x="182" y="639"/>
                  </a:lnTo>
                  <a:lnTo>
                    <a:pt x="175" y="630"/>
                  </a:lnTo>
                  <a:lnTo>
                    <a:pt x="169" y="621"/>
                  </a:lnTo>
                  <a:lnTo>
                    <a:pt x="163" y="611"/>
                  </a:lnTo>
                  <a:lnTo>
                    <a:pt x="157" y="601"/>
                  </a:lnTo>
                  <a:lnTo>
                    <a:pt x="152" y="590"/>
                  </a:lnTo>
                  <a:lnTo>
                    <a:pt x="148" y="579"/>
                  </a:lnTo>
                  <a:lnTo>
                    <a:pt x="144" y="567"/>
                  </a:lnTo>
                  <a:lnTo>
                    <a:pt x="140" y="554"/>
                  </a:lnTo>
                  <a:lnTo>
                    <a:pt x="137" y="541"/>
                  </a:lnTo>
                  <a:lnTo>
                    <a:pt x="134" y="528"/>
                  </a:lnTo>
                  <a:lnTo>
                    <a:pt x="132" y="514"/>
                  </a:lnTo>
                  <a:lnTo>
                    <a:pt x="131" y="499"/>
                  </a:lnTo>
                  <a:lnTo>
                    <a:pt x="129" y="484"/>
                  </a:lnTo>
                  <a:lnTo>
                    <a:pt x="129" y="468"/>
                  </a:lnTo>
                  <a:lnTo>
                    <a:pt x="128" y="452"/>
                  </a:lnTo>
                  <a:lnTo>
                    <a:pt x="129" y="436"/>
                  </a:lnTo>
                  <a:lnTo>
                    <a:pt x="130" y="421"/>
                  </a:lnTo>
                  <a:lnTo>
                    <a:pt x="131" y="406"/>
                  </a:lnTo>
                  <a:lnTo>
                    <a:pt x="133" y="391"/>
                  </a:lnTo>
                  <a:lnTo>
                    <a:pt x="139" y="361"/>
                  </a:lnTo>
                  <a:lnTo>
                    <a:pt x="145" y="330"/>
                  </a:lnTo>
                  <a:lnTo>
                    <a:pt x="589" y="330"/>
                  </a:lnTo>
                  <a:lnTo>
                    <a:pt x="594" y="305"/>
                  </a:lnTo>
                  <a:lnTo>
                    <a:pt x="600" y="277"/>
                  </a:lnTo>
                  <a:lnTo>
                    <a:pt x="602" y="263"/>
                  </a:lnTo>
                  <a:lnTo>
                    <a:pt x="603" y="248"/>
                  </a:lnTo>
                  <a:lnTo>
                    <a:pt x="604" y="233"/>
                  </a:lnTo>
                  <a:lnTo>
                    <a:pt x="605" y="218"/>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33" name="Freeform 20"/>
            <p:cNvSpPr>
              <a:spLocks/>
            </p:cNvSpPr>
            <p:nvPr userDrawn="1">
              <p:custDataLst>
                <p:tags r:id="rId19"/>
              </p:custDataLst>
            </p:nvPr>
          </p:nvSpPr>
          <p:spPr bwMode="gray">
            <a:xfrm>
              <a:off x="1423988" y="3751263"/>
              <a:ext cx="111125" cy="169862"/>
            </a:xfrm>
            <a:custGeom>
              <a:avLst/>
              <a:gdLst/>
              <a:ahLst/>
              <a:cxnLst>
                <a:cxn ang="0">
                  <a:pos x="500" y="120"/>
                </a:cxn>
                <a:cxn ang="0">
                  <a:pos x="479" y="121"/>
                </a:cxn>
                <a:cxn ang="0">
                  <a:pos x="459" y="123"/>
                </a:cxn>
                <a:cxn ang="0">
                  <a:pos x="441" y="125"/>
                </a:cxn>
                <a:cxn ang="0">
                  <a:pos x="422" y="129"/>
                </a:cxn>
                <a:cxn ang="0">
                  <a:pos x="405" y="134"/>
                </a:cxn>
                <a:cxn ang="0">
                  <a:pos x="388" y="139"/>
                </a:cxn>
                <a:cxn ang="0">
                  <a:pos x="372" y="146"/>
                </a:cxn>
                <a:cxn ang="0">
                  <a:pos x="357" y="153"/>
                </a:cxn>
                <a:cxn ang="0">
                  <a:pos x="343" y="163"/>
                </a:cxn>
                <a:cxn ang="0">
                  <a:pos x="329" y="172"/>
                </a:cxn>
                <a:cxn ang="0">
                  <a:pos x="316" y="182"/>
                </a:cxn>
                <a:cxn ang="0">
                  <a:pos x="304" y="192"/>
                </a:cxn>
                <a:cxn ang="0">
                  <a:pos x="293" y="203"/>
                </a:cxn>
                <a:cxn ang="0">
                  <a:pos x="282" y="215"/>
                </a:cxn>
                <a:cxn ang="0">
                  <a:pos x="272" y="228"/>
                </a:cxn>
                <a:cxn ang="0">
                  <a:pos x="262" y="241"/>
                </a:cxn>
                <a:cxn ang="0">
                  <a:pos x="253" y="255"/>
                </a:cxn>
                <a:cxn ang="0">
                  <a:pos x="244" y="269"/>
                </a:cxn>
                <a:cxn ang="0">
                  <a:pos x="236" y="283"/>
                </a:cxn>
                <a:cxn ang="0">
                  <a:pos x="228" y="298"/>
                </a:cxn>
                <a:cxn ang="0">
                  <a:pos x="221" y="314"/>
                </a:cxn>
                <a:cxn ang="0">
                  <a:pos x="215" y="330"/>
                </a:cxn>
                <a:cxn ang="0">
                  <a:pos x="209" y="346"/>
                </a:cxn>
                <a:cxn ang="0">
                  <a:pos x="203" y="362"/>
                </a:cxn>
                <a:cxn ang="0">
                  <a:pos x="192" y="396"/>
                </a:cxn>
                <a:cxn ang="0">
                  <a:pos x="184" y="430"/>
                </a:cxn>
                <a:cxn ang="0">
                  <a:pos x="176" y="465"/>
                </a:cxn>
                <a:cxn ang="0">
                  <a:pos x="169" y="500"/>
                </a:cxn>
                <a:cxn ang="0">
                  <a:pos x="112" y="790"/>
                </a:cxn>
                <a:cxn ang="0">
                  <a:pos x="0" y="790"/>
                </a:cxn>
                <a:cxn ang="0">
                  <a:pos x="145" y="16"/>
                </a:cxn>
                <a:cxn ang="0">
                  <a:pos x="266" y="16"/>
                </a:cxn>
                <a:cxn ang="0">
                  <a:pos x="234" y="170"/>
                </a:cxn>
                <a:cxn ang="0">
                  <a:pos x="245" y="147"/>
                </a:cxn>
                <a:cxn ang="0">
                  <a:pos x="257" y="127"/>
                </a:cxn>
                <a:cxn ang="0">
                  <a:pos x="270" y="108"/>
                </a:cxn>
                <a:cxn ang="0">
                  <a:pos x="283" y="91"/>
                </a:cxn>
                <a:cxn ang="0">
                  <a:pos x="298" y="76"/>
                </a:cxn>
                <a:cxn ang="0">
                  <a:pos x="314" y="62"/>
                </a:cxn>
                <a:cxn ang="0">
                  <a:pos x="331" y="50"/>
                </a:cxn>
                <a:cxn ang="0">
                  <a:pos x="348" y="39"/>
                </a:cxn>
                <a:cxn ang="0">
                  <a:pos x="367" y="30"/>
                </a:cxn>
                <a:cxn ang="0">
                  <a:pos x="386" y="22"/>
                </a:cxn>
                <a:cxn ang="0">
                  <a:pos x="408" y="15"/>
                </a:cxn>
                <a:cxn ang="0">
                  <a:pos x="429" y="9"/>
                </a:cxn>
                <a:cxn ang="0">
                  <a:pos x="451" y="5"/>
                </a:cxn>
                <a:cxn ang="0">
                  <a:pos x="475" y="2"/>
                </a:cxn>
                <a:cxn ang="0">
                  <a:pos x="499" y="0"/>
                </a:cxn>
                <a:cxn ang="0">
                  <a:pos x="524" y="0"/>
                </a:cxn>
                <a:cxn ang="0">
                  <a:pos x="500" y="120"/>
                </a:cxn>
              </a:cxnLst>
              <a:rect l="0" t="0" r="r" b="b"/>
              <a:pathLst>
                <a:path w="524" h="790">
                  <a:moveTo>
                    <a:pt x="500" y="120"/>
                  </a:moveTo>
                  <a:lnTo>
                    <a:pt x="479" y="121"/>
                  </a:lnTo>
                  <a:lnTo>
                    <a:pt x="459" y="123"/>
                  </a:lnTo>
                  <a:lnTo>
                    <a:pt x="441" y="125"/>
                  </a:lnTo>
                  <a:lnTo>
                    <a:pt x="422" y="129"/>
                  </a:lnTo>
                  <a:lnTo>
                    <a:pt x="405" y="134"/>
                  </a:lnTo>
                  <a:lnTo>
                    <a:pt x="388" y="139"/>
                  </a:lnTo>
                  <a:lnTo>
                    <a:pt x="372" y="146"/>
                  </a:lnTo>
                  <a:lnTo>
                    <a:pt x="357" y="153"/>
                  </a:lnTo>
                  <a:lnTo>
                    <a:pt x="343" y="163"/>
                  </a:lnTo>
                  <a:lnTo>
                    <a:pt x="329" y="172"/>
                  </a:lnTo>
                  <a:lnTo>
                    <a:pt x="316" y="182"/>
                  </a:lnTo>
                  <a:lnTo>
                    <a:pt x="304" y="192"/>
                  </a:lnTo>
                  <a:lnTo>
                    <a:pt x="293" y="203"/>
                  </a:lnTo>
                  <a:lnTo>
                    <a:pt x="282" y="215"/>
                  </a:lnTo>
                  <a:lnTo>
                    <a:pt x="272" y="228"/>
                  </a:lnTo>
                  <a:lnTo>
                    <a:pt x="262" y="241"/>
                  </a:lnTo>
                  <a:lnTo>
                    <a:pt x="253" y="255"/>
                  </a:lnTo>
                  <a:lnTo>
                    <a:pt x="244" y="269"/>
                  </a:lnTo>
                  <a:lnTo>
                    <a:pt x="236" y="283"/>
                  </a:lnTo>
                  <a:lnTo>
                    <a:pt x="228" y="298"/>
                  </a:lnTo>
                  <a:lnTo>
                    <a:pt x="221" y="314"/>
                  </a:lnTo>
                  <a:lnTo>
                    <a:pt x="215" y="330"/>
                  </a:lnTo>
                  <a:lnTo>
                    <a:pt x="209" y="346"/>
                  </a:lnTo>
                  <a:lnTo>
                    <a:pt x="203" y="362"/>
                  </a:lnTo>
                  <a:lnTo>
                    <a:pt x="192" y="396"/>
                  </a:lnTo>
                  <a:lnTo>
                    <a:pt x="184" y="430"/>
                  </a:lnTo>
                  <a:lnTo>
                    <a:pt x="176" y="465"/>
                  </a:lnTo>
                  <a:lnTo>
                    <a:pt x="169" y="500"/>
                  </a:lnTo>
                  <a:lnTo>
                    <a:pt x="112" y="790"/>
                  </a:lnTo>
                  <a:lnTo>
                    <a:pt x="0" y="790"/>
                  </a:lnTo>
                  <a:lnTo>
                    <a:pt x="145" y="16"/>
                  </a:lnTo>
                  <a:lnTo>
                    <a:pt x="266" y="16"/>
                  </a:lnTo>
                  <a:lnTo>
                    <a:pt x="234" y="170"/>
                  </a:lnTo>
                  <a:lnTo>
                    <a:pt x="245" y="147"/>
                  </a:lnTo>
                  <a:lnTo>
                    <a:pt x="257" y="127"/>
                  </a:lnTo>
                  <a:lnTo>
                    <a:pt x="270" y="108"/>
                  </a:lnTo>
                  <a:lnTo>
                    <a:pt x="283" y="91"/>
                  </a:lnTo>
                  <a:lnTo>
                    <a:pt x="298" y="76"/>
                  </a:lnTo>
                  <a:lnTo>
                    <a:pt x="314" y="62"/>
                  </a:lnTo>
                  <a:lnTo>
                    <a:pt x="331" y="50"/>
                  </a:lnTo>
                  <a:lnTo>
                    <a:pt x="348" y="39"/>
                  </a:lnTo>
                  <a:lnTo>
                    <a:pt x="367" y="30"/>
                  </a:lnTo>
                  <a:lnTo>
                    <a:pt x="386" y="22"/>
                  </a:lnTo>
                  <a:lnTo>
                    <a:pt x="408" y="15"/>
                  </a:lnTo>
                  <a:lnTo>
                    <a:pt x="429" y="9"/>
                  </a:lnTo>
                  <a:lnTo>
                    <a:pt x="451" y="5"/>
                  </a:lnTo>
                  <a:lnTo>
                    <a:pt x="475" y="2"/>
                  </a:lnTo>
                  <a:lnTo>
                    <a:pt x="499" y="0"/>
                  </a:lnTo>
                  <a:lnTo>
                    <a:pt x="524" y="0"/>
                  </a:lnTo>
                  <a:lnTo>
                    <a:pt x="500" y="120"/>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34" name="Freeform 21"/>
            <p:cNvSpPr>
              <a:spLocks/>
            </p:cNvSpPr>
            <p:nvPr userDrawn="1">
              <p:custDataLst>
                <p:tags r:id="rId20"/>
              </p:custDataLst>
            </p:nvPr>
          </p:nvSpPr>
          <p:spPr bwMode="gray">
            <a:xfrm>
              <a:off x="1550988" y="3676650"/>
              <a:ext cx="130175" cy="244475"/>
            </a:xfrm>
            <a:custGeom>
              <a:avLst/>
              <a:gdLst/>
              <a:ahLst/>
              <a:cxnLst>
                <a:cxn ang="0">
                  <a:pos x="551" y="107"/>
                </a:cxn>
                <a:cxn ang="0">
                  <a:pos x="506" y="100"/>
                </a:cxn>
                <a:cxn ang="0">
                  <a:pos x="475" y="97"/>
                </a:cxn>
                <a:cxn ang="0">
                  <a:pos x="445" y="97"/>
                </a:cxn>
                <a:cxn ang="0">
                  <a:pos x="417" y="100"/>
                </a:cxn>
                <a:cxn ang="0">
                  <a:pos x="392" y="106"/>
                </a:cxn>
                <a:cxn ang="0">
                  <a:pos x="371" y="115"/>
                </a:cxn>
                <a:cxn ang="0">
                  <a:pos x="351" y="126"/>
                </a:cxn>
                <a:cxn ang="0">
                  <a:pos x="335" y="139"/>
                </a:cxn>
                <a:cxn ang="0">
                  <a:pos x="321" y="155"/>
                </a:cxn>
                <a:cxn ang="0">
                  <a:pos x="310" y="172"/>
                </a:cxn>
                <a:cxn ang="0">
                  <a:pos x="296" y="201"/>
                </a:cxn>
                <a:cxn ang="0">
                  <a:pos x="282" y="244"/>
                </a:cxn>
                <a:cxn ang="0">
                  <a:pos x="267" y="315"/>
                </a:cxn>
                <a:cxn ang="0">
                  <a:pos x="485" y="363"/>
                </a:cxn>
                <a:cxn ang="0">
                  <a:pos x="242" y="451"/>
                </a:cxn>
                <a:cxn ang="0">
                  <a:pos x="0" y="1137"/>
                </a:cxn>
                <a:cxn ang="0">
                  <a:pos x="0" y="451"/>
                </a:cxn>
                <a:cxn ang="0">
                  <a:pos x="146" y="363"/>
                </a:cxn>
                <a:cxn ang="0">
                  <a:pos x="163" y="287"/>
                </a:cxn>
                <a:cxn ang="0">
                  <a:pos x="182" y="217"/>
                </a:cxn>
                <a:cxn ang="0">
                  <a:pos x="204" y="156"/>
                </a:cxn>
                <a:cxn ang="0">
                  <a:pos x="217" y="128"/>
                </a:cxn>
                <a:cxn ang="0">
                  <a:pos x="232" y="103"/>
                </a:cxn>
                <a:cxn ang="0">
                  <a:pos x="250" y="80"/>
                </a:cxn>
                <a:cxn ang="0">
                  <a:pos x="271" y="60"/>
                </a:cxn>
                <a:cxn ang="0">
                  <a:pos x="295" y="42"/>
                </a:cxn>
                <a:cxn ang="0">
                  <a:pos x="322" y="27"/>
                </a:cxn>
                <a:cxn ang="0">
                  <a:pos x="354" y="16"/>
                </a:cxn>
                <a:cxn ang="0">
                  <a:pos x="390" y="7"/>
                </a:cxn>
                <a:cxn ang="0">
                  <a:pos x="431" y="2"/>
                </a:cxn>
                <a:cxn ang="0">
                  <a:pos x="477" y="0"/>
                </a:cxn>
                <a:cxn ang="0">
                  <a:pos x="507" y="2"/>
                </a:cxn>
                <a:cxn ang="0">
                  <a:pos x="537" y="5"/>
                </a:cxn>
                <a:cxn ang="0">
                  <a:pos x="597" y="16"/>
                </a:cxn>
              </a:cxnLst>
              <a:rect l="0" t="0" r="r" b="b"/>
              <a:pathLst>
                <a:path w="597" h="1137">
                  <a:moveTo>
                    <a:pt x="581" y="113"/>
                  </a:moveTo>
                  <a:lnTo>
                    <a:pt x="551" y="107"/>
                  </a:lnTo>
                  <a:lnTo>
                    <a:pt x="521" y="102"/>
                  </a:lnTo>
                  <a:lnTo>
                    <a:pt x="506" y="100"/>
                  </a:lnTo>
                  <a:lnTo>
                    <a:pt x="491" y="98"/>
                  </a:lnTo>
                  <a:lnTo>
                    <a:pt x="475" y="97"/>
                  </a:lnTo>
                  <a:lnTo>
                    <a:pt x="460" y="97"/>
                  </a:lnTo>
                  <a:lnTo>
                    <a:pt x="445" y="97"/>
                  </a:lnTo>
                  <a:lnTo>
                    <a:pt x="431" y="98"/>
                  </a:lnTo>
                  <a:lnTo>
                    <a:pt x="417" y="100"/>
                  </a:lnTo>
                  <a:lnTo>
                    <a:pt x="404" y="103"/>
                  </a:lnTo>
                  <a:lnTo>
                    <a:pt x="392" y="106"/>
                  </a:lnTo>
                  <a:lnTo>
                    <a:pt x="381" y="110"/>
                  </a:lnTo>
                  <a:lnTo>
                    <a:pt x="371" y="115"/>
                  </a:lnTo>
                  <a:lnTo>
                    <a:pt x="361" y="120"/>
                  </a:lnTo>
                  <a:lnTo>
                    <a:pt x="351" y="126"/>
                  </a:lnTo>
                  <a:lnTo>
                    <a:pt x="343" y="132"/>
                  </a:lnTo>
                  <a:lnTo>
                    <a:pt x="335" y="139"/>
                  </a:lnTo>
                  <a:lnTo>
                    <a:pt x="328" y="147"/>
                  </a:lnTo>
                  <a:lnTo>
                    <a:pt x="321" y="155"/>
                  </a:lnTo>
                  <a:lnTo>
                    <a:pt x="315" y="163"/>
                  </a:lnTo>
                  <a:lnTo>
                    <a:pt x="310" y="172"/>
                  </a:lnTo>
                  <a:lnTo>
                    <a:pt x="305" y="181"/>
                  </a:lnTo>
                  <a:lnTo>
                    <a:pt x="296" y="201"/>
                  </a:lnTo>
                  <a:lnTo>
                    <a:pt x="288" y="222"/>
                  </a:lnTo>
                  <a:lnTo>
                    <a:pt x="282" y="244"/>
                  </a:lnTo>
                  <a:lnTo>
                    <a:pt x="276" y="267"/>
                  </a:lnTo>
                  <a:lnTo>
                    <a:pt x="267" y="315"/>
                  </a:lnTo>
                  <a:lnTo>
                    <a:pt x="259" y="363"/>
                  </a:lnTo>
                  <a:lnTo>
                    <a:pt x="485" y="363"/>
                  </a:lnTo>
                  <a:lnTo>
                    <a:pt x="460" y="451"/>
                  </a:lnTo>
                  <a:lnTo>
                    <a:pt x="242" y="451"/>
                  </a:lnTo>
                  <a:lnTo>
                    <a:pt x="114" y="1137"/>
                  </a:lnTo>
                  <a:lnTo>
                    <a:pt x="0" y="1137"/>
                  </a:lnTo>
                  <a:lnTo>
                    <a:pt x="130" y="451"/>
                  </a:lnTo>
                  <a:lnTo>
                    <a:pt x="0" y="451"/>
                  </a:lnTo>
                  <a:lnTo>
                    <a:pt x="16" y="363"/>
                  </a:lnTo>
                  <a:lnTo>
                    <a:pt x="146" y="363"/>
                  </a:lnTo>
                  <a:lnTo>
                    <a:pt x="155" y="324"/>
                  </a:lnTo>
                  <a:lnTo>
                    <a:pt x="163" y="287"/>
                  </a:lnTo>
                  <a:lnTo>
                    <a:pt x="172" y="252"/>
                  </a:lnTo>
                  <a:lnTo>
                    <a:pt x="182" y="217"/>
                  </a:lnTo>
                  <a:lnTo>
                    <a:pt x="192" y="186"/>
                  </a:lnTo>
                  <a:lnTo>
                    <a:pt x="204" y="156"/>
                  </a:lnTo>
                  <a:lnTo>
                    <a:pt x="210" y="142"/>
                  </a:lnTo>
                  <a:lnTo>
                    <a:pt x="217" y="128"/>
                  </a:lnTo>
                  <a:lnTo>
                    <a:pt x="224" y="115"/>
                  </a:lnTo>
                  <a:lnTo>
                    <a:pt x="232" y="103"/>
                  </a:lnTo>
                  <a:lnTo>
                    <a:pt x="241" y="91"/>
                  </a:lnTo>
                  <a:lnTo>
                    <a:pt x="250" y="80"/>
                  </a:lnTo>
                  <a:lnTo>
                    <a:pt x="260" y="69"/>
                  </a:lnTo>
                  <a:lnTo>
                    <a:pt x="271" y="60"/>
                  </a:lnTo>
                  <a:lnTo>
                    <a:pt x="282" y="51"/>
                  </a:lnTo>
                  <a:lnTo>
                    <a:pt x="295" y="42"/>
                  </a:lnTo>
                  <a:lnTo>
                    <a:pt x="308" y="34"/>
                  </a:lnTo>
                  <a:lnTo>
                    <a:pt x="322" y="27"/>
                  </a:lnTo>
                  <a:lnTo>
                    <a:pt x="337" y="21"/>
                  </a:lnTo>
                  <a:lnTo>
                    <a:pt x="354" y="16"/>
                  </a:lnTo>
                  <a:lnTo>
                    <a:pt x="372" y="11"/>
                  </a:lnTo>
                  <a:lnTo>
                    <a:pt x="390" y="7"/>
                  </a:lnTo>
                  <a:lnTo>
                    <a:pt x="410" y="4"/>
                  </a:lnTo>
                  <a:lnTo>
                    <a:pt x="431" y="2"/>
                  </a:lnTo>
                  <a:lnTo>
                    <a:pt x="453" y="1"/>
                  </a:lnTo>
                  <a:lnTo>
                    <a:pt x="477" y="0"/>
                  </a:lnTo>
                  <a:lnTo>
                    <a:pt x="492" y="1"/>
                  </a:lnTo>
                  <a:lnTo>
                    <a:pt x="507" y="2"/>
                  </a:lnTo>
                  <a:lnTo>
                    <a:pt x="522" y="3"/>
                  </a:lnTo>
                  <a:lnTo>
                    <a:pt x="537" y="5"/>
                  </a:lnTo>
                  <a:lnTo>
                    <a:pt x="567" y="10"/>
                  </a:lnTo>
                  <a:lnTo>
                    <a:pt x="597" y="16"/>
                  </a:lnTo>
                  <a:lnTo>
                    <a:pt x="581" y="113"/>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35" name="Freeform 22"/>
            <p:cNvSpPr>
              <a:spLocks noEditPoints="1"/>
            </p:cNvSpPr>
            <p:nvPr userDrawn="1">
              <p:custDataLst>
                <p:tags r:id="rId21"/>
              </p:custDataLst>
            </p:nvPr>
          </p:nvSpPr>
          <p:spPr bwMode="gray">
            <a:xfrm>
              <a:off x="1641475" y="3751263"/>
              <a:ext cx="142875" cy="173037"/>
            </a:xfrm>
            <a:custGeom>
              <a:avLst/>
              <a:gdLst/>
              <a:ahLst/>
              <a:cxnLst>
                <a:cxn ang="0">
                  <a:pos x="520" y="396"/>
                </a:cxn>
                <a:cxn ang="0">
                  <a:pos x="497" y="516"/>
                </a:cxn>
                <a:cxn ang="0">
                  <a:pos x="471" y="580"/>
                </a:cxn>
                <a:cxn ang="0">
                  <a:pos x="438" y="635"/>
                </a:cxn>
                <a:cxn ang="0">
                  <a:pos x="392" y="677"/>
                </a:cxn>
                <a:cxn ang="0">
                  <a:pos x="335" y="703"/>
                </a:cxn>
                <a:cxn ang="0">
                  <a:pos x="271" y="709"/>
                </a:cxn>
                <a:cxn ang="0">
                  <a:pos x="232" y="702"/>
                </a:cxn>
                <a:cxn ang="0">
                  <a:pos x="199" y="687"/>
                </a:cxn>
                <a:cxn ang="0">
                  <a:pos x="175" y="665"/>
                </a:cxn>
                <a:cxn ang="0">
                  <a:pos x="152" y="630"/>
                </a:cxn>
                <a:cxn ang="0">
                  <a:pos x="133" y="563"/>
                </a:cxn>
                <a:cxn ang="0">
                  <a:pos x="129" y="478"/>
                </a:cxn>
                <a:cxn ang="0">
                  <a:pos x="148" y="343"/>
                </a:cxn>
                <a:cxn ang="0">
                  <a:pos x="174" y="257"/>
                </a:cxn>
                <a:cxn ang="0">
                  <a:pos x="205" y="195"/>
                </a:cxn>
                <a:cxn ang="0">
                  <a:pos x="247" y="143"/>
                </a:cxn>
                <a:cxn ang="0">
                  <a:pos x="298" y="106"/>
                </a:cxn>
                <a:cxn ang="0">
                  <a:pos x="361" y="89"/>
                </a:cxn>
                <a:cxn ang="0">
                  <a:pos x="412" y="91"/>
                </a:cxn>
                <a:cxn ang="0">
                  <a:pos x="448" y="103"/>
                </a:cxn>
                <a:cxn ang="0">
                  <a:pos x="476" y="123"/>
                </a:cxn>
                <a:cxn ang="0">
                  <a:pos x="497" y="149"/>
                </a:cxn>
                <a:cxn ang="0">
                  <a:pos x="517" y="207"/>
                </a:cxn>
                <a:cxn ang="0">
                  <a:pos x="524" y="280"/>
                </a:cxn>
                <a:cxn ang="0">
                  <a:pos x="649" y="216"/>
                </a:cxn>
                <a:cxn ang="0">
                  <a:pos x="638" y="164"/>
                </a:cxn>
                <a:cxn ang="0">
                  <a:pos x="618" y="116"/>
                </a:cxn>
                <a:cxn ang="0">
                  <a:pos x="591" y="76"/>
                </a:cxn>
                <a:cxn ang="0">
                  <a:pos x="555" y="44"/>
                </a:cxn>
                <a:cxn ang="0">
                  <a:pos x="511" y="20"/>
                </a:cxn>
                <a:cxn ang="0">
                  <a:pos x="457" y="5"/>
                </a:cxn>
                <a:cxn ang="0">
                  <a:pos x="395" y="0"/>
                </a:cxn>
                <a:cxn ang="0">
                  <a:pos x="297" y="12"/>
                </a:cxn>
                <a:cxn ang="0">
                  <a:pos x="215" y="46"/>
                </a:cxn>
                <a:cxn ang="0">
                  <a:pos x="146" y="99"/>
                </a:cxn>
                <a:cxn ang="0">
                  <a:pos x="92" y="169"/>
                </a:cxn>
                <a:cxn ang="0">
                  <a:pos x="51" y="249"/>
                </a:cxn>
                <a:cxn ang="0">
                  <a:pos x="22" y="337"/>
                </a:cxn>
                <a:cxn ang="0">
                  <a:pos x="6" y="429"/>
                </a:cxn>
                <a:cxn ang="0">
                  <a:pos x="0" y="524"/>
                </a:cxn>
                <a:cxn ang="0">
                  <a:pos x="4" y="585"/>
                </a:cxn>
                <a:cxn ang="0">
                  <a:pos x="17" y="639"/>
                </a:cxn>
                <a:cxn ang="0">
                  <a:pos x="37" y="687"/>
                </a:cxn>
                <a:cxn ang="0">
                  <a:pos x="67" y="729"/>
                </a:cxn>
                <a:cxn ang="0">
                  <a:pos x="104" y="762"/>
                </a:cxn>
                <a:cxn ang="0">
                  <a:pos x="149" y="786"/>
                </a:cxn>
                <a:cxn ang="0">
                  <a:pos x="203" y="801"/>
                </a:cxn>
                <a:cxn ang="0">
                  <a:pos x="266" y="806"/>
                </a:cxn>
                <a:cxn ang="0">
                  <a:pos x="366" y="794"/>
                </a:cxn>
                <a:cxn ang="0">
                  <a:pos x="449" y="759"/>
                </a:cxn>
                <a:cxn ang="0">
                  <a:pos x="517" y="703"/>
                </a:cxn>
                <a:cxn ang="0">
                  <a:pos x="569" y="634"/>
                </a:cxn>
                <a:cxn ang="0">
                  <a:pos x="607" y="552"/>
                </a:cxn>
                <a:cxn ang="0">
                  <a:pos x="634" y="463"/>
                </a:cxn>
                <a:cxn ang="0">
                  <a:pos x="648" y="368"/>
                </a:cxn>
                <a:cxn ang="0">
                  <a:pos x="653" y="274"/>
                </a:cxn>
              </a:cxnLst>
              <a:rect l="0" t="0" r="r" b="b"/>
              <a:pathLst>
                <a:path w="653" h="806">
                  <a:moveTo>
                    <a:pt x="525" y="298"/>
                  </a:moveTo>
                  <a:lnTo>
                    <a:pt x="524" y="329"/>
                  </a:lnTo>
                  <a:lnTo>
                    <a:pt x="522" y="362"/>
                  </a:lnTo>
                  <a:lnTo>
                    <a:pt x="520" y="396"/>
                  </a:lnTo>
                  <a:lnTo>
                    <a:pt x="515" y="430"/>
                  </a:lnTo>
                  <a:lnTo>
                    <a:pt x="509" y="466"/>
                  </a:lnTo>
                  <a:lnTo>
                    <a:pt x="501" y="500"/>
                  </a:lnTo>
                  <a:lnTo>
                    <a:pt x="497" y="516"/>
                  </a:lnTo>
                  <a:lnTo>
                    <a:pt x="491" y="533"/>
                  </a:lnTo>
                  <a:lnTo>
                    <a:pt x="485" y="549"/>
                  </a:lnTo>
                  <a:lnTo>
                    <a:pt x="478" y="564"/>
                  </a:lnTo>
                  <a:lnTo>
                    <a:pt x="471" y="580"/>
                  </a:lnTo>
                  <a:lnTo>
                    <a:pt x="464" y="594"/>
                  </a:lnTo>
                  <a:lnTo>
                    <a:pt x="456" y="608"/>
                  </a:lnTo>
                  <a:lnTo>
                    <a:pt x="447" y="622"/>
                  </a:lnTo>
                  <a:lnTo>
                    <a:pt x="438" y="635"/>
                  </a:lnTo>
                  <a:lnTo>
                    <a:pt x="427" y="646"/>
                  </a:lnTo>
                  <a:lnTo>
                    <a:pt x="417" y="658"/>
                  </a:lnTo>
                  <a:lnTo>
                    <a:pt x="405" y="668"/>
                  </a:lnTo>
                  <a:lnTo>
                    <a:pt x="392" y="677"/>
                  </a:lnTo>
                  <a:lnTo>
                    <a:pt x="379" y="685"/>
                  </a:lnTo>
                  <a:lnTo>
                    <a:pt x="365" y="692"/>
                  </a:lnTo>
                  <a:lnTo>
                    <a:pt x="351" y="698"/>
                  </a:lnTo>
                  <a:lnTo>
                    <a:pt x="335" y="703"/>
                  </a:lnTo>
                  <a:lnTo>
                    <a:pt x="318" y="706"/>
                  </a:lnTo>
                  <a:lnTo>
                    <a:pt x="301" y="708"/>
                  </a:lnTo>
                  <a:lnTo>
                    <a:pt x="283" y="709"/>
                  </a:lnTo>
                  <a:lnTo>
                    <a:pt x="271" y="709"/>
                  </a:lnTo>
                  <a:lnTo>
                    <a:pt x="261" y="708"/>
                  </a:lnTo>
                  <a:lnTo>
                    <a:pt x="251" y="706"/>
                  </a:lnTo>
                  <a:lnTo>
                    <a:pt x="241" y="704"/>
                  </a:lnTo>
                  <a:lnTo>
                    <a:pt x="232" y="702"/>
                  </a:lnTo>
                  <a:lnTo>
                    <a:pt x="224" y="699"/>
                  </a:lnTo>
                  <a:lnTo>
                    <a:pt x="215" y="695"/>
                  </a:lnTo>
                  <a:lnTo>
                    <a:pt x="207" y="691"/>
                  </a:lnTo>
                  <a:lnTo>
                    <a:pt x="199" y="687"/>
                  </a:lnTo>
                  <a:lnTo>
                    <a:pt x="193" y="682"/>
                  </a:lnTo>
                  <a:lnTo>
                    <a:pt x="186" y="677"/>
                  </a:lnTo>
                  <a:lnTo>
                    <a:pt x="180" y="671"/>
                  </a:lnTo>
                  <a:lnTo>
                    <a:pt x="175" y="665"/>
                  </a:lnTo>
                  <a:lnTo>
                    <a:pt x="169" y="659"/>
                  </a:lnTo>
                  <a:lnTo>
                    <a:pt x="164" y="652"/>
                  </a:lnTo>
                  <a:lnTo>
                    <a:pt x="160" y="645"/>
                  </a:lnTo>
                  <a:lnTo>
                    <a:pt x="152" y="630"/>
                  </a:lnTo>
                  <a:lnTo>
                    <a:pt x="145" y="614"/>
                  </a:lnTo>
                  <a:lnTo>
                    <a:pt x="140" y="598"/>
                  </a:lnTo>
                  <a:lnTo>
                    <a:pt x="136" y="580"/>
                  </a:lnTo>
                  <a:lnTo>
                    <a:pt x="133" y="563"/>
                  </a:lnTo>
                  <a:lnTo>
                    <a:pt x="130" y="544"/>
                  </a:lnTo>
                  <a:lnTo>
                    <a:pt x="129" y="526"/>
                  </a:lnTo>
                  <a:lnTo>
                    <a:pt x="129" y="508"/>
                  </a:lnTo>
                  <a:lnTo>
                    <a:pt x="129" y="478"/>
                  </a:lnTo>
                  <a:lnTo>
                    <a:pt x="132" y="446"/>
                  </a:lnTo>
                  <a:lnTo>
                    <a:pt x="135" y="412"/>
                  </a:lnTo>
                  <a:lnTo>
                    <a:pt x="141" y="377"/>
                  </a:lnTo>
                  <a:lnTo>
                    <a:pt x="148" y="343"/>
                  </a:lnTo>
                  <a:lnTo>
                    <a:pt x="157" y="308"/>
                  </a:lnTo>
                  <a:lnTo>
                    <a:pt x="162" y="291"/>
                  </a:lnTo>
                  <a:lnTo>
                    <a:pt x="168" y="274"/>
                  </a:lnTo>
                  <a:lnTo>
                    <a:pt x="174" y="257"/>
                  </a:lnTo>
                  <a:lnTo>
                    <a:pt x="181" y="241"/>
                  </a:lnTo>
                  <a:lnTo>
                    <a:pt x="188" y="225"/>
                  </a:lnTo>
                  <a:lnTo>
                    <a:pt x="196" y="210"/>
                  </a:lnTo>
                  <a:lnTo>
                    <a:pt x="205" y="195"/>
                  </a:lnTo>
                  <a:lnTo>
                    <a:pt x="215" y="181"/>
                  </a:lnTo>
                  <a:lnTo>
                    <a:pt x="225" y="168"/>
                  </a:lnTo>
                  <a:lnTo>
                    <a:pt x="236" y="154"/>
                  </a:lnTo>
                  <a:lnTo>
                    <a:pt x="247" y="143"/>
                  </a:lnTo>
                  <a:lnTo>
                    <a:pt x="259" y="132"/>
                  </a:lnTo>
                  <a:lnTo>
                    <a:pt x="271" y="122"/>
                  </a:lnTo>
                  <a:lnTo>
                    <a:pt x="284" y="114"/>
                  </a:lnTo>
                  <a:lnTo>
                    <a:pt x="298" y="106"/>
                  </a:lnTo>
                  <a:lnTo>
                    <a:pt x="313" y="100"/>
                  </a:lnTo>
                  <a:lnTo>
                    <a:pt x="328" y="95"/>
                  </a:lnTo>
                  <a:lnTo>
                    <a:pt x="344" y="91"/>
                  </a:lnTo>
                  <a:lnTo>
                    <a:pt x="361" y="89"/>
                  </a:lnTo>
                  <a:lnTo>
                    <a:pt x="379" y="88"/>
                  </a:lnTo>
                  <a:lnTo>
                    <a:pt x="391" y="89"/>
                  </a:lnTo>
                  <a:lnTo>
                    <a:pt x="402" y="90"/>
                  </a:lnTo>
                  <a:lnTo>
                    <a:pt x="412" y="91"/>
                  </a:lnTo>
                  <a:lnTo>
                    <a:pt x="422" y="93"/>
                  </a:lnTo>
                  <a:lnTo>
                    <a:pt x="431" y="96"/>
                  </a:lnTo>
                  <a:lnTo>
                    <a:pt x="440" y="99"/>
                  </a:lnTo>
                  <a:lnTo>
                    <a:pt x="448" y="103"/>
                  </a:lnTo>
                  <a:lnTo>
                    <a:pt x="456" y="107"/>
                  </a:lnTo>
                  <a:lnTo>
                    <a:pt x="463" y="112"/>
                  </a:lnTo>
                  <a:lnTo>
                    <a:pt x="469" y="117"/>
                  </a:lnTo>
                  <a:lnTo>
                    <a:pt x="476" y="123"/>
                  </a:lnTo>
                  <a:lnTo>
                    <a:pt x="481" y="129"/>
                  </a:lnTo>
                  <a:lnTo>
                    <a:pt x="486" y="135"/>
                  </a:lnTo>
                  <a:lnTo>
                    <a:pt x="492" y="142"/>
                  </a:lnTo>
                  <a:lnTo>
                    <a:pt x="497" y="149"/>
                  </a:lnTo>
                  <a:lnTo>
                    <a:pt x="500" y="157"/>
                  </a:lnTo>
                  <a:lnTo>
                    <a:pt x="507" y="173"/>
                  </a:lnTo>
                  <a:lnTo>
                    <a:pt x="513" y="190"/>
                  </a:lnTo>
                  <a:lnTo>
                    <a:pt x="517" y="207"/>
                  </a:lnTo>
                  <a:lnTo>
                    <a:pt x="520" y="225"/>
                  </a:lnTo>
                  <a:lnTo>
                    <a:pt x="522" y="243"/>
                  </a:lnTo>
                  <a:lnTo>
                    <a:pt x="524" y="262"/>
                  </a:lnTo>
                  <a:lnTo>
                    <a:pt x="524" y="280"/>
                  </a:lnTo>
                  <a:lnTo>
                    <a:pt x="525" y="298"/>
                  </a:lnTo>
                  <a:close/>
                  <a:moveTo>
                    <a:pt x="653" y="274"/>
                  </a:moveTo>
                  <a:lnTo>
                    <a:pt x="652" y="245"/>
                  </a:lnTo>
                  <a:lnTo>
                    <a:pt x="649" y="216"/>
                  </a:lnTo>
                  <a:lnTo>
                    <a:pt x="647" y="203"/>
                  </a:lnTo>
                  <a:lnTo>
                    <a:pt x="645" y="189"/>
                  </a:lnTo>
                  <a:lnTo>
                    <a:pt x="641" y="176"/>
                  </a:lnTo>
                  <a:lnTo>
                    <a:pt x="638" y="164"/>
                  </a:lnTo>
                  <a:lnTo>
                    <a:pt x="634" y="150"/>
                  </a:lnTo>
                  <a:lnTo>
                    <a:pt x="629" y="139"/>
                  </a:lnTo>
                  <a:lnTo>
                    <a:pt x="624" y="127"/>
                  </a:lnTo>
                  <a:lnTo>
                    <a:pt x="618" y="116"/>
                  </a:lnTo>
                  <a:lnTo>
                    <a:pt x="612" y="105"/>
                  </a:lnTo>
                  <a:lnTo>
                    <a:pt x="606" y="95"/>
                  </a:lnTo>
                  <a:lnTo>
                    <a:pt x="599" y="86"/>
                  </a:lnTo>
                  <a:lnTo>
                    <a:pt x="591" y="76"/>
                  </a:lnTo>
                  <a:lnTo>
                    <a:pt x="583" y="67"/>
                  </a:lnTo>
                  <a:lnTo>
                    <a:pt x="574" y="59"/>
                  </a:lnTo>
                  <a:lnTo>
                    <a:pt x="565" y="51"/>
                  </a:lnTo>
                  <a:lnTo>
                    <a:pt x="555" y="44"/>
                  </a:lnTo>
                  <a:lnTo>
                    <a:pt x="545" y="37"/>
                  </a:lnTo>
                  <a:lnTo>
                    <a:pt x="534" y="31"/>
                  </a:lnTo>
                  <a:lnTo>
                    <a:pt x="523" y="25"/>
                  </a:lnTo>
                  <a:lnTo>
                    <a:pt x="511" y="20"/>
                  </a:lnTo>
                  <a:lnTo>
                    <a:pt x="498" y="15"/>
                  </a:lnTo>
                  <a:lnTo>
                    <a:pt x="484" y="11"/>
                  </a:lnTo>
                  <a:lnTo>
                    <a:pt x="471" y="8"/>
                  </a:lnTo>
                  <a:lnTo>
                    <a:pt x="457" y="5"/>
                  </a:lnTo>
                  <a:lnTo>
                    <a:pt x="442" y="3"/>
                  </a:lnTo>
                  <a:lnTo>
                    <a:pt x="427" y="1"/>
                  </a:lnTo>
                  <a:lnTo>
                    <a:pt x="411" y="0"/>
                  </a:lnTo>
                  <a:lnTo>
                    <a:pt x="395" y="0"/>
                  </a:lnTo>
                  <a:lnTo>
                    <a:pt x="369" y="1"/>
                  </a:lnTo>
                  <a:lnTo>
                    <a:pt x="344" y="3"/>
                  </a:lnTo>
                  <a:lnTo>
                    <a:pt x="320" y="7"/>
                  </a:lnTo>
                  <a:lnTo>
                    <a:pt x="297" y="12"/>
                  </a:lnTo>
                  <a:lnTo>
                    <a:pt x="275" y="19"/>
                  </a:lnTo>
                  <a:lnTo>
                    <a:pt x="254" y="27"/>
                  </a:lnTo>
                  <a:lnTo>
                    <a:pt x="234" y="36"/>
                  </a:lnTo>
                  <a:lnTo>
                    <a:pt x="215" y="46"/>
                  </a:lnTo>
                  <a:lnTo>
                    <a:pt x="195" y="58"/>
                  </a:lnTo>
                  <a:lnTo>
                    <a:pt x="178" y="71"/>
                  </a:lnTo>
                  <a:lnTo>
                    <a:pt x="161" y="85"/>
                  </a:lnTo>
                  <a:lnTo>
                    <a:pt x="146" y="99"/>
                  </a:lnTo>
                  <a:lnTo>
                    <a:pt x="131" y="115"/>
                  </a:lnTo>
                  <a:lnTo>
                    <a:pt x="117" y="132"/>
                  </a:lnTo>
                  <a:lnTo>
                    <a:pt x="104" y="149"/>
                  </a:lnTo>
                  <a:lnTo>
                    <a:pt x="92" y="169"/>
                  </a:lnTo>
                  <a:lnTo>
                    <a:pt x="80" y="188"/>
                  </a:lnTo>
                  <a:lnTo>
                    <a:pt x="70" y="207"/>
                  </a:lnTo>
                  <a:lnTo>
                    <a:pt x="60" y="228"/>
                  </a:lnTo>
                  <a:lnTo>
                    <a:pt x="51" y="249"/>
                  </a:lnTo>
                  <a:lnTo>
                    <a:pt x="42" y="270"/>
                  </a:lnTo>
                  <a:lnTo>
                    <a:pt x="35" y="292"/>
                  </a:lnTo>
                  <a:lnTo>
                    <a:pt x="28" y="314"/>
                  </a:lnTo>
                  <a:lnTo>
                    <a:pt x="22" y="337"/>
                  </a:lnTo>
                  <a:lnTo>
                    <a:pt x="17" y="359"/>
                  </a:lnTo>
                  <a:lnTo>
                    <a:pt x="12" y="383"/>
                  </a:lnTo>
                  <a:lnTo>
                    <a:pt x="9" y="406"/>
                  </a:lnTo>
                  <a:lnTo>
                    <a:pt x="6" y="429"/>
                  </a:lnTo>
                  <a:lnTo>
                    <a:pt x="3" y="454"/>
                  </a:lnTo>
                  <a:lnTo>
                    <a:pt x="2" y="477"/>
                  </a:lnTo>
                  <a:lnTo>
                    <a:pt x="1" y="501"/>
                  </a:lnTo>
                  <a:lnTo>
                    <a:pt x="0" y="524"/>
                  </a:lnTo>
                  <a:lnTo>
                    <a:pt x="0" y="540"/>
                  </a:lnTo>
                  <a:lnTo>
                    <a:pt x="1" y="555"/>
                  </a:lnTo>
                  <a:lnTo>
                    <a:pt x="2" y="570"/>
                  </a:lnTo>
                  <a:lnTo>
                    <a:pt x="4" y="585"/>
                  </a:lnTo>
                  <a:lnTo>
                    <a:pt x="7" y="599"/>
                  </a:lnTo>
                  <a:lnTo>
                    <a:pt x="9" y="613"/>
                  </a:lnTo>
                  <a:lnTo>
                    <a:pt x="13" y="626"/>
                  </a:lnTo>
                  <a:lnTo>
                    <a:pt x="17" y="639"/>
                  </a:lnTo>
                  <a:lnTo>
                    <a:pt x="21" y="652"/>
                  </a:lnTo>
                  <a:lnTo>
                    <a:pt x="26" y="664"/>
                  </a:lnTo>
                  <a:lnTo>
                    <a:pt x="32" y="676"/>
                  </a:lnTo>
                  <a:lnTo>
                    <a:pt x="37" y="687"/>
                  </a:lnTo>
                  <a:lnTo>
                    <a:pt x="44" y="698"/>
                  </a:lnTo>
                  <a:lnTo>
                    <a:pt x="51" y="709"/>
                  </a:lnTo>
                  <a:lnTo>
                    <a:pt x="58" y="720"/>
                  </a:lnTo>
                  <a:lnTo>
                    <a:pt x="67" y="729"/>
                  </a:lnTo>
                  <a:lnTo>
                    <a:pt x="75" y="738"/>
                  </a:lnTo>
                  <a:lnTo>
                    <a:pt x="84" y="747"/>
                  </a:lnTo>
                  <a:lnTo>
                    <a:pt x="94" y="755"/>
                  </a:lnTo>
                  <a:lnTo>
                    <a:pt x="104" y="762"/>
                  </a:lnTo>
                  <a:lnTo>
                    <a:pt x="114" y="769"/>
                  </a:lnTo>
                  <a:lnTo>
                    <a:pt x="126" y="775"/>
                  </a:lnTo>
                  <a:lnTo>
                    <a:pt x="137" y="781"/>
                  </a:lnTo>
                  <a:lnTo>
                    <a:pt x="149" y="786"/>
                  </a:lnTo>
                  <a:lnTo>
                    <a:pt x="162" y="791"/>
                  </a:lnTo>
                  <a:lnTo>
                    <a:pt x="175" y="795"/>
                  </a:lnTo>
                  <a:lnTo>
                    <a:pt x="189" y="799"/>
                  </a:lnTo>
                  <a:lnTo>
                    <a:pt x="203" y="801"/>
                  </a:lnTo>
                  <a:lnTo>
                    <a:pt x="219" y="804"/>
                  </a:lnTo>
                  <a:lnTo>
                    <a:pt x="234" y="805"/>
                  </a:lnTo>
                  <a:lnTo>
                    <a:pt x="250" y="806"/>
                  </a:lnTo>
                  <a:lnTo>
                    <a:pt x="266" y="806"/>
                  </a:lnTo>
                  <a:lnTo>
                    <a:pt x="293" y="806"/>
                  </a:lnTo>
                  <a:lnTo>
                    <a:pt x="318" y="803"/>
                  </a:lnTo>
                  <a:lnTo>
                    <a:pt x="343" y="799"/>
                  </a:lnTo>
                  <a:lnTo>
                    <a:pt x="366" y="794"/>
                  </a:lnTo>
                  <a:lnTo>
                    <a:pt x="388" y="787"/>
                  </a:lnTo>
                  <a:lnTo>
                    <a:pt x="409" y="779"/>
                  </a:lnTo>
                  <a:lnTo>
                    <a:pt x="430" y="769"/>
                  </a:lnTo>
                  <a:lnTo>
                    <a:pt x="449" y="759"/>
                  </a:lnTo>
                  <a:lnTo>
                    <a:pt x="467" y="747"/>
                  </a:lnTo>
                  <a:lnTo>
                    <a:pt x="484" y="734"/>
                  </a:lnTo>
                  <a:lnTo>
                    <a:pt x="501" y="720"/>
                  </a:lnTo>
                  <a:lnTo>
                    <a:pt x="517" y="703"/>
                  </a:lnTo>
                  <a:lnTo>
                    <a:pt x="531" y="687"/>
                  </a:lnTo>
                  <a:lnTo>
                    <a:pt x="544" y="670"/>
                  </a:lnTo>
                  <a:lnTo>
                    <a:pt x="557" y="652"/>
                  </a:lnTo>
                  <a:lnTo>
                    <a:pt x="569" y="634"/>
                  </a:lnTo>
                  <a:lnTo>
                    <a:pt x="580" y="614"/>
                  </a:lnTo>
                  <a:lnTo>
                    <a:pt x="590" y="594"/>
                  </a:lnTo>
                  <a:lnTo>
                    <a:pt x="599" y="574"/>
                  </a:lnTo>
                  <a:lnTo>
                    <a:pt x="607" y="552"/>
                  </a:lnTo>
                  <a:lnTo>
                    <a:pt x="615" y="531"/>
                  </a:lnTo>
                  <a:lnTo>
                    <a:pt x="622" y="509"/>
                  </a:lnTo>
                  <a:lnTo>
                    <a:pt x="628" y="486"/>
                  </a:lnTo>
                  <a:lnTo>
                    <a:pt x="634" y="463"/>
                  </a:lnTo>
                  <a:lnTo>
                    <a:pt x="638" y="440"/>
                  </a:lnTo>
                  <a:lnTo>
                    <a:pt x="642" y="416"/>
                  </a:lnTo>
                  <a:lnTo>
                    <a:pt x="646" y="392"/>
                  </a:lnTo>
                  <a:lnTo>
                    <a:pt x="648" y="368"/>
                  </a:lnTo>
                  <a:lnTo>
                    <a:pt x="650" y="345"/>
                  </a:lnTo>
                  <a:lnTo>
                    <a:pt x="652" y="321"/>
                  </a:lnTo>
                  <a:lnTo>
                    <a:pt x="653" y="298"/>
                  </a:lnTo>
                  <a:lnTo>
                    <a:pt x="653" y="274"/>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36" name="Freeform 23"/>
            <p:cNvSpPr>
              <a:spLocks/>
            </p:cNvSpPr>
            <p:nvPr userDrawn="1">
              <p:custDataLst>
                <p:tags r:id="rId22"/>
              </p:custDataLst>
            </p:nvPr>
          </p:nvSpPr>
          <p:spPr bwMode="gray">
            <a:xfrm>
              <a:off x="1795463" y="3751263"/>
              <a:ext cx="109537" cy="169862"/>
            </a:xfrm>
            <a:custGeom>
              <a:avLst/>
              <a:gdLst/>
              <a:ahLst/>
              <a:cxnLst>
                <a:cxn ang="0">
                  <a:pos x="501" y="120"/>
                </a:cxn>
                <a:cxn ang="0">
                  <a:pos x="479" y="121"/>
                </a:cxn>
                <a:cxn ang="0">
                  <a:pos x="459" y="123"/>
                </a:cxn>
                <a:cxn ang="0">
                  <a:pos x="439" y="125"/>
                </a:cxn>
                <a:cxn ang="0">
                  <a:pos x="421" y="129"/>
                </a:cxn>
                <a:cxn ang="0">
                  <a:pos x="403" y="134"/>
                </a:cxn>
                <a:cxn ang="0">
                  <a:pos x="386" y="139"/>
                </a:cxn>
                <a:cxn ang="0">
                  <a:pos x="370" y="146"/>
                </a:cxn>
                <a:cxn ang="0">
                  <a:pos x="355" y="153"/>
                </a:cxn>
                <a:cxn ang="0">
                  <a:pos x="340" y="163"/>
                </a:cxn>
                <a:cxn ang="0">
                  <a:pos x="326" y="172"/>
                </a:cxn>
                <a:cxn ang="0">
                  <a:pos x="313" y="182"/>
                </a:cxn>
                <a:cxn ang="0">
                  <a:pos x="301" y="192"/>
                </a:cxn>
                <a:cxn ang="0">
                  <a:pos x="290" y="203"/>
                </a:cxn>
                <a:cxn ang="0">
                  <a:pos x="279" y="215"/>
                </a:cxn>
                <a:cxn ang="0">
                  <a:pos x="269" y="228"/>
                </a:cxn>
                <a:cxn ang="0">
                  <a:pos x="260" y="241"/>
                </a:cxn>
                <a:cxn ang="0">
                  <a:pos x="251" y="255"/>
                </a:cxn>
                <a:cxn ang="0">
                  <a:pos x="242" y="269"/>
                </a:cxn>
                <a:cxn ang="0">
                  <a:pos x="234" y="283"/>
                </a:cxn>
                <a:cxn ang="0">
                  <a:pos x="227" y="298"/>
                </a:cxn>
                <a:cxn ang="0">
                  <a:pos x="220" y="314"/>
                </a:cxn>
                <a:cxn ang="0">
                  <a:pos x="214" y="330"/>
                </a:cxn>
                <a:cxn ang="0">
                  <a:pos x="208" y="346"/>
                </a:cxn>
                <a:cxn ang="0">
                  <a:pos x="202" y="362"/>
                </a:cxn>
                <a:cxn ang="0">
                  <a:pos x="192" y="396"/>
                </a:cxn>
                <a:cxn ang="0">
                  <a:pos x="184" y="430"/>
                </a:cxn>
                <a:cxn ang="0">
                  <a:pos x="177" y="465"/>
                </a:cxn>
                <a:cxn ang="0">
                  <a:pos x="170" y="500"/>
                </a:cxn>
                <a:cxn ang="0">
                  <a:pos x="114" y="790"/>
                </a:cxn>
                <a:cxn ang="0">
                  <a:pos x="0" y="790"/>
                </a:cxn>
                <a:cxn ang="0">
                  <a:pos x="146" y="16"/>
                </a:cxn>
                <a:cxn ang="0">
                  <a:pos x="259" y="16"/>
                </a:cxn>
                <a:cxn ang="0">
                  <a:pos x="234" y="170"/>
                </a:cxn>
                <a:cxn ang="0">
                  <a:pos x="245" y="147"/>
                </a:cxn>
                <a:cxn ang="0">
                  <a:pos x="257" y="127"/>
                </a:cxn>
                <a:cxn ang="0">
                  <a:pos x="270" y="108"/>
                </a:cxn>
                <a:cxn ang="0">
                  <a:pos x="284" y="91"/>
                </a:cxn>
                <a:cxn ang="0">
                  <a:pos x="299" y="76"/>
                </a:cxn>
                <a:cxn ang="0">
                  <a:pos x="314" y="62"/>
                </a:cxn>
                <a:cxn ang="0">
                  <a:pos x="331" y="50"/>
                </a:cxn>
                <a:cxn ang="0">
                  <a:pos x="349" y="39"/>
                </a:cxn>
                <a:cxn ang="0">
                  <a:pos x="367" y="30"/>
                </a:cxn>
                <a:cxn ang="0">
                  <a:pos x="386" y="22"/>
                </a:cxn>
                <a:cxn ang="0">
                  <a:pos x="406" y="15"/>
                </a:cxn>
                <a:cxn ang="0">
                  <a:pos x="426" y="9"/>
                </a:cxn>
                <a:cxn ang="0">
                  <a:pos x="448" y="5"/>
                </a:cxn>
                <a:cxn ang="0">
                  <a:pos x="470" y="2"/>
                </a:cxn>
                <a:cxn ang="0">
                  <a:pos x="493" y="0"/>
                </a:cxn>
                <a:cxn ang="0">
                  <a:pos x="517" y="0"/>
                </a:cxn>
                <a:cxn ang="0">
                  <a:pos x="501" y="120"/>
                </a:cxn>
              </a:cxnLst>
              <a:rect l="0" t="0" r="r" b="b"/>
              <a:pathLst>
                <a:path w="517" h="790">
                  <a:moveTo>
                    <a:pt x="501" y="120"/>
                  </a:moveTo>
                  <a:lnTo>
                    <a:pt x="479" y="121"/>
                  </a:lnTo>
                  <a:lnTo>
                    <a:pt x="459" y="123"/>
                  </a:lnTo>
                  <a:lnTo>
                    <a:pt x="439" y="125"/>
                  </a:lnTo>
                  <a:lnTo>
                    <a:pt x="421" y="129"/>
                  </a:lnTo>
                  <a:lnTo>
                    <a:pt x="403" y="134"/>
                  </a:lnTo>
                  <a:lnTo>
                    <a:pt x="386" y="139"/>
                  </a:lnTo>
                  <a:lnTo>
                    <a:pt x="370" y="146"/>
                  </a:lnTo>
                  <a:lnTo>
                    <a:pt x="355" y="153"/>
                  </a:lnTo>
                  <a:lnTo>
                    <a:pt x="340" y="163"/>
                  </a:lnTo>
                  <a:lnTo>
                    <a:pt x="326" y="172"/>
                  </a:lnTo>
                  <a:lnTo>
                    <a:pt x="313" y="182"/>
                  </a:lnTo>
                  <a:lnTo>
                    <a:pt x="301" y="192"/>
                  </a:lnTo>
                  <a:lnTo>
                    <a:pt x="290" y="203"/>
                  </a:lnTo>
                  <a:lnTo>
                    <a:pt x="279" y="215"/>
                  </a:lnTo>
                  <a:lnTo>
                    <a:pt x="269" y="228"/>
                  </a:lnTo>
                  <a:lnTo>
                    <a:pt x="260" y="241"/>
                  </a:lnTo>
                  <a:lnTo>
                    <a:pt x="251" y="255"/>
                  </a:lnTo>
                  <a:lnTo>
                    <a:pt x="242" y="269"/>
                  </a:lnTo>
                  <a:lnTo>
                    <a:pt x="234" y="283"/>
                  </a:lnTo>
                  <a:lnTo>
                    <a:pt x="227" y="298"/>
                  </a:lnTo>
                  <a:lnTo>
                    <a:pt x="220" y="314"/>
                  </a:lnTo>
                  <a:lnTo>
                    <a:pt x="214" y="330"/>
                  </a:lnTo>
                  <a:lnTo>
                    <a:pt x="208" y="346"/>
                  </a:lnTo>
                  <a:lnTo>
                    <a:pt x="202" y="362"/>
                  </a:lnTo>
                  <a:lnTo>
                    <a:pt x="192" y="396"/>
                  </a:lnTo>
                  <a:lnTo>
                    <a:pt x="184" y="430"/>
                  </a:lnTo>
                  <a:lnTo>
                    <a:pt x="177" y="465"/>
                  </a:lnTo>
                  <a:lnTo>
                    <a:pt x="170" y="500"/>
                  </a:lnTo>
                  <a:lnTo>
                    <a:pt x="114" y="790"/>
                  </a:lnTo>
                  <a:lnTo>
                    <a:pt x="0" y="790"/>
                  </a:lnTo>
                  <a:lnTo>
                    <a:pt x="146" y="16"/>
                  </a:lnTo>
                  <a:lnTo>
                    <a:pt x="259" y="16"/>
                  </a:lnTo>
                  <a:lnTo>
                    <a:pt x="234" y="170"/>
                  </a:lnTo>
                  <a:lnTo>
                    <a:pt x="245" y="147"/>
                  </a:lnTo>
                  <a:lnTo>
                    <a:pt x="257" y="127"/>
                  </a:lnTo>
                  <a:lnTo>
                    <a:pt x="270" y="108"/>
                  </a:lnTo>
                  <a:lnTo>
                    <a:pt x="284" y="91"/>
                  </a:lnTo>
                  <a:lnTo>
                    <a:pt x="299" y="76"/>
                  </a:lnTo>
                  <a:lnTo>
                    <a:pt x="314" y="62"/>
                  </a:lnTo>
                  <a:lnTo>
                    <a:pt x="331" y="50"/>
                  </a:lnTo>
                  <a:lnTo>
                    <a:pt x="349" y="39"/>
                  </a:lnTo>
                  <a:lnTo>
                    <a:pt x="367" y="30"/>
                  </a:lnTo>
                  <a:lnTo>
                    <a:pt x="386" y="22"/>
                  </a:lnTo>
                  <a:lnTo>
                    <a:pt x="406" y="15"/>
                  </a:lnTo>
                  <a:lnTo>
                    <a:pt x="426" y="9"/>
                  </a:lnTo>
                  <a:lnTo>
                    <a:pt x="448" y="5"/>
                  </a:lnTo>
                  <a:lnTo>
                    <a:pt x="470" y="2"/>
                  </a:lnTo>
                  <a:lnTo>
                    <a:pt x="493" y="0"/>
                  </a:lnTo>
                  <a:lnTo>
                    <a:pt x="517" y="0"/>
                  </a:lnTo>
                  <a:lnTo>
                    <a:pt x="501" y="120"/>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37" name="Freeform 24"/>
            <p:cNvSpPr>
              <a:spLocks/>
            </p:cNvSpPr>
            <p:nvPr userDrawn="1">
              <p:custDataLst>
                <p:tags r:id="rId23"/>
              </p:custDataLst>
            </p:nvPr>
          </p:nvSpPr>
          <p:spPr bwMode="gray">
            <a:xfrm>
              <a:off x="1895475" y="3751263"/>
              <a:ext cx="227013" cy="169862"/>
            </a:xfrm>
            <a:custGeom>
              <a:avLst/>
              <a:gdLst/>
              <a:ahLst/>
              <a:cxnLst>
                <a:cxn ang="0">
                  <a:pos x="831" y="790"/>
                </a:cxn>
                <a:cxn ang="0">
                  <a:pos x="931" y="263"/>
                </a:cxn>
                <a:cxn ang="0">
                  <a:pos x="935" y="217"/>
                </a:cxn>
                <a:cxn ang="0">
                  <a:pos x="934" y="184"/>
                </a:cxn>
                <a:cxn ang="0">
                  <a:pos x="927" y="157"/>
                </a:cxn>
                <a:cxn ang="0">
                  <a:pos x="914" y="134"/>
                </a:cxn>
                <a:cxn ang="0">
                  <a:pos x="895" y="117"/>
                </a:cxn>
                <a:cxn ang="0">
                  <a:pos x="873" y="106"/>
                </a:cxn>
                <a:cxn ang="0">
                  <a:pos x="840" y="105"/>
                </a:cxn>
                <a:cxn ang="0">
                  <a:pos x="796" y="117"/>
                </a:cxn>
                <a:cxn ang="0">
                  <a:pos x="757" y="141"/>
                </a:cxn>
                <a:cxn ang="0">
                  <a:pos x="722" y="176"/>
                </a:cxn>
                <a:cxn ang="0">
                  <a:pos x="690" y="218"/>
                </a:cxn>
                <a:cxn ang="0">
                  <a:pos x="663" y="266"/>
                </a:cxn>
                <a:cxn ang="0">
                  <a:pos x="621" y="369"/>
                </a:cxn>
                <a:cxn ang="0">
                  <a:pos x="593" y="469"/>
                </a:cxn>
                <a:cxn ang="0">
                  <a:pos x="533" y="790"/>
                </a:cxn>
                <a:cxn ang="0">
                  <a:pos x="515" y="299"/>
                </a:cxn>
                <a:cxn ang="0">
                  <a:pos x="523" y="233"/>
                </a:cxn>
                <a:cxn ang="0">
                  <a:pos x="524" y="193"/>
                </a:cxn>
                <a:cxn ang="0">
                  <a:pos x="519" y="166"/>
                </a:cxn>
                <a:cxn ang="0">
                  <a:pos x="507" y="142"/>
                </a:cxn>
                <a:cxn ang="0">
                  <a:pos x="489" y="122"/>
                </a:cxn>
                <a:cxn ang="0">
                  <a:pos x="465" y="109"/>
                </a:cxn>
                <a:cxn ang="0">
                  <a:pos x="436" y="104"/>
                </a:cxn>
                <a:cxn ang="0">
                  <a:pos x="392" y="112"/>
                </a:cxn>
                <a:cxn ang="0">
                  <a:pos x="353" y="132"/>
                </a:cxn>
                <a:cxn ang="0">
                  <a:pos x="318" y="164"/>
                </a:cxn>
                <a:cxn ang="0">
                  <a:pos x="287" y="204"/>
                </a:cxn>
                <a:cxn ang="0">
                  <a:pos x="260" y="250"/>
                </a:cxn>
                <a:cxn ang="0">
                  <a:pos x="222" y="335"/>
                </a:cxn>
                <a:cxn ang="0">
                  <a:pos x="190" y="437"/>
                </a:cxn>
                <a:cxn ang="0">
                  <a:pos x="170" y="524"/>
                </a:cxn>
                <a:cxn ang="0">
                  <a:pos x="154" y="16"/>
                </a:cxn>
                <a:cxn ang="0">
                  <a:pos x="235" y="178"/>
                </a:cxn>
                <a:cxn ang="0">
                  <a:pos x="271" y="122"/>
                </a:cxn>
                <a:cxn ang="0">
                  <a:pos x="310" y="75"/>
                </a:cxn>
                <a:cxn ang="0">
                  <a:pos x="354" y="38"/>
                </a:cxn>
                <a:cxn ang="0">
                  <a:pos x="406" y="13"/>
                </a:cxn>
                <a:cxn ang="0">
                  <a:pos x="469" y="1"/>
                </a:cxn>
                <a:cxn ang="0">
                  <a:pos x="529" y="3"/>
                </a:cxn>
                <a:cxn ang="0">
                  <a:pos x="572" y="21"/>
                </a:cxn>
                <a:cxn ang="0">
                  <a:pos x="604" y="51"/>
                </a:cxn>
                <a:cxn ang="0">
                  <a:pos x="625" y="90"/>
                </a:cxn>
                <a:cxn ang="0">
                  <a:pos x="635" y="136"/>
                </a:cxn>
                <a:cxn ang="0">
                  <a:pos x="645" y="170"/>
                </a:cxn>
                <a:cxn ang="0">
                  <a:pos x="682" y="117"/>
                </a:cxn>
                <a:cxn ang="0">
                  <a:pos x="722" y="73"/>
                </a:cxn>
                <a:cxn ang="0">
                  <a:pos x="768" y="37"/>
                </a:cxn>
                <a:cxn ang="0">
                  <a:pos x="822" y="13"/>
                </a:cxn>
                <a:cxn ang="0">
                  <a:pos x="887" y="1"/>
                </a:cxn>
                <a:cxn ang="0">
                  <a:pos x="943" y="3"/>
                </a:cxn>
                <a:cxn ang="0">
                  <a:pos x="985" y="19"/>
                </a:cxn>
                <a:cxn ang="0">
                  <a:pos x="1018" y="47"/>
                </a:cxn>
                <a:cxn ang="0">
                  <a:pos x="1041" y="84"/>
                </a:cxn>
                <a:cxn ang="0">
                  <a:pos x="1055" y="128"/>
                </a:cxn>
                <a:cxn ang="0">
                  <a:pos x="1057" y="179"/>
                </a:cxn>
                <a:cxn ang="0">
                  <a:pos x="1052" y="229"/>
                </a:cxn>
              </a:cxnLst>
              <a:rect l="0" t="0" r="r" b="b"/>
              <a:pathLst>
                <a:path w="1057" h="790">
                  <a:moveTo>
                    <a:pt x="1041" y="290"/>
                  </a:moveTo>
                  <a:lnTo>
                    <a:pt x="944" y="790"/>
                  </a:lnTo>
                  <a:lnTo>
                    <a:pt x="831" y="790"/>
                  </a:lnTo>
                  <a:lnTo>
                    <a:pt x="920" y="330"/>
                  </a:lnTo>
                  <a:lnTo>
                    <a:pt x="925" y="296"/>
                  </a:lnTo>
                  <a:lnTo>
                    <a:pt x="931" y="263"/>
                  </a:lnTo>
                  <a:lnTo>
                    <a:pt x="933" y="247"/>
                  </a:lnTo>
                  <a:lnTo>
                    <a:pt x="934" y="232"/>
                  </a:lnTo>
                  <a:lnTo>
                    <a:pt x="935" y="217"/>
                  </a:lnTo>
                  <a:lnTo>
                    <a:pt x="936" y="202"/>
                  </a:lnTo>
                  <a:lnTo>
                    <a:pt x="935" y="193"/>
                  </a:lnTo>
                  <a:lnTo>
                    <a:pt x="934" y="184"/>
                  </a:lnTo>
                  <a:lnTo>
                    <a:pt x="932" y="175"/>
                  </a:lnTo>
                  <a:lnTo>
                    <a:pt x="930" y="166"/>
                  </a:lnTo>
                  <a:lnTo>
                    <a:pt x="927" y="157"/>
                  </a:lnTo>
                  <a:lnTo>
                    <a:pt x="923" y="149"/>
                  </a:lnTo>
                  <a:lnTo>
                    <a:pt x="919" y="142"/>
                  </a:lnTo>
                  <a:lnTo>
                    <a:pt x="914" y="134"/>
                  </a:lnTo>
                  <a:lnTo>
                    <a:pt x="908" y="128"/>
                  </a:lnTo>
                  <a:lnTo>
                    <a:pt x="902" y="122"/>
                  </a:lnTo>
                  <a:lnTo>
                    <a:pt x="895" y="117"/>
                  </a:lnTo>
                  <a:lnTo>
                    <a:pt x="888" y="113"/>
                  </a:lnTo>
                  <a:lnTo>
                    <a:pt x="881" y="109"/>
                  </a:lnTo>
                  <a:lnTo>
                    <a:pt x="873" y="106"/>
                  </a:lnTo>
                  <a:lnTo>
                    <a:pt x="864" y="105"/>
                  </a:lnTo>
                  <a:lnTo>
                    <a:pt x="855" y="104"/>
                  </a:lnTo>
                  <a:lnTo>
                    <a:pt x="840" y="105"/>
                  </a:lnTo>
                  <a:lnTo>
                    <a:pt x="825" y="108"/>
                  </a:lnTo>
                  <a:lnTo>
                    <a:pt x="810" y="112"/>
                  </a:lnTo>
                  <a:lnTo>
                    <a:pt x="796" y="117"/>
                  </a:lnTo>
                  <a:lnTo>
                    <a:pt x="782" y="124"/>
                  </a:lnTo>
                  <a:lnTo>
                    <a:pt x="769" y="132"/>
                  </a:lnTo>
                  <a:lnTo>
                    <a:pt x="757" y="141"/>
                  </a:lnTo>
                  <a:lnTo>
                    <a:pt x="745" y="152"/>
                  </a:lnTo>
                  <a:lnTo>
                    <a:pt x="733" y="164"/>
                  </a:lnTo>
                  <a:lnTo>
                    <a:pt x="722" y="176"/>
                  </a:lnTo>
                  <a:lnTo>
                    <a:pt x="711" y="190"/>
                  </a:lnTo>
                  <a:lnTo>
                    <a:pt x="700" y="204"/>
                  </a:lnTo>
                  <a:lnTo>
                    <a:pt x="690" y="218"/>
                  </a:lnTo>
                  <a:lnTo>
                    <a:pt x="681" y="234"/>
                  </a:lnTo>
                  <a:lnTo>
                    <a:pt x="672" y="250"/>
                  </a:lnTo>
                  <a:lnTo>
                    <a:pt x="663" y="266"/>
                  </a:lnTo>
                  <a:lnTo>
                    <a:pt x="648" y="300"/>
                  </a:lnTo>
                  <a:lnTo>
                    <a:pt x="634" y="335"/>
                  </a:lnTo>
                  <a:lnTo>
                    <a:pt x="621" y="369"/>
                  </a:lnTo>
                  <a:lnTo>
                    <a:pt x="610" y="404"/>
                  </a:lnTo>
                  <a:lnTo>
                    <a:pt x="601" y="437"/>
                  </a:lnTo>
                  <a:lnTo>
                    <a:pt x="593" y="469"/>
                  </a:lnTo>
                  <a:lnTo>
                    <a:pt x="586" y="498"/>
                  </a:lnTo>
                  <a:lnTo>
                    <a:pt x="581" y="524"/>
                  </a:lnTo>
                  <a:lnTo>
                    <a:pt x="533" y="790"/>
                  </a:lnTo>
                  <a:lnTo>
                    <a:pt x="419" y="790"/>
                  </a:lnTo>
                  <a:lnTo>
                    <a:pt x="509" y="330"/>
                  </a:lnTo>
                  <a:lnTo>
                    <a:pt x="515" y="299"/>
                  </a:lnTo>
                  <a:lnTo>
                    <a:pt x="520" y="266"/>
                  </a:lnTo>
                  <a:lnTo>
                    <a:pt x="522" y="250"/>
                  </a:lnTo>
                  <a:lnTo>
                    <a:pt x="523" y="233"/>
                  </a:lnTo>
                  <a:lnTo>
                    <a:pt x="524" y="217"/>
                  </a:lnTo>
                  <a:lnTo>
                    <a:pt x="525" y="202"/>
                  </a:lnTo>
                  <a:lnTo>
                    <a:pt x="524" y="193"/>
                  </a:lnTo>
                  <a:lnTo>
                    <a:pt x="523" y="184"/>
                  </a:lnTo>
                  <a:lnTo>
                    <a:pt x="521" y="175"/>
                  </a:lnTo>
                  <a:lnTo>
                    <a:pt x="519" y="166"/>
                  </a:lnTo>
                  <a:lnTo>
                    <a:pt x="516" y="157"/>
                  </a:lnTo>
                  <a:lnTo>
                    <a:pt x="512" y="149"/>
                  </a:lnTo>
                  <a:lnTo>
                    <a:pt x="507" y="142"/>
                  </a:lnTo>
                  <a:lnTo>
                    <a:pt x="502" y="134"/>
                  </a:lnTo>
                  <a:lnTo>
                    <a:pt x="496" y="128"/>
                  </a:lnTo>
                  <a:lnTo>
                    <a:pt x="489" y="122"/>
                  </a:lnTo>
                  <a:lnTo>
                    <a:pt x="482" y="117"/>
                  </a:lnTo>
                  <a:lnTo>
                    <a:pt x="474" y="113"/>
                  </a:lnTo>
                  <a:lnTo>
                    <a:pt x="465" y="109"/>
                  </a:lnTo>
                  <a:lnTo>
                    <a:pt x="456" y="106"/>
                  </a:lnTo>
                  <a:lnTo>
                    <a:pt x="447" y="105"/>
                  </a:lnTo>
                  <a:lnTo>
                    <a:pt x="436" y="104"/>
                  </a:lnTo>
                  <a:lnTo>
                    <a:pt x="421" y="105"/>
                  </a:lnTo>
                  <a:lnTo>
                    <a:pt x="406" y="108"/>
                  </a:lnTo>
                  <a:lnTo>
                    <a:pt x="392" y="112"/>
                  </a:lnTo>
                  <a:lnTo>
                    <a:pt x="379" y="117"/>
                  </a:lnTo>
                  <a:lnTo>
                    <a:pt x="366" y="124"/>
                  </a:lnTo>
                  <a:lnTo>
                    <a:pt x="353" y="132"/>
                  </a:lnTo>
                  <a:lnTo>
                    <a:pt x="341" y="141"/>
                  </a:lnTo>
                  <a:lnTo>
                    <a:pt x="330" y="152"/>
                  </a:lnTo>
                  <a:lnTo>
                    <a:pt x="318" y="164"/>
                  </a:lnTo>
                  <a:lnTo>
                    <a:pt x="308" y="176"/>
                  </a:lnTo>
                  <a:lnTo>
                    <a:pt x="297" y="190"/>
                  </a:lnTo>
                  <a:lnTo>
                    <a:pt x="287" y="204"/>
                  </a:lnTo>
                  <a:lnTo>
                    <a:pt x="278" y="218"/>
                  </a:lnTo>
                  <a:lnTo>
                    <a:pt x="269" y="234"/>
                  </a:lnTo>
                  <a:lnTo>
                    <a:pt x="260" y="250"/>
                  </a:lnTo>
                  <a:lnTo>
                    <a:pt x="252" y="266"/>
                  </a:lnTo>
                  <a:lnTo>
                    <a:pt x="236" y="300"/>
                  </a:lnTo>
                  <a:lnTo>
                    <a:pt x="222" y="335"/>
                  </a:lnTo>
                  <a:lnTo>
                    <a:pt x="210" y="369"/>
                  </a:lnTo>
                  <a:lnTo>
                    <a:pt x="199" y="404"/>
                  </a:lnTo>
                  <a:lnTo>
                    <a:pt x="190" y="437"/>
                  </a:lnTo>
                  <a:lnTo>
                    <a:pt x="182" y="469"/>
                  </a:lnTo>
                  <a:lnTo>
                    <a:pt x="175" y="498"/>
                  </a:lnTo>
                  <a:lnTo>
                    <a:pt x="170" y="524"/>
                  </a:lnTo>
                  <a:lnTo>
                    <a:pt x="113" y="790"/>
                  </a:lnTo>
                  <a:lnTo>
                    <a:pt x="0" y="790"/>
                  </a:lnTo>
                  <a:lnTo>
                    <a:pt x="154" y="16"/>
                  </a:lnTo>
                  <a:lnTo>
                    <a:pt x="267" y="16"/>
                  </a:lnTo>
                  <a:lnTo>
                    <a:pt x="235" y="170"/>
                  </a:lnTo>
                  <a:lnTo>
                    <a:pt x="235" y="178"/>
                  </a:lnTo>
                  <a:lnTo>
                    <a:pt x="247" y="157"/>
                  </a:lnTo>
                  <a:lnTo>
                    <a:pt x="259" y="139"/>
                  </a:lnTo>
                  <a:lnTo>
                    <a:pt x="271" y="122"/>
                  </a:lnTo>
                  <a:lnTo>
                    <a:pt x="284" y="105"/>
                  </a:lnTo>
                  <a:lnTo>
                    <a:pt x="297" y="89"/>
                  </a:lnTo>
                  <a:lnTo>
                    <a:pt x="310" y="75"/>
                  </a:lnTo>
                  <a:lnTo>
                    <a:pt x="324" y="61"/>
                  </a:lnTo>
                  <a:lnTo>
                    <a:pt x="339" y="49"/>
                  </a:lnTo>
                  <a:lnTo>
                    <a:pt x="354" y="38"/>
                  </a:lnTo>
                  <a:lnTo>
                    <a:pt x="371" y="28"/>
                  </a:lnTo>
                  <a:lnTo>
                    <a:pt x="388" y="20"/>
                  </a:lnTo>
                  <a:lnTo>
                    <a:pt x="406" y="13"/>
                  </a:lnTo>
                  <a:lnTo>
                    <a:pt x="426" y="7"/>
                  </a:lnTo>
                  <a:lnTo>
                    <a:pt x="447" y="3"/>
                  </a:lnTo>
                  <a:lnTo>
                    <a:pt x="469" y="1"/>
                  </a:lnTo>
                  <a:lnTo>
                    <a:pt x="493" y="0"/>
                  </a:lnTo>
                  <a:lnTo>
                    <a:pt x="511" y="1"/>
                  </a:lnTo>
                  <a:lnTo>
                    <a:pt x="529" y="3"/>
                  </a:lnTo>
                  <a:lnTo>
                    <a:pt x="545" y="8"/>
                  </a:lnTo>
                  <a:lnTo>
                    <a:pt x="559" y="14"/>
                  </a:lnTo>
                  <a:lnTo>
                    <a:pt x="572" y="21"/>
                  </a:lnTo>
                  <a:lnTo>
                    <a:pt x="584" y="30"/>
                  </a:lnTo>
                  <a:lnTo>
                    <a:pt x="595" y="40"/>
                  </a:lnTo>
                  <a:lnTo>
                    <a:pt x="604" y="51"/>
                  </a:lnTo>
                  <a:lnTo>
                    <a:pt x="612" y="63"/>
                  </a:lnTo>
                  <a:lnTo>
                    <a:pt x="619" y="76"/>
                  </a:lnTo>
                  <a:lnTo>
                    <a:pt x="625" y="90"/>
                  </a:lnTo>
                  <a:lnTo>
                    <a:pt x="629" y="105"/>
                  </a:lnTo>
                  <a:lnTo>
                    <a:pt x="633" y="120"/>
                  </a:lnTo>
                  <a:lnTo>
                    <a:pt x="635" y="136"/>
                  </a:lnTo>
                  <a:lnTo>
                    <a:pt x="637" y="152"/>
                  </a:lnTo>
                  <a:lnTo>
                    <a:pt x="637" y="170"/>
                  </a:lnTo>
                  <a:lnTo>
                    <a:pt x="645" y="170"/>
                  </a:lnTo>
                  <a:lnTo>
                    <a:pt x="657" y="151"/>
                  </a:lnTo>
                  <a:lnTo>
                    <a:pt x="670" y="134"/>
                  </a:lnTo>
                  <a:lnTo>
                    <a:pt x="682" y="117"/>
                  </a:lnTo>
                  <a:lnTo>
                    <a:pt x="695" y="102"/>
                  </a:lnTo>
                  <a:lnTo>
                    <a:pt x="709" y="87"/>
                  </a:lnTo>
                  <a:lnTo>
                    <a:pt x="722" y="73"/>
                  </a:lnTo>
                  <a:lnTo>
                    <a:pt x="737" y="60"/>
                  </a:lnTo>
                  <a:lnTo>
                    <a:pt x="752" y="48"/>
                  </a:lnTo>
                  <a:lnTo>
                    <a:pt x="768" y="37"/>
                  </a:lnTo>
                  <a:lnTo>
                    <a:pt x="785" y="28"/>
                  </a:lnTo>
                  <a:lnTo>
                    <a:pt x="802" y="20"/>
                  </a:lnTo>
                  <a:lnTo>
                    <a:pt x="822" y="13"/>
                  </a:lnTo>
                  <a:lnTo>
                    <a:pt x="842" y="7"/>
                  </a:lnTo>
                  <a:lnTo>
                    <a:pt x="864" y="3"/>
                  </a:lnTo>
                  <a:lnTo>
                    <a:pt x="887" y="1"/>
                  </a:lnTo>
                  <a:lnTo>
                    <a:pt x="912" y="0"/>
                  </a:lnTo>
                  <a:lnTo>
                    <a:pt x="928" y="1"/>
                  </a:lnTo>
                  <a:lnTo>
                    <a:pt x="943" y="3"/>
                  </a:lnTo>
                  <a:lnTo>
                    <a:pt x="958" y="7"/>
                  </a:lnTo>
                  <a:lnTo>
                    <a:pt x="971" y="13"/>
                  </a:lnTo>
                  <a:lnTo>
                    <a:pt x="985" y="19"/>
                  </a:lnTo>
                  <a:lnTo>
                    <a:pt x="997" y="27"/>
                  </a:lnTo>
                  <a:lnTo>
                    <a:pt x="1008" y="37"/>
                  </a:lnTo>
                  <a:lnTo>
                    <a:pt x="1018" y="47"/>
                  </a:lnTo>
                  <a:lnTo>
                    <a:pt x="1027" y="59"/>
                  </a:lnTo>
                  <a:lnTo>
                    <a:pt x="1035" y="71"/>
                  </a:lnTo>
                  <a:lnTo>
                    <a:pt x="1041" y="84"/>
                  </a:lnTo>
                  <a:lnTo>
                    <a:pt x="1047" y="98"/>
                  </a:lnTo>
                  <a:lnTo>
                    <a:pt x="1051" y="113"/>
                  </a:lnTo>
                  <a:lnTo>
                    <a:pt x="1055" y="128"/>
                  </a:lnTo>
                  <a:lnTo>
                    <a:pt x="1057" y="144"/>
                  </a:lnTo>
                  <a:lnTo>
                    <a:pt x="1057" y="162"/>
                  </a:lnTo>
                  <a:lnTo>
                    <a:pt x="1057" y="179"/>
                  </a:lnTo>
                  <a:lnTo>
                    <a:pt x="1056" y="196"/>
                  </a:lnTo>
                  <a:lnTo>
                    <a:pt x="1054" y="213"/>
                  </a:lnTo>
                  <a:lnTo>
                    <a:pt x="1052" y="229"/>
                  </a:lnTo>
                  <a:lnTo>
                    <a:pt x="1047" y="260"/>
                  </a:lnTo>
                  <a:lnTo>
                    <a:pt x="1041" y="290"/>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38" name="Freeform 25"/>
            <p:cNvSpPr>
              <a:spLocks noEditPoints="1"/>
            </p:cNvSpPr>
            <p:nvPr userDrawn="1">
              <p:custDataLst>
                <p:tags r:id="rId24"/>
              </p:custDataLst>
            </p:nvPr>
          </p:nvSpPr>
          <p:spPr bwMode="gray">
            <a:xfrm>
              <a:off x="2141538" y="3751263"/>
              <a:ext cx="141287" cy="173037"/>
            </a:xfrm>
            <a:custGeom>
              <a:avLst/>
              <a:gdLst/>
              <a:ahLst/>
              <a:cxnLst>
                <a:cxn ang="0">
                  <a:pos x="481" y="355"/>
                </a:cxn>
                <a:cxn ang="0">
                  <a:pos x="464" y="455"/>
                </a:cxn>
                <a:cxn ang="0">
                  <a:pos x="443" y="523"/>
                </a:cxn>
                <a:cxn ang="0">
                  <a:pos x="423" y="571"/>
                </a:cxn>
                <a:cxn ang="0">
                  <a:pos x="399" y="615"/>
                </a:cxn>
                <a:cxn ang="0">
                  <a:pos x="368" y="653"/>
                </a:cxn>
                <a:cxn ang="0">
                  <a:pos x="334" y="683"/>
                </a:cxn>
                <a:cxn ang="0">
                  <a:pos x="294" y="702"/>
                </a:cxn>
                <a:cxn ang="0">
                  <a:pos x="250" y="709"/>
                </a:cxn>
                <a:cxn ang="0">
                  <a:pos x="221" y="706"/>
                </a:cxn>
                <a:cxn ang="0">
                  <a:pos x="197" y="699"/>
                </a:cxn>
                <a:cxn ang="0">
                  <a:pos x="177" y="687"/>
                </a:cxn>
                <a:cxn ang="0">
                  <a:pos x="162" y="672"/>
                </a:cxn>
                <a:cxn ang="0">
                  <a:pos x="142" y="633"/>
                </a:cxn>
                <a:cxn ang="0">
                  <a:pos x="132" y="587"/>
                </a:cxn>
                <a:cxn ang="0">
                  <a:pos x="130" y="498"/>
                </a:cxn>
                <a:cxn ang="0">
                  <a:pos x="140" y="401"/>
                </a:cxn>
                <a:cxn ang="0">
                  <a:pos x="165" y="293"/>
                </a:cxn>
                <a:cxn ang="0">
                  <a:pos x="191" y="224"/>
                </a:cxn>
                <a:cxn ang="0">
                  <a:pos x="215" y="178"/>
                </a:cxn>
                <a:cxn ang="0">
                  <a:pos x="244" y="138"/>
                </a:cxn>
                <a:cxn ang="0">
                  <a:pos x="278" y="109"/>
                </a:cxn>
                <a:cxn ang="0">
                  <a:pos x="317" y="92"/>
                </a:cxn>
                <a:cxn ang="0">
                  <a:pos x="356" y="89"/>
                </a:cxn>
                <a:cxn ang="0">
                  <a:pos x="382" y="94"/>
                </a:cxn>
                <a:cxn ang="0">
                  <a:pos x="406" y="104"/>
                </a:cxn>
                <a:cxn ang="0">
                  <a:pos x="425" y="119"/>
                </a:cxn>
                <a:cxn ang="0">
                  <a:pos x="446" y="145"/>
                </a:cxn>
                <a:cxn ang="0">
                  <a:pos x="468" y="193"/>
                </a:cxn>
                <a:cxn ang="0">
                  <a:pos x="480" y="246"/>
                </a:cxn>
                <a:cxn ang="0">
                  <a:pos x="484" y="298"/>
                </a:cxn>
                <a:cxn ang="0">
                  <a:pos x="524" y="136"/>
                </a:cxn>
                <a:cxn ang="0">
                  <a:pos x="505" y="94"/>
                </a:cxn>
                <a:cxn ang="0">
                  <a:pos x="478" y="58"/>
                </a:cxn>
                <a:cxn ang="0">
                  <a:pos x="443" y="30"/>
                </a:cxn>
                <a:cxn ang="0">
                  <a:pos x="402" y="10"/>
                </a:cxn>
                <a:cxn ang="0">
                  <a:pos x="354" y="1"/>
                </a:cxn>
                <a:cxn ang="0">
                  <a:pos x="295" y="4"/>
                </a:cxn>
                <a:cxn ang="0">
                  <a:pos x="235" y="23"/>
                </a:cxn>
                <a:cxn ang="0">
                  <a:pos x="184" y="56"/>
                </a:cxn>
                <a:cxn ang="0">
                  <a:pos x="139" y="100"/>
                </a:cxn>
                <a:cxn ang="0">
                  <a:pos x="100" y="154"/>
                </a:cxn>
                <a:cxn ang="0">
                  <a:pos x="68" y="216"/>
                </a:cxn>
                <a:cxn ang="0">
                  <a:pos x="43" y="281"/>
                </a:cxn>
                <a:cxn ang="0">
                  <a:pos x="24" y="348"/>
                </a:cxn>
                <a:cxn ang="0">
                  <a:pos x="10" y="415"/>
                </a:cxn>
                <a:cxn ang="0">
                  <a:pos x="2" y="481"/>
                </a:cxn>
                <a:cxn ang="0">
                  <a:pos x="0" y="540"/>
                </a:cxn>
                <a:cxn ang="0">
                  <a:pos x="6" y="613"/>
                </a:cxn>
                <a:cxn ang="0">
                  <a:pos x="25" y="681"/>
                </a:cxn>
                <a:cxn ang="0">
                  <a:pos x="41" y="712"/>
                </a:cxn>
                <a:cxn ang="0">
                  <a:pos x="60" y="740"/>
                </a:cxn>
                <a:cxn ang="0">
                  <a:pos x="84" y="764"/>
                </a:cxn>
                <a:cxn ang="0">
                  <a:pos x="111" y="783"/>
                </a:cxn>
                <a:cxn ang="0">
                  <a:pos x="145" y="797"/>
                </a:cxn>
                <a:cxn ang="0">
                  <a:pos x="182" y="805"/>
                </a:cxn>
                <a:cxn ang="0">
                  <a:pos x="229" y="806"/>
                </a:cxn>
                <a:cxn ang="0">
                  <a:pos x="279" y="796"/>
                </a:cxn>
                <a:cxn ang="0">
                  <a:pos x="322" y="776"/>
                </a:cxn>
                <a:cxn ang="0">
                  <a:pos x="359" y="747"/>
                </a:cxn>
                <a:cxn ang="0">
                  <a:pos x="390" y="707"/>
                </a:cxn>
                <a:cxn ang="0">
                  <a:pos x="419" y="661"/>
                </a:cxn>
                <a:cxn ang="0">
                  <a:pos x="516" y="790"/>
                </a:cxn>
              </a:cxnLst>
              <a:rect l="0" t="0" r="r" b="b"/>
              <a:pathLst>
                <a:path w="661" h="806">
                  <a:moveTo>
                    <a:pt x="484" y="298"/>
                  </a:moveTo>
                  <a:lnTo>
                    <a:pt x="483" y="325"/>
                  </a:lnTo>
                  <a:lnTo>
                    <a:pt x="481" y="355"/>
                  </a:lnTo>
                  <a:lnTo>
                    <a:pt x="477" y="387"/>
                  </a:lnTo>
                  <a:lnTo>
                    <a:pt x="471" y="420"/>
                  </a:lnTo>
                  <a:lnTo>
                    <a:pt x="464" y="455"/>
                  </a:lnTo>
                  <a:lnTo>
                    <a:pt x="454" y="489"/>
                  </a:lnTo>
                  <a:lnTo>
                    <a:pt x="449" y="506"/>
                  </a:lnTo>
                  <a:lnTo>
                    <a:pt x="443" y="523"/>
                  </a:lnTo>
                  <a:lnTo>
                    <a:pt x="437" y="539"/>
                  </a:lnTo>
                  <a:lnTo>
                    <a:pt x="431" y="555"/>
                  </a:lnTo>
                  <a:lnTo>
                    <a:pt x="423" y="571"/>
                  </a:lnTo>
                  <a:lnTo>
                    <a:pt x="416" y="587"/>
                  </a:lnTo>
                  <a:lnTo>
                    <a:pt x="407" y="601"/>
                  </a:lnTo>
                  <a:lnTo>
                    <a:pt x="399" y="615"/>
                  </a:lnTo>
                  <a:lnTo>
                    <a:pt x="388" y="629"/>
                  </a:lnTo>
                  <a:lnTo>
                    <a:pt x="378" y="642"/>
                  </a:lnTo>
                  <a:lnTo>
                    <a:pt x="368" y="653"/>
                  </a:lnTo>
                  <a:lnTo>
                    <a:pt x="357" y="664"/>
                  </a:lnTo>
                  <a:lnTo>
                    <a:pt x="346" y="674"/>
                  </a:lnTo>
                  <a:lnTo>
                    <a:pt x="334" y="683"/>
                  </a:lnTo>
                  <a:lnTo>
                    <a:pt x="321" y="691"/>
                  </a:lnTo>
                  <a:lnTo>
                    <a:pt x="308" y="697"/>
                  </a:lnTo>
                  <a:lnTo>
                    <a:pt x="294" y="702"/>
                  </a:lnTo>
                  <a:lnTo>
                    <a:pt x="280" y="706"/>
                  </a:lnTo>
                  <a:lnTo>
                    <a:pt x="265" y="708"/>
                  </a:lnTo>
                  <a:lnTo>
                    <a:pt x="250" y="709"/>
                  </a:lnTo>
                  <a:lnTo>
                    <a:pt x="239" y="709"/>
                  </a:lnTo>
                  <a:lnTo>
                    <a:pt x="230" y="708"/>
                  </a:lnTo>
                  <a:lnTo>
                    <a:pt x="221" y="706"/>
                  </a:lnTo>
                  <a:lnTo>
                    <a:pt x="212" y="704"/>
                  </a:lnTo>
                  <a:lnTo>
                    <a:pt x="204" y="702"/>
                  </a:lnTo>
                  <a:lnTo>
                    <a:pt x="197" y="699"/>
                  </a:lnTo>
                  <a:lnTo>
                    <a:pt x="190" y="695"/>
                  </a:lnTo>
                  <a:lnTo>
                    <a:pt x="183" y="691"/>
                  </a:lnTo>
                  <a:lnTo>
                    <a:pt x="177" y="687"/>
                  </a:lnTo>
                  <a:lnTo>
                    <a:pt x="172" y="682"/>
                  </a:lnTo>
                  <a:lnTo>
                    <a:pt x="167" y="677"/>
                  </a:lnTo>
                  <a:lnTo>
                    <a:pt x="162" y="672"/>
                  </a:lnTo>
                  <a:lnTo>
                    <a:pt x="154" y="660"/>
                  </a:lnTo>
                  <a:lnTo>
                    <a:pt x="147" y="647"/>
                  </a:lnTo>
                  <a:lnTo>
                    <a:pt x="142" y="633"/>
                  </a:lnTo>
                  <a:lnTo>
                    <a:pt x="138" y="618"/>
                  </a:lnTo>
                  <a:lnTo>
                    <a:pt x="134" y="603"/>
                  </a:lnTo>
                  <a:lnTo>
                    <a:pt x="132" y="587"/>
                  </a:lnTo>
                  <a:lnTo>
                    <a:pt x="130" y="555"/>
                  </a:lnTo>
                  <a:lnTo>
                    <a:pt x="129" y="524"/>
                  </a:lnTo>
                  <a:lnTo>
                    <a:pt x="130" y="498"/>
                  </a:lnTo>
                  <a:lnTo>
                    <a:pt x="132" y="469"/>
                  </a:lnTo>
                  <a:lnTo>
                    <a:pt x="135" y="435"/>
                  </a:lnTo>
                  <a:lnTo>
                    <a:pt x="140" y="401"/>
                  </a:lnTo>
                  <a:lnTo>
                    <a:pt x="147" y="366"/>
                  </a:lnTo>
                  <a:lnTo>
                    <a:pt x="155" y="329"/>
                  </a:lnTo>
                  <a:lnTo>
                    <a:pt x="165" y="293"/>
                  </a:lnTo>
                  <a:lnTo>
                    <a:pt x="177" y="258"/>
                  </a:lnTo>
                  <a:lnTo>
                    <a:pt x="184" y="241"/>
                  </a:lnTo>
                  <a:lnTo>
                    <a:pt x="191" y="224"/>
                  </a:lnTo>
                  <a:lnTo>
                    <a:pt x="199" y="208"/>
                  </a:lnTo>
                  <a:lnTo>
                    <a:pt x="207" y="193"/>
                  </a:lnTo>
                  <a:lnTo>
                    <a:pt x="215" y="178"/>
                  </a:lnTo>
                  <a:lnTo>
                    <a:pt x="225" y="164"/>
                  </a:lnTo>
                  <a:lnTo>
                    <a:pt x="234" y="150"/>
                  </a:lnTo>
                  <a:lnTo>
                    <a:pt x="244" y="138"/>
                  </a:lnTo>
                  <a:lnTo>
                    <a:pt x="255" y="127"/>
                  </a:lnTo>
                  <a:lnTo>
                    <a:pt x="266" y="117"/>
                  </a:lnTo>
                  <a:lnTo>
                    <a:pt x="278" y="109"/>
                  </a:lnTo>
                  <a:lnTo>
                    <a:pt x="291" y="102"/>
                  </a:lnTo>
                  <a:lnTo>
                    <a:pt x="304" y="96"/>
                  </a:lnTo>
                  <a:lnTo>
                    <a:pt x="317" y="92"/>
                  </a:lnTo>
                  <a:lnTo>
                    <a:pt x="331" y="89"/>
                  </a:lnTo>
                  <a:lnTo>
                    <a:pt x="346" y="88"/>
                  </a:lnTo>
                  <a:lnTo>
                    <a:pt x="356" y="89"/>
                  </a:lnTo>
                  <a:lnTo>
                    <a:pt x="365" y="90"/>
                  </a:lnTo>
                  <a:lnTo>
                    <a:pt x="374" y="91"/>
                  </a:lnTo>
                  <a:lnTo>
                    <a:pt x="382" y="94"/>
                  </a:lnTo>
                  <a:lnTo>
                    <a:pt x="390" y="97"/>
                  </a:lnTo>
                  <a:lnTo>
                    <a:pt x="397" y="100"/>
                  </a:lnTo>
                  <a:lnTo>
                    <a:pt x="406" y="104"/>
                  </a:lnTo>
                  <a:lnTo>
                    <a:pt x="413" y="108"/>
                  </a:lnTo>
                  <a:lnTo>
                    <a:pt x="419" y="114"/>
                  </a:lnTo>
                  <a:lnTo>
                    <a:pt x="425" y="119"/>
                  </a:lnTo>
                  <a:lnTo>
                    <a:pt x="431" y="125"/>
                  </a:lnTo>
                  <a:lnTo>
                    <a:pt x="436" y="131"/>
                  </a:lnTo>
                  <a:lnTo>
                    <a:pt x="446" y="145"/>
                  </a:lnTo>
                  <a:lnTo>
                    <a:pt x="455" y="161"/>
                  </a:lnTo>
                  <a:lnTo>
                    <a:pt x="462" y="177"/>
                  </a:lnTo>
                  <a:lnTo>
                    <a:pt x="468" y="193"/>
                  </a:lnTo>
                  <a:lnTo>
                    <a:pt x="473" y="211"/>
                  </a:lnTo>
                  <a:lnTo>
                    <a:pt x="477" y="228"/>
                  </a:lnTo>
                  <a:lnTo>
                    <a:pt x="480" y="246"/>
                  </a:lnTo>
                  <a:lnTo>
                    <a:pt x="482" y="264"/>
                  </a:lnTo>
                  <a:lnTo>
                    <a:pt x="483" y="281"/>
                  </a:lnTo>
                  <a:lnTo>
                    <a:pt x="484" y="298"/>
                  </a:lnTo>
                  <a:close/>
                  <a:moveTo>
                    <a:pt x="661" y="16"/>
                  </a:moveTo>
                  <a:lnTo>
                    <a:pt x="548" y="16"/>
                  </a:lnTo>
                  <a:lnTo>
                    <a:pt x="524" y="136"/>
                  </a:lnTo>
                  <a:lnTo>
                    <a:pt x="519" y="122"/>
                  </a:lnTo>
                  <a:lnTo>
                    <a:pt x="513" y="108"/>
                  </a:lnTo>
                  <a:lnTo>
                    <a:pt x="505" y="94"/>
                  </a:lnTo>
                  <a:lnTo>
                    <a:pt x="497" y="81"/>
                  </a:lnTo>
                  <a:lnTo>
                    <a:pt x="488" y="69"/>
                  </a:lnTo>
                  <a:lnTo>
                    <a:pt x="478" y="58"/>
                  </a:lnTo>
                  <a:lnTo>
                    <a:pt x="467" y="48"/>
                  </a:lnTo>
                  <a:lnTo>
                    <a:pt x="456" y="38"/>
                  </a:lnTo>
                  <a:lnTo>
                    <a:pt x="443" y="30"/>
                  </a:lnTo>
                  <a:lnTo>
                    <a:pt x="430" y="22"/>
                  </a:lnTo>
                  <a:lnTo>
                    <a:pt x="416" y="15"/>
                  </a:lnTo>
                  <a:lnTo>
                    <a:pt x="402" y="10"/>
                  </a:lnTo>
                  <a:lnTo>
                    <a:pt x="386" y="6"/>
                  </a:lnTo>
                  <a:lnTo>
                    <a:pt x="370" y="2"/>
                  </a:lnTo>
                  <a:lnTo>
                    <a:pt x="354" y="1"/>
                  </a:lnTo>
                  <a:lnTo>
                    <a:pt x="338" y="0"/>
                  </a:lnTo>
                  <a:lnTo>
                    <a:pt x="316" y="1"/>
                  </a:lnTo>
                  <a:lnTo>
                    <a:pt x="295" y="4"/>
                  </a:lnTo>
                  <a:lnTo>
                    <a:pt x="274" y="8"/>
                  </a:lnTo>
                  <a:lnTo>
                    <a:pt x="254" y="15"/>
                  </a:lnTo>
                  <a:lnTo>
                    <a:pt x="235" y="23"/>
                  </a:lnTo>
                  <a:lnTo>
                    <a:pt x="217" y="32"/>
                  </a:lnTo>
                  <a:lnTo>
                    <a:pt x="200" y="43"/>
                  </a:lnTo>
                  <a:lnTo>
                    <a:pt x="184" y="56"/>
                  </a:lnTo>
                  <a:lnTo>
                    <a:pt x="168" y="69"/>
                  </a:lnTo>
                  <a:lnTo>
                    <a:pt x="153" y="84"/>
                  </a:lnTo>
                  <a:lnTo>
                    <a:pt x="139" y="100"/>
                  </a:lnTo>
                  <a:lnTo>
                    <a:pt x="125" y="117"/>
                  </a:lnTo>
                  <a:lnTo>
                    <a:pt x="112" y="135"/>
                  </a:lnTo>
                  <a:lnTo>
                    <a:pt x="100" y="154"/>
                  </a:lnTo>
                  <a:lnTo>
                    <a:pt x="88" y="175"/>
                  </a:lnTo>
                  <a:lnTo>
                    <a:pt x="78" y="195"/>
                  </a:lnTo>
                  <a:lnTo>
                    <a:pt x="68" y="216"/>
                  </a:lnTo>
                  <a:lnTo>
                    <a:pt x="59" y="237"/>
                  </a:lnTo>
                  <a:lnTo>
                    <a:pt x="51" y="259"/>
                  </a:lnTo>
                  <a:lnTo>
                    <a:pt x="43" y="281"/>
                  </a:lnTo>
                  <a:lnTo>
                    <a:pt x="36" y="303"/>
                  </a:lnTo>
                  <a:lnTo>
                    <a:pt x="29" y="325"/>
                  </a:lnTo>
                  <a:lnTo>
                    <a:pt x="24" y="348"/>
                  </a:lnTo>
                  <a:lnTo>
                    <a:pt x="18" y="370"/>
                  </a:lnTo>
                  <a:lnTo>
                    <a:pt x="14" y="393"/>
                  </a:lnTo>
                  <a:lnTo>
                    <a:pt x="10" y="415"/>
                  </a:lnTo>
                  <a:lnTo>
                    <a:pt x="7" y="437"/>
                  </a:lnTo>
                  <a:lnTo>
                    <a:pt x="4" y="460"/>
                  </a:lnTo>
                  <a:lnTo>
                    <a:pt x="2" y="481"/>
                  </a:lnTo>
                  <a:lnTo>
                    <a:pt x="1" y="501"/>
                  </a:lnTo>
                  <a:lnTo>
                    <a:pt x="0" y="521"/>
                  </a:lnTo>
                  <a:lnTo>
                    <a:pt x="0" y="540"/>
                  </a:lnTo>
                  <a:lnTo>
                    <a:pt x="0" y="564"/>
                  </a:lnTo>
                  <a:lnTo>
                    <a:pt x="2" y="589"/>
                  </a:lnTo>
                  <a:lnTo>
                    <a:pt x="6" y="613"/>
                  </a:lnTo>
                  <a:lnTo>
                    <a:pt x="11" y="636"/>
                  </a:lnTo>
                  <a:lnTo>
                    <a:pt x="17" y="659"/>
                  </a:lnTo>
                  <a:lnTo>
                    <a:pt x="25" y="681"/>
                  </a:lnTo>
                  <a:lnTo>
                    <a:pt x="30" y="691"/>
                  </a:lnTo>
                  <a:lnTo>
                    <a:pt x="35" y="702"/>
                  </a:lnTo>
                  <a:lnTo>
                    <a:pt x="41" y="712"/>
                  </a:lnTo>
                  <a:lnTo>
                    <a:pt x="47" y="722"/>
                  </a:lnTo>
                  <a:lnTo>
                    <a:pt x="53" y="731"/>
                  </a:lnTo>
                  <a:lnTo>
                    <a:pt x="60" y="740"/>
                  </a:lnTo>
                  <a:lnTo>
                    <a:pt x="67" y="749"/>
                  </a:lnTo>
                  <a:lnTo>
                    <a:pt x="75" y="757"/>
                  </a:lnTo>
                  <a:lnTo>
                    <a:pt x="84" y="764"/>
                  </a:lnTo>
                  <a:lnTo>
                    <a:pt x="92" y="771"/>
                  </a:lnTo>
                  <a:lnTo>
                    <a:pt x="102" y="777"/>
                  </a:lnTo>
                  <a:lnTo>
                    <a:pt x="111" y="783"/>
                  </a:lnTo>
                  <a:lnTo>
                    <a:pt x="123" y="788"/>
                  </a:lnTo>
                  <a:lnTo>
                    <a:pt x="134" y="793"/>
                  </a:lnTo>
                  <a:lnTo>
                    <a:pt x="145" y="797"/>
                  </a:lnTo>
                  <a:lnTo>
                    <a:pt x="157" y="800"/>
                  </a:lnTo>
                  <a:lnTo>
                    <a:pt x="169" y="803"/>
                  </a:lnTo>
                  <a:lnTo>
                    <a:pt x="182" y="805"/>
                  </a:lnTo>
                  <a:lnTo>
                    <a:pt x="195" y="806"/>
                  </a:lnTo>
                  <a:lnTo>
                    <a:pt x="210" y="806"/>
                  </a:lnTo>
                  <a:lnTo>
                    <a:pt x="229" y="806"/>
                  </a:lnTo>
                  <a:lnTo>
                    <a:pt x="246" y="804"/>
                  </a:lnTo>
                  <a:lnTo>
                    <a:pt x="263" y="801"/>
                  </a:lnTo>
                  <a:lnTo>
                    <a:pt x="279" y="796"/>
                  </a:lnTo>
                  <a:lnTo>
                    <a:pt x="295" y="791"/>
                  </a:lnTo>
                  <a:lnTo>
                    <a:pt x="309" y="784"/>
                  </a:lnTo>
                  <a:lnTo>
                    <a:pt x="322" y="776"/>
                  </a:lnTo>
                  <a:lnTo>
                    <a:pt x="335" y="767"/>
                  </a:lnTo>
                  <a:lnTo>
                    <a:pt x="347" y="757"/>
                  </a:lnTo>
                  <a:lnTo>
                    <a:pt x="359" y="747"/>
                  </a:lnTo>
                  <a:lnTo>
                    <a:pt x="370" y="735"/>
                  </a:lnTo>
                  <a:lnTo>
                    <a:pt x="380" y="722"/>
                  </a:lnTo>
                  <a:lnTo>
                    <a:pt x="390" y="707"/>
                  </a:lnTo>
                  <a:lnTo>
                    <a:pt x="401" y="692"/>
                  </a:lnTo>
                  <a:lnTo>
                    <a:pt x="410" y="677"/>
                  </a:lnTo>
                  <a:lnTo>
                    <a:pt x="419" y="661"/>
                  </a:lnTo>
                  <a:lnTo>
                    <a:pt x="428" y="661"/>
                  </a:lnTo>
                  <a:lnTo>
                    <a:pt x="403" y="790"/>
                  </a:lnTo>
                  <a:lnTo>
                    <a:pt x="516" y="790"/>
                  </a:lnTo>
                  <a:lnTo>
                    <a:pt x="661" y="16"/>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39" name="Freeform 26"/>
            <p:cNvSpPr>
              <a:spLocks/>
            </p:cNvSpPr>
            <p:nvPr userDrawn="1">
              <p:custDataLst>
                <p:tags r:id="rId25"/>
              </p:custDataLst>
            </p:nvPr>
          </p:nvSpPr>
          <p:spPr bwMode="gray">
            <a:xfrm>
              <a:off x="2289175" y="3751263"/>
              <a:ext cx="142875" cy="169862"/>
            </a:xfrm>
            <a:custGeom>
              <a:avLst/>
              <a:gdLst/>
              <a:ahLst/>
              <a:cxnLst>
                <a:cxn ang="0">
                  <a:pos x="547" y="790"/>
                </a:cxn>
                <a:cxn ang="0">
                  <a:pos x="523" y="330"/>
                </a:cxn>
                <a:cxn ang="0">
                  <a:pos x="534" y="263"/>
                </a:cxn>
                <a:cxn ang="0">
                  <a:pos x="538" y="232"/>
                </a:cxn>
                <a:cxn ang="0">
                  <a:pos x="539" y="202"/>
                </a:cxn>
                <a:cxn ang="0">
                  <a:pos x="538" y="182"/>
                </a:cxn>
                <a:cxn ang="0">
                  <a:pos x="533" y="163"/>
                </a:cxn>
                <a:cxn ang="0">
                  <a:pos x="526" y="146"/>
                </a:cxn>
                <a:cxn ang="0">
                  <a:pos x="516" y="131"/>
                </a:cxn>
                <a:cxn ang="0">
                  <a:pos x="503" y="120"/>
                </a:cxn>
                <a:cxn ang="0">
                  <a:pos x="488" y="111"/>
                </a:cxn>
                <a:cxn ang="0">
                  <a:pos x="471" y="106"/>
                </a:cxn>
                <a:cxn ang="0">
                  <a:pos x="451" y="104"/>
                </a:cxn>
                <a:cxn ang="0">
                  <a:pos x="418" y="108"/>
                </a:cxn>
                <a:cxn ang="0">
                  <a:pos x="388" y="117"/>
                </a:cxn>
                <a:cxn ang="0">
                  <a:pos x="360" y="132"/>
                </a:cxn>
                <a:cxn ang="0">
                  <a:pos x="334" y="152"/>
                </a:cxn>
                <a:cxn ang="0">
                  <a:pos x="310" y="176"/>
                </a:cxn>
                <a:cxn ang="0">
                  <a:pos x="288" y="204"/>
                </a:cxn>
                <a:cxn ang="0">
                  <a:pos x="266" y="234"/>
                </a:cxn>
                <a:cxn ang="0">
                  <a:pos x="248" y="266"/>
                </a:cxn>
                <a:cxn ang="0">
                  <a:pos x="216" y="335"/>
                </a:cxn>
                <a:cxn ang="0">
                  <a:pos x="191" y="404"/>
                </a:cxn>
                <a:cxn ang="0">
                  <a:pos x="172" y="469"/>
                </a:cxn>
                <a:cxn ang="0">
                  <a:pos x="160" y="524"/>
                </a:cxn>
                <a:cxn ang="0">
                  <a:pos x="0" y="790"/>
                </a:cxn>
                <a:cxn ang="0">
                  <a:pos x="257" y="16"/>
                </a:cxn>
                <a:cxn ang="0">
                  <a:pos x="233" y="178"/>
                </a:cxn>
                <a:cxn ang="0">
                  <a:pos x="260" y="139"/>
                </a:cxn>
                <a:cxn ang="0">
                  <a:pos x="288" y="105"/>
                </a:cxn>
                <a:cxn ang="0">
                  <a:pos x="316" y="75"/>
                </a:cxn>
                <a:cxn ang="0">
                  <a:pos x="346" y="49"/>
                </a:cxn>
                <a:cxn ang="0">
                  <a:pos x="379" y="28"/>
                </a:cxn>
                <a:cxn ang="0">
                  <a:pos x="417" y="13"/>
                </a:cxn>
                <a:cxn ang="0">
                  <a:pos x="459" y="3"/>
                </a:cxn>
                <a:cxn ang="0">
                  <a:pos x="507" y="0"/>
                </a:cxn>
                <a:cxn ang="0">
                  <a:pos x="541" y="3"/>
                </a:cxn>
                <a:cxn ang="0">
                  <a:pos x="572" y="14"/>
                </a:cxn>
                <a:cxn ang="0">
                  <a:pos x="599" y="30"/>
                </a:cxn>
                <a:cxn ang="0">
                  <a:pos x="620" y="51"/>
                </a:cxn>
                <a:cxn ang="0">
                  <a:pos x="638" y="76"/>
                </a:cxn>
                <a:cxn ang="0">
                  <a:pos x="650" y="105"/>
                </a:cxn>
                <a:cxn ang="0">
                  <a:pos x="658" y="136"/>
                </a:cxn>
                <a:cxn ang="0">
                  <a:pos x="661" y="170"/>
                </a:cxn>
                <a:cxn ang="0">
                  <a:pos x="659" y="200"/>
                </a:cxn>
                <a:cxn ang="0">
                  <a:pos x="656" y="230"/>
                </a:cxn>
                <a:cxn ang="0">
                  <a:pos x="645" y="290"/>
                </a:cxn>
              </a:cxnLst>
              <a:rect l="0" t="0" r="r" b="b"/>
              <a:pathLst>
                <a:path w="661" h="790">
                  <a:moveTo>
                    <a:pt x="645" y="290"/>
                  </a:moveTo>
                  <a:lnTo>
                    <a:pt x="547" y="790"/>
                  </a:lnTo>
                  <a:lnTo>
                    <a:pt x="435" y="790"/>
                  </a:lnTo>
                  <a:lnTo>
                    <a:pt x="523" y="330"/>
                  </a:lnTo>
                  <a:lnTo>
                    <a:pt x="529" y="296"/>
                  </a:lnTo>
                  <a:lnTo>
                    <a:pt x="534" y="263"/>
                  </a:lnTo>
                  <a:lnTo>
                    <a:pt x="536" y="247"/>
                  </a:lnTo>
                  <a:lnTo>
                    <a:pt x="538" y="232"/>
                  </a:lnTo>
                  <a:lnTo>
                    <a:pt x="539" y="217"/>
                  </a:lnTo>
                  <a:lnTo>
                    <a:pt x="539" y="202"/>
                  </a:lnTo>
                  <a:lnTo>
                    <a:pt x="539" y="191"/>
                  </a:lnTo>
                  <a:lnTo>
                    <a:pt x="538" y="182"/>
                  </a:lnTo>
                  <a:lnTo>
                    <a:pt x="536" y="172"/>
                  </a:lnTo>
                  <a:lnTo>
                    <a:pt x="533" y="163"/>
                  </a:lnTo>
                  <a:lnTo>
                    <a:pt x="530" y="154"/>
                  </a:lnTo>
                  <a:lnTo>
                    <a:pt x="526" y="146"/>
                  </a:lnTo>
                  <a:lnTo>
                    <a:pt x="521" y="138"/>
                  </a:lnTo>
                  <a:lnTo>
                    <a:pt x="516" y="131"/>
                  </a:lnTo>
                  <a:lnTo>
                    <a:pt x="510" y="125"/>
                  </a:lnTo>
                  <a:lnTo>
                    <a:pt x="503" y="120"/>
                  </a:lnTo>
                  <a:lnTo>
                    <a:pt x="496" y="115"/>
                  </a:lnTo>
                  <a:lnTo>
                    <a:pt x="488" y="111"/>
                  </a:lnTo>
                  <a:lnTo>
                    <a:pt x="480" y="108"/>
                  </a:lnTo>
                  <a:lnTo>
                    <a:pt x="471" y="106"/>
                  </a:lnTo>
                  <a:lnTo>
                    <a:pt x="461" y="105"/>
                  </a:lnTo>
                  <a:lnTo>
                    <a:pt x="451" y="104"/>
                  </a:lnTo>
                  <a:lnTo>
                    <a:pt x="434" y="105"/>
                  </a:lnTo>
                  <a:lnTo>
                    <a:pt x="418" y="108"/>
                  </a:lnTo>
                  <a:lnTo>
                    <a:pt x="403" y="112"/>
                  </a:lnTo>
                  <a:lnTo>
                    <a:pt x="388" y="117"/>
                  </a:lnTo>
                  <a:lnTo>
                    <a:pt x="374" y="124"/>
                  </a:lnTo>
                  <a:lnTo>
                    <a:pt x="360" y="132"/>
                  </a:lnTo>
                  <a:lnTo>
                    <a:pt x="347" y="141"/>
                  </a:lnTo>
                  <a:lnTo>
                    <a:pt x="334" y="152"/>
                  </a:lnTo>
                  <a:lnTo>
                    <a:pt x="322" y="164"/>
                  </a:lnTo>
                  <a:lnTo>
                    <a:pt x="310" y="176"/>
                  </a:lnTo>
                  <a:lnTo>
                    <a:pt x="299" y="190"/>
                  </a:lnTo>
                  <a:lnTo>
                    <a:pt x="288" y="204"/>
                  </a:lnTo>
                  <a:lnTo>
                    <a:pt x="277" y="218"/>
                  </a:lnTo>
                  <a:lnTo>
                    <a:pt x="266" y="234"/>
                  </a:lnTo>
                  <a:lnTo>
                    <a:pt x="257" y="250"/>
                  </a:lnTo>
                  <a:lnTo>
                    <a:pt x="248" y="266"/>
                  </a:lnTo>
                  <a:lnTo>
                    <a:pt x="231" y="300"/>
                  </a:lnTo>
                  <a:lnTo>
                    <a:pt x="216" y="335"/>
                  </a:lnTo>
                  <a:lnTo>
                    <a:pt x="202" y="369"/>
                  </a:lnTo>
                  <a:lnTo>
                    <a:pt x="191" y="404"/>
                  </a:lnTo>
                  <a:lnTo>
                    <a:pt x="181" y="437"/>
                  </a:lnTo>
                  <a:lnTo>
                    <a:pt x="172" y="469"/>
                  </a:lnTo>
                  <a:lnTo>
                    <a:pt x="166" y="498"/>
                  </a:lnTo>
                  <a:lnTo>
                    <a:pt x="160" y="524"/>
                  </a:lnTo>
                  <a:lnTo>
                    <a:pt x="112" y="790"/>
                  </a:lnTo>
                  <a:lnTo>
                    <a:pt x="0" y="790"/>
                  </a:lnTo>
                  <a:lnTo>
                    <a:pt x="144" y="16"/>
                  </a:lnTo>
                  <a:lnTo>
                    <a:pt x="257" y="16"/>
                  </a:lnTo>
                  <a:lnTo>
                    <a:pt x="233" y="170"/>
                  </a:lnTo>
                  <a:lnTo>
                    <a:pt x="233" y="178"/>
                  </a:lnTo>
                  <a:lnTo>
                    <a:pt x="246" y="157"/>
                  </a:lnTo>
                  <a:lnTo>
                    <a:pt x="260" y="139"/>
                  </a:lnTo>
                  <a:lnTo>
                    <a:pt x="274" y="122"/>
                  </a:lnTo>
                  <a:lnTo>
                    <a:pt x="288" y="105"/>
                  </a:lnTo>
                  <a:lnTo>
                    <a:pt x="302" y="89"/>
                  </a:lnTo>
                  <a:lnTo>
                    <a:pt x="316" y="75"/>
                  </a:lnTo>
                  <a:lnTo>
                    <a:pt x="331" y="61"/>
                  </a:lnTo>
                  <a:lnTo>
                    <a:pt x="346" y="49"/>
                  </a:lnTo>
                  <a:lnTo>
                    <a:pt x="362" y="38"/>
                  </a:lnTo>
                  <a:lnTo>
                    <a:pt x="379" y="28"/>
                  </a:lnTo>
                  <a:lnTo>
                    <a:pt x="398" y="20"/>
                  </a:lnTo>
                  <a:lnTo>
                    <a:pt x="417" y="13"/>
                  </a:lnTo>
                  <a:lnTo>
                    <a:pt x="437" y="7"/>
                  </a:lnTo>
                  <a:lnTo>
                    <a:pt x="459" y="3"/>
                  </a:lnTo>
                  <a:lnTo>
                    <a:pt x="482" y="1"/>
                  </a:lnTo>
                  <a:lnTo>
                    <a:pt x="507" y="0"/>
                  </a:lnTo>
                  <a:lnTo>
                    <a:pt x="524" y="1"/>
                  </a:lnTo>
                  <a:lnTo>
                    <a:pt x="541" y="3"/>
                  </a:lnTo>
                  <a:lnTo>
                    <a:pt x="558" y="8"/>
                  </a:lnTo>
                  <a:lnTo>
                    <a:pt x="572" y="14"/>
                  </a:lnTo>
                  <a:lnTo>
                    <a:pt x="586" y="21"/>
                  </a:lnTo>
                  <a:lnTo>
                    <a:pt x="599" y="30"/>
                  </a:lnTo>
                  <a:lnTo>
                    <a:pt x="610" y="40"/>
                  </a:lnTo>
                  <a:lnTo>
                    <a:pt x="620" y="51"/>
                  </a:lnTo>
                  <a:lnTo>
                    <a:pt x="630" y="63"/>
                  </a:lnTo>
                  <a:lnTo>
                    <a:pt x="638" y="76"/>
                  </a:lnTo>
                  <a:lnTo>
                    <a:pt x="645" y="90"/>
                  </a:lnTo>
                  <a:lnTo>
                    <a:pt x="650" y="105"/>
                  </a:lnTo>
                  <a:lnTo>
                    <a:pt x="655" y="120"/>
                  </a:lnTo>
                  <a:lnTo>
                    <a:pt x="658" y="136"/>
                  </a:lnTo>
                  <a:lnTo>
                    <a:pt x="660" y="152"/>
                  </a:lnTo>
                  <a:lnTo>
                    <a:pt x="661" y="170"/>
                  </a:lnTo>
                  <a:lnTo>
                    <a:pt x="660" y="185"/>
                  </a:lnTo>
                  <a:lnTo>
                    <a:pt x="659" y="200"/>
                  </a:lnTo>
                  <a:lnTo>
                    <a:pt x="658" y="215"/>
                  </a:lnTo>
                  <a:lnTo>
                    <a:pt x="656" y="230"/>
                  </a:lnTo>
                  <a:lnTo>
                    <a:pt x="650" y="260"/>
                  </a:lnTo>
                  <a:lnTo>
                    <a:pt x="645" y="290"/>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40" name="Freeform 27"/>
            <p:cNvSpPr>
              <a:spLocks/>
            </p:cNvSpPr>
            <p:nvPr userDrawn="1">
              <p:custDataLst>
                <p:tags r:id="rId26"/>
              </p:custDataLst>
            </p:nvPr>
          </p:nvSpPr>
          <p:spPr bwMode="gray">
            <a:xfrm>
              <a:off x="2446338" y="3751263"/>
              <a:ext cx="133350" cy="173037"/>
            </a:xfrm>
            <a:custGeom>
              <a:avLst/>
              <a:gdLst/>
              <a:ahLst/>
              <a:cxnLst>
                <a:cxn ang="0">
                  <a:pos x="484" y="238"/>
                </a:cxn>
                <a:cxn ang="0">
                  <a:pos x="484" y="202"/>
                </a:cxn>
                <a:cxn ang="0">
                  <a:pos x="480" y="168"/>
                </a:cxn>
                <a:cxn ang="0">
                  <a:pos x="468" y="137"/>
                </a:cxn>
                <a:cxn ang="0">
                  <a:pos x="447" y="113"/>
                </a:cxn>
                <a:cxn ang="0">
                  <a:pos x="420" y="97"/>
                </a:cxn>
                <a:cxn ang="0">
                  <a:pos x="385" y="89"/>
                </a:cxn>
                <a:cxn ang="0">
                  <a:pos x="339" y="91"/>
                </a:cxn>
                <a:cxn ang="0">
                  <a:pos x="296" y="103"/>
                </a:cxn>
                <a:cxn ang="0">
                  <a:pos x="258" y="124"/>
                </a:cxn>
                <a:cxn ang="0">
                  <a:pos x="226" y="153"/>
                </a:cxn>
                <a:cxn ang="0">
                  <a:pos x="199" y="190"/>
                </a:cxn>
                <a:cxn ang="0">
                  <a:pos x="177" y="230"/>
                </a:cxn>
                <a:cxn ang="0">
                  <a:pos x="159" y="273"/>
                </a:cxn>
                <a:cxn ang="0">
                  <a:pos x="137" y="364"/>
                </a:cxn>
                <a:cxn ang="0">
                  <a:pos x="130" y="452"/>
                </a:cxn>
                <a:cxn ang="0">
                  <a:pos x="132" y="497"/>
                </a:cxn>
                <a:cxn ang="0">
                  <a:pos x="138" y="538"/>
                </a:cxn>
                <a:cxn ang="0">
                  <a:pos x="149" y="575"/>
                </a:cxn>
                <a:cxn ang="0">
                  <a:pos x="164" y="607"/>
                </a:cxn>
                <a:cxn ang="0">
                  <a:pos x="184" y="635"/>
                </a:cxn>
                <a:cxn ang="0">
                  <a:pos x="209" y="659"/>
                </a:cxn>
                <a:cxn ang="0">
                  <a:pos x="238" y="678"/>
                </a:cxn>
                <a:cxn ang="0">
                  <a:pos x="272" y="693"/>
                </a:cxn>
                <a:cxn ang="0">
                  <a:pos x="311" y="703"/>
                </a:cxn>
                <a:cxn ang="0">
                  <a:pos x="355" y="708"/>
                </a:cxn>
                <a:cxn ang="0">
                  <a:pos x="418" y="709"/>
                </a:cxn>
                <a:cxn ang="0">
                  <a:pos x="478" y="702"/>
                </a:cxn>
                <a:cxn ang="0">
                  <a:pos x="492" y="782"/>
                </a:cxn>
                <a:cxn ang="0">
                  <a:pos x="435" y="797"/>
                </a:cxn>
                <a:cxn ang="0">
                  <a:pos x="377" y="805"/>
                </a:cxn>
                <a:cxn ang="0">
                  <a:pos x="318" y="806"/>
                </a:cxn>
                <a:cxn ang="0">
                  <a:pos x="262" y="802"/>
                </a:cxn>
                <a:cxn ang="0">
                  <a:pos x="210" y="791"/>
                </a:cxn>
                <a:cxn ang="0">
                  <a:pos x="164" y="776"/>
                </a:cxn>
                <a:cxn ang="0">
                  <a:pos x="123" y="754"/>
                </a:cxn>
                <a:cxn ang="0">
                  <a:pos x="87" y="727"/>
                </a:cxn>
                <a:cxn ang="0">
                  <a:pos x="58" y="693"/>
                </a:cxn>
                <a:cxn ang="0">
                  <a:pos x="34" y="655"/>
                </a:cxn>
                <a:cxn ang="0">
                  <a:pos x="17" y="610"/>
                </a:cxn>
                <a:cxn ang="0">
                  <a:pos x="5" y="560"/>
                </a:cxn>
                <a:cxn ang="0">
                  <a:pos x="0" y="504"/>
                </a:cxn>
                <a:cxn ang="0">
                  <a:pos x="1" y="440"/>
                </a:cxn>
                <a:cxn ang="0">
                  <a:pos x="9" y="374"/>
                </a:cxn>
                <a:cxn ang="0">
                  <a:pos x="24" y="309"/>
                </a:cxn>
                <a:cxn ang="0">
                  <a:pos x="45" y="248"/>
                </a:cxn>
                <a:cxn ang="0">
                  <a:pos x="74" y="190"/>
                </a:cxn>
                <a:cxn ang="0">
                  <a:pos x="110" y="137"/>
                </a:cxn>
                <a:cxn ang="0">
                  <a:pos x="152" y="91"/>
                </a:cxn>
                <a:cxn ang="0">
                  <a:pos x="200" y="53"/>
                </a:cxn>
                <a:cxn ang="0">
                  <a:pos x="256" y="24"/>
                </a:cxn>
                <a:cxn ang="0">
                  <a:pos x="318" y="6"/>
                </a:cxn>
                <a:cxn ang="0">
                  <a:pos x="388" y="0"/>
                </a:cxn>
                <a:cxn ang="0">
                  <a:pos x="454" y="6"/>
                </a:cxn>
                <a:cxn ang="0">
                  <a:pos x="514" y="25"/>
                </a:cxn>
                <a:cxn ang="0">
                  <a:pos x="557" y="51"/>
                </a:cxn>
                <a:cxn ang="0">
                  <a:pos x="579" y="72"/>
                </a:cxn>
                <a:cxn ang="0">
                  <a:pos x="596" y="96"/>
                </a:cxn>
                <a:cxn ang="0">
                  <a:pos x="609" y="124"/>
                </a:cxn>
                <a:cxn ang="0">
                  <a:pos x="618" y="156"/>
                </a:cxn>
                <a:cxn ang="0">
                  <a:pos x="621" y="194"/>
                </a:cxn>
                <a:cxn ang="0">
                  <a:pos x="619" y="229"/>
                </a:cxn>
                <a:cxn ang="0">
                  <a:pos x="613" y="250"/>
                </a:cxn>
              </a:cxnLst>
              <a:rect l="0" t="0" r="r" b="b"/>
              <a:pathLst>
                <a:path w="621" h="806">
                  <a:moveTo>
                    <a:pt x="613" y="250"/>
                  </a:moveTo>
                  <a:lnTo>
                    <a:pt x="484" y="250"/>
                  </a:lnTo>
                  <a:lnTo>
                    <a:pt x="484" y="238"/>
                  </a:lnTo>
                  <a:lnTo>
                    <a:pt x="484" y="226"/>
                  </a:lnTo>
                  <a:lnTo>
                    <a:pt x="484" y="214"/>
                  </a:lnTo>
                  <a:lnTo>
                    <a:pt x="484" y="202"/>
                  </a:lnTo>
                  <a:lnTo>
                    <a:pt x="484" y="190"/>
                  </a:lnTo>
                  <a:lnTo>
                    <a:pt x="482" y="178"/>
                  </a:lnTo>
                  <a:lnTo>
                    <a:pt x="480" y="168"/>
                  </a:lnTo>
                  <a:lnTo>
                    <a:pt x="477" y="156"/>
                  </a:lnTo>
                  <a:lnTo>
                    <a:pt x="473" y="146"/>
                  </a:lnTo>
                  <a:lnTo>
                    <a:pt x="468" y="137"/>
                  </a:lnTo>
                  <a:lnTo>
                    <a:pt x="462" y="128"/>
                  </a:lnTo>
                  <a:lnTo>
                    <a:pt x="455" y="120"/>
                  </a:lnTo>
                  <a:lnTo>
                    <a:pt x="447" y="113"/>
                  </a:lnTo>
                  <a:lnTo>
                    <a:pt x="439" y="107"/>
                  </a:lnTo>
                  <a:lnTo>
                    <a:pt x="430" y="101"/>
                  </a:lnTo>
                  <a:lnTo>
                    <a:pt x="420" y="97"/>
                  </a:lnTo>
                  <a:lnTo>
                    <a:pt x="409" y="93"/>
                  </a:lnTo>
                  <a:lnTo>
                    <a:pt x="397" y="90"/>
                  </a:lnTo>
                  <a:lnTo>
                    <a:pt x="385" y="89"/>
                  </a:lnTo>
                  <a:lnTo>
                    <a:pt x="372" y="88"/>
                  </a:lnTo>
                  <a:lnTo>
                    <a:pt x="354" y="89"/>
                  </a:lnTo>
                  <a:lnTo>
                    <a:pt x="339" y="91"/>
                  </a:lnTo>
                  <a:lnTo>
                    <a:pt x="324" y="94"/>
                  </a:lnTo>
                  <a:lnTo>
                    <a:pt x="309" y="98"/>
                  </a:lnTo>
                  <a:lnTo>
                    <a:pt x="296" y="103"/>
                  </a:lnTo>
                  <a:lnTo>
                    <a:pt x="283" y="109"/>
                  </a:lnTo>
                  <a:lnTo>
                    <a:pt x="270" y="116"/>
                  </a:lnTo>
                  <a:lnTo>
                    <a:pt x="258" y="124"/>
                  </a:lnTo>
                  <a:lnTo>
                    <a:pt x="247" y="133"/>
                  </a:lnTo>
                  <a:lnTo>
                    <a:pt x="236" y="143"/>
                  </a:lnTo>
                  <a:lnTo>
                    <a:pt x="226" y="153"/>
                  </a:lnTo>
                  <a:lnTo>
                    <a:pt x="217" y="166"/>
                  </a:lnTo>
                  <a:lnTo>
                    <a:pt x="207" y="177"/>
                  </a:lnTo>
                  <a:lnTo>
                    <a:pt x="199" y="190"/>
                  </a:lnTo>
                  <a:lnTo>
                    <a:pt x="191" y="203"/>
                  </a:lnTo>
                  <a:lnTo>
                    <a:pt x="184" y="216"/>
                  </a:lnTo>
                  <a:lnTo>
                    <a:pt x="177" y="230"/>
                  </a:lnTo>
                  <a:lnTo>
                    <a:pt x="170" y="244"/>
                  </a:lnTo>
                  <a:lnTo>
                    <a:pt x="164" y="258"/>
                  </a:lnTo>
                  <a:lnTo>
                    <a:pt x="159" y="273"/>
                  </a:lnTo>
                  <a:lnTo>
                    <a:pt x="150" y="303"/>
                  </a:lnTo>
                  <a:lnTo>
                    <a:pt x="142" y="333"/>
                  </a:lnTo>
                  <a:lnTo>
                    <a:pt x="137" y="364"/>
                  </a:lnTo>
                  <a:lnTo>
                    <a:pt x="133" y="394"/>
                  </a:lnTo>
                  <a:lnTo>
                    <a:pt x="130" y="423"/>
                  </a:lnTo>
                  <a:lnTo>
                    <a:pt x="130" y="452"/>
                  </a:lnTo>
                  <a:lnTo>
                    <a:pt x="130" y="468"/>
                  </a:lnTo>
                  <a:lnTo>
                    <a:pt x="130" y="483"/>
                  </a:lnTo>
                  <a:lnTo>
                    <a:pt x="132" y="497"/>
                  </a:lnTo>
                  <a:lnTo>
                    <a:pt x="133" y="511"/>
                  </a:lnTo>
                  <a:lnTo>
                    <a:pt x="135" y="525"/>
                  </a:lnTo>
                  <a:lnTo>
                    <a:pt x="138" y="538"/>
                  </a:lnTo>
                  <a:lnTo>
                    <a:pt x="141" y="551"/>
                  </a:lnTo>
                  <a:lnTo>
                    <a:pt x="145" y="563"/>
                  </a:lnTo>
                  <a:lnTo>
                    <a:pt x="149" y="575"/>
                  </a:lnTo>
                  <a:lnTo>
                    <a:pt x="153" y="586"/>
                  </a:lnTo>
                  <a:lnTo>
                    <a:pt x="159" y="597"/>
                  </a:lnTo>
                  <a:lnTo>
                    <a:pt x="164" y="607"/>
                  </a:lnTo>
                  <a:lnTo>
                    <a:pt x="170" y="617"/>
                  </a:lnTo>
                  <a:lnTo>
                    <a:pt x="177" y="627"/>
                  </a:lnTo>
                  <a:lnTo>
                    <a:pt x="184" y="635"/>
                  </a:lnTo>
                  <a:lnTo>
                    <a:pt x="192" y="644"/>
                  </a:lnTo>
                  <a:lnTo>
                    <a:pt x="200" y="652"/>
                  </a:lnTo>
                  <a:lnTo>
                    <a:pt x="209" y="659"/>
                  </a:lnTo>
                  <a:lnTo>
                    <a:pt x="218" y="666"/>
                  </a:lnTo>
                  <a:lnTo>
                    <a:pt x="228" y="672"/>
                  </a:lnTo>
                  <a:lnTo>
                    <a:pt x="238" y="678"/>
                  </a:lnTo>
                  <a:lnTo>
                    <a:pt x="249" y="683"/>
                  </a:lnTo>
                  <a:lnTo>
                    <a:pt x="260" y="688"/>
                  </a:lnTo>
                  <a:lnTo>
                    <a:pt x="272" y="693"/>
                  </a:lnTo>
                  <a:lnTo>
                    <a:pt x="284" y="697"/>
                  </a:lnTo>
                  <a:lnTo>
                    <a:pt x="297" y="700"/>
                  </a:lnTo>
                  <a:lnTo>
                    <a:pt x="311" y="703"/>
                  </a:lnTo>
                  <a:lnTo>
                    <a:pt x="325" y="705"/>
                  </a:lnTo>
                  <a:lnTo>
                    <a:pt x="339" y="707"/>
                  </a:lnTo>
                  <a:lnTo>
                    <a:pt x="355" y="708"/>
                  </a:lnTo>
                  <a:lnTo>
                    <a:pt x="370" y="709"/>
                  </a:lnTo>
                  <a:lnTo>
                    <a:pt x="388" y="709"/>
                  </a:lnTo>
                  <a:lnTo>
                    <a:pt x="418" y="709"/>
                  </a:lnTo>
                  <a:lnTo>
                    <a:pt x="448" y="707"/>
                  </a:lnTo>
                  <a:lnTo>
                    <a:pt x="463" y="705"/>
                  </a:lnTo>
                  <a:lnTo>
                    <a:pt x="478" y="702"/>
                  </a:lnTo>
                  <a:lnTo>
                    <a:pt x="493" y="698"/>
                  </a:lnTo>
                  <a:lnTo>
                    <a:pt x="508" y="693"/>
                  </a:lnTo>
                  <a:lnTo>
                    <a:pt x="492" y="782"/>
                  </a:lnTo>
                  <a:lnTo>
                    <a:pt x="474" y="788"/>
                  </a:lnTo>
                  <a:lnTo>
                    <a:pt x="455" y="793"/>
                  </a:lnTo>
                  <a:lnTo>
                    <a:pt x="435" y="797"/>
                  </a:lnTo>
                  <a:lnTo>
                    <a:pt x="416" y="800"/>
                  </a:lnTo>
                  <a:lnTo>
                    <a:pt x="396" y="803"/>
                  </a:lnTo>
                  <a:lnTo>
                    <a:pt x="377" y="805"/>
                  </a:lnTo>
                  <a:lnTo>
                    <a:pt x="357" y="806"/>
                  </a:lnTo>
                  <a:lnTo>
                    <a:pt x="338" y="806"/>
                  </a:lnTo>
                  <a:lnTo>
                    <a:pt x="318" y="806"/>
                  </a:lnTo>
                  <a:lnTo>
                    <a:pt x="299" y="805"/>
                  </a:lnTo>
                  <a:lnTo>
                    <a:pt x="280" y="804"/>
                  </a:lnTo>
                  <a:lnTo>
                    <a:pt x="262" y="802"/>
                  </a:lnTo>
                  <a:lnTo>
                    <a:pt x="244" y="799"/>
                  </a:lnTo>
                  <a:lnTo>
                    <a:pt x="227" y="795"/>
                  </a:lnTo>
                  <a:lnTo>
                    <a:pt x="210" y="791"/>
                  </a:lnTo>
                  <a:lnTo>
                    <a:pt x="194" y="787"/>
                  </a:lnTo>
                  <a:lnTo>
                    <a:pt x="179" y="782"/>
                  </a:lnTo>
                  <a:lnTo>
                    <a:pt x="164" y="776"/>
                  </a:lnTo>
                  <a:lnTo>
                    <a:pt x="150" y="769"/>
                  </a:lnTo>
                  <a:lnTo>
                    <a:pt x="136" y="762"/>
                  </a:lnTo>
                  <a:lnTo>
                    <a:pt x="123" y="754"/>
                  </a:lnTo>
                  <a:lnTo>
                    <a:pt x="111" y="746"/>
                  </a:lnTo>
                  <a:lnTo>
                    <a:pt x="99" y="737"/>
                  </a:lnTo>
                  <a:lnTo>
                    <a:pt x="87" y="727"/>
                  </a:lnTo>
                  <a:lnTo>
                    <a:pt x="77" y="716"/>
                  </a:lnTo>
                  <a:lnTo>
                    <a:pt x="67" y="705"/>
                  </a:lnTo>
                  <a:lnTo>
                    <a:pt x="58" y="693"/>
                  </a:lnTo>
                  <a:lnTo>
                    <a:pt x="49" y="681"/>
                  </a:lnTo>
                  <a:lnTo>
                    <a:pt x="42" y="668"/>
                  </a:lnTo>
                  <a:lnTo>
                    <a:pt x="34" y="655"/>
                  </a:lnTo>
                  <a:lnTo>
                    <a:pt x="28" y="641"/>
                  </a:lnTo>
                  <a:lnTo>
                    <a:pt x="22" y="626"/>
                  </a:lnTo>
                  <a:lnTo>
                    <a:pt x="17" y="610"/>
                  </a:lnTo>
                  <a:lnTo>
                    <a:pt x="12" y="594"/>
                  </a:lnTo>
                  <a:lnTo>
                    <a:pt x="9" y="578"/>
                  </a:lnTo>
                  <a:lnTo>
                    <a:pt x="5" y="560"/>
                  </a:lnTo>
                  <a:lnTo>
                    <a:pt x="3" y="542"/>
                  </a:lnTo>
                  <a:lnTo>
                    <a:pt x="1" y="523"/>
                  </a:lnTo>
                  <a:lnTo>
                    <a:pt x="0" y="504"/>
                  </a:lnTo>
                  <a:lnTo>
                    <a:pt x="0" y="484"/>
                  </a:lnTo>
                  <a:lnTo>
                    <a:pt x="0" y="462"/>
                  </a:lnTo>
                  <a:lnTo>
                    <a:pt x="1" y="440"/>
                  </a:lnTo>
                  <a:lnTo>
                    <a:pt x="3" y="417"/>
                  </a:lnTo>
                  <a:lnTo>
                    <a:pt x="6" y="395"/>
                  </a:lnTo>
                  <a:lnTo>
                    <a:pt x="9" y="374"/>
                  </a:lnTo>
                  <a:lnTo>
                    <a:pt x="13" y="352"/>
                  </a:lnTo>
                  <a:lnTo>
                    <a:pt x="18" y="331"/>
                  </a:lnTo>
                  <a:lnTo>
                    <a:pt x="24" y="309"/>
                  </a:lnTo>
                  <a:lnTo>
                    <a:pt x="30" y="289"/>
                  </a:lnTo>
                  <a:lnTo>
                    <a:pt x="38" y="268"/>
                  </a:lnTo>
                  <a:lnTo>
                    <a:pt x="45" y="248"/>
                  </a:lnTo>
                  <a:lnTo>
                    <a:pt x="54" y="228"/>
                  </a:lnTo>
                  <a:lnTo>
                    <a:pt x="64" y="209"/>
                  </a:lnTo>
                  <a:lnTo>
                    <a:pt x="74" y="190"/>
                  </a:lnTo>
                  <a:lnTo>
                    <a:pt x="85" y="172"/>
                  </a:lnTo>
                  <a:lnTo>
                    <a:pt x="97" y="154"/>
                  </a:lnTo>
                  <a:lnTo>
                    <a:pt x="110" y="137"/>
                  </a:lnTo>
                  <a:lnTo>
                    <a:pt x="123" y="121"/>
                  </a:lnTo>
                  <a:lnTo>
                    <a:pt x="137" y="105"/>
                  </a:lnTo>
                  <a:lnTo>
                    <a:pt x="152" y="91"/>
                  </a:lnTo>
                  <a:lnTo>
                    <a:pt x="167" y="77"/>
                  </a:lnTo>
                  <a:lnTo>
                    <a:pt x="183" y="65"/>
                  </a:lnTo>
                  <a:lnTo>
                    <a:pt x="200" y="53"/>
                  </a:lnTo>
                  <a:lnTo>
                    <a:pt x="218" y="42"/>
                  </a:lnTo>
                  <a:lnTo>
                    <a:pt x="236" y="33"/>
                  </a:lnTo>
                  <a:lnTo>
                    <a:pt x="256" y="24"/>
                  </a:lnTo>
                  <a:lnTo>
                    <a:pt x="275" y="17"/>
                  </a:lnTo>
                  <a:lnTo>
                    <a:pt x="296" y="11"/>
                  </a:lnTo>
                  <a:lnTo>
                    <a:pt x="318" y="6"/>
                  </a:lnTo>
                  <a:lnTo>
                    <a:pt x="340" y="3"/>
                  </a:lnTo>
                  <a:lnTo>
                    <a:pt x="363" y="1"/>
                  </a:lnTo>
                  <a:lnTo>
                    <a:pt x="388" y="0"/>
                  </a:lnTo>
                  <a:lnTo>
                    <a:pt x="410" y="1"/>
                  </a:lnTo>
                  <a:lnTo>
                    <a:pt x="432" y="3"/>
                  </a:lnTo>
                  <a:lnTo>
                    <a:pt x="454" y="6"/>
                  </a:lnTo>
                  <a:lnTo>
                    <a:pt x="475" y="11"/>
                  </a:lnTo>
                  <a:lnTo>
                    <a:pt x="495" y="17"/>
                  </a:lnTo>
                  <a:lnTo>
                    <a:pt x="514" y="25"/>
                  </a:lnTo>
                  <a:lnTo>
                    <a:pt x="532" y="34"/>
                  </a:lnTo>
                  <a:lnTo>
                    <a:pt x="549" y="45"/>
                  </a:lnTo>
                  <a:lnTo>
                    <a:pt x="557" y="51"/>
                  </a:lnTo>
                  <a:lnTo>
                    <a:pt x="565" y="58"/>
                  </a:lnTo>
                  <a:lnTo>
                    <a:pt x="572" y="64"/>
                  </a:lnTo>
                  <a:lnTo>
                    <a:pt x="579" y="72"/>
                  </a:lnTo>
                  <a:lnTo>
                    <a:pt x="585" y="79"/>
                  </a:lnTo>
                  <a:lnTo>
                    <a:pt x="591" y="87"/>
                  </a:lnTo>
                  <a:lnTo>
                    <a:pt x="596" y="96"/>
                  </a:lnTo>
                  <a:lnTo>
                    <a:pt x="601" y="105"/>
                  </a:lnTo>
                  <a:lnTo>
                    <a:pt x="606" y="114"/>
                  </a:lnTo>
                  <a:lnTo>
                    <a:pt x="609" y="124"/>
                  </a:lnTo>
                  <a:lnTo>
                    <a:pt x="613" y="135"/>
                  </a:lnTo>
                  <a:lnTo>
                    <a:pt x="616" y="145"/>
                  </a:lnTo>
                  <a:lnTo>
                    <a:pt x="618" y="156"/>
                  </a:lnTo>
                  <a:lnTo>
                    <a:pt x="619" y="169"/>
                  </a:lnTo>
                  <a:lnTo>
                    <a:pt x="620" y="181"/>
                  </a:lnTo>
                  <a:lnTo>
                    <a:pt x="621" y="194"/>
                  </a:lnTo>
                  <a:lnTo>
                    <a:pt x="621" y="207"/>
                  </a:lnTo>
                  <a:lnTo>
                    <a:pt x="620" y="222"/>
                  </a:lnTo>
                  <a:lnTo>
                    <a:pt x="619" y="229"/>
                  </a:lnTo>
                  <a:lnTo>
                    <a:pt x="617" y="237"/>
                  </a:lnTo>
                  <a:lnTo>
                    <a:pt x="615" y="244"/>
                  </a:lnTo>
                  <a:lnTo>
                    <a:pt x="613" y="250"/>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41" name="Freeform 28"/>
            <p:cNvSpPr>
              <a:spLocks noEditPoints="1"/>
            </p:cNvSpPr>
            <p:nvPr userDrawn="1">
              <p:custDataLst>
                <p:tags r:id="rId27"/>
              </p:custDataLst>
            </p:nvPr>
          </p:nvSpPr>
          <p:spPr bwMode="gray">
            <a:xfrm>
              <a:off x="2586038" y="3751263"/>
              <a:ext cx="130175" cy="173037"/>
            </a:xfrm>
            <a:custGeom>
              <a:avLst/>
              <a:gdLst/>
              <a:ahLst/>
              <a:cxnLst>
                <a:cxn ang="0">
                  <a:pos x="491" y="229"/>
                </a:cxn>
                <a:cxn ang="0">
                  <a:pos x="487" y="239"/>
                </a:cxn>
                <a:cxn ang="0">
                  <a:pos x="169" y="226"/>
                </a:cxn>
                <a:cxn ang="0">
                  <a:pos x="195" y="181"/>
                </a:cxn>
                <a:cxn ang="0">
                  <a:pos x="226" y="142"/>
                </a:cxn>
                <a:cxn ang="0">
                  <a:pos x="263" y="113"/>
                </a:cxn>
                <a:cxn ang="0">
                  <a:pos x="309" y="95"/>
                </a:cxn>
                <a:cxn ang="0">
                  <a:pos x="363" y="88"/>
                </a:cxn>
                <a:cxn ang="0">
                  <a:pos x="402" y="93"/>
                </a:cxn>
                <a:cxn ang="0">
                  <a:pos x="436" y="107"/>
                </a:cxn>
                <a:cxn ang="0">
                  <a:pos x="463" y="130"/>
                </a:cxn>
                <a:cxn ang="0">
                  <a:pos x="482" y="159"/>
                </a:cxn>
                <a:cxn ang="0">
                  <a:pos x="491" y="197"/>
                </a:cxn>
                <a:cxn ang="0">
                  <a:pos x="605" y="205"/>
                </a:cxn>
                <a:cxn ang="0">
                  <a:pos x="601" y="169"/>
                </a:cxn>
                <a:cxn ang="0">
                  <a:pos x="591" y="136"/>
                </a:cxn>
                <a:cxn ang="0">
                  <a:pos x="577" y="106"/>
                </a:cxn>
                <a:cxn ang="0">
                  <a:pos x="558" y="80"/>
                </a:cxn>
                <a:cxn ang="0">
                  <a:pos x="535" y="57"/>
                </a:cxn>
                <a:cxn ang="0">
                  <a:pos x="509" y="38"/>
                </a:cxn>
                <a:cxn ang="0">
                  <a:pos x="459" y="15"/>
                </a:cxn>
                <a:cxn ang="0">
                  <a:pos x="389" y="1"/>
                </a:cxn>
                <a:cxn ang="0">
                  <a:pos x="317" y="3"/>
                </a:cxn>
                <a:cxn ang="0">
                  <a:pos x="253" y="18"/>
                </a:cxn>
                <a:cxn ang="0">
                  <a:pos x="197" y="44"/>
                </a:cxn>
                <a:cxn ang="0">
                  <a:pos x="149" y="79"/>
                </a:cxn>
                <a:cxn ang="0">
                  <a:pos x="108" y="123"/>
                </a:cxn>
                <a:cxn ang="0">
                  <a:pos x="74" y="175"/>
                </a:cxn>
                <a:cxn ang="0">
                  <a:pos x="47" y="232"/>
                </a:cxn>
                <a:cxn ang="0">
                  <a:pos x="27" y="292"/>
                </a:cxn>
                <a:cxn ang="0">
                  <a:pos x="12" y="355"/>
                </a:cxn>
                <a:cxn ang="0">
                  <a:pos x="3" y="419"/>
                </a:cxn>
                <a:cxn ang="0">
                  <a:pos x="0" y="484"/>
                </a:cxn>
                <a:cxn ang="0">
                  <a:pos x="3" y="542"/>
                </a:cxn>
                <a:cxn ang="0">
                  <a:pos x="12" y="594"/>
                </a:cxn>
                <a:cxn ang="0">
                  <a:pos x="27" y="641"/>
                </a:cxn>
                <a:cxn ang="0">
                  <a:pos x="47" y="681"/>
                </a:cxn>
                <a:cxn ang="0">
                  <a:pos x="73" y="716"/>
                </a:cxn>
                <a:cxn ang="0">
                  <a:pos x="105" y="746"/>
                </a:cxn>
                <a:cxn ang="0">
                  <a:pos x="142" y="769"/>
                </a:cxn>
                <a:cxn ang="0">
                  <a:pos x="184" y="787"/>
                </a:cxn>
                <a:cxn ang="0">
                  <a:pos x="231" y="799"/>
                </a:cxn>
                <a:cxn ang="0">
                  <a:pos x="284" y="805"/>
                </a:cxn>
                <a:cxn ang="0">
                  <a:pos x="344" y="806"/>
                </a:cxn>
                <a:cxn ang="0">
                  <a:pos x="407" y="800"/>
                </a:cxn>
                <a:cxn ang="0">
                  <a:pos x="465" y="788"/>
                </a:cxn>
                <a:cxn ang="0">
                  <a:pos x="477" y="699"/>
                </a:cxn>
                <a:cxn ang="0">
                  <a:pos x="411" y="708"/>
                </a:cxn>
                <a:cxn ang="0">
                  <a:pos x="363" y="709"/>
                </a:cxn>
                <a:cxn ang="0">
                  <a:pos x="318" y="705"/>
                </a:cxn>
                <a:cxn ang="0">
                  <a:pos x="277" y="697"/>
                </a:cxn>
                <a:cxn ang="0">
                  <a:pos x="242" y="685"/>
                </a:cxn>
                <a:cxn ang="0">
                  <a:pos x="213" y="668"/>
                </a:cxn>
                <a:cxn ang="0">
                  <a:pos x="188" y="647"/>
                </a:cxn>
                <a:cxn ang="0">
                  <a:pos x="167" y="621"/>
                </a:cxn>
                <a:cxn ang="0">
                  <a:pos x="151" y="590"/>
                </a:cxn>
                <a:cxn ang="0">
                  <a:pos x="140" y="554"/>
                </a:cxn>
                <a:cxn ang="0">
                  <a:pos x="133" y="514"/>
                </a:cxn>
                <a:cxn ang="0">
                  <a:pos x="130" y="436"/>
                </a:cxn>
                <a:cxn ang="0">
                  <a:pos x="134" y="391"/>
                </a:cxn>
                <a:cxn ang="0">
                  <a:pos x="589" y="330"/>
                </a:cxn>
                <a:cxn ang="0">
                  <a:pos x="602" y="263"/>
                </a:cxn>
                <a:cxn ang="0">
                  <a:pos x="605" y="218"/>
                </a:cxn>
              </a:cxnLst>
              <a:rect l="0" t="0" r="r" b="b"/>
              <a:pathLst>
                <a:path w="605" h="806">
                  <a:moveTo>
                    <a:pt x="492" y="210"/>
                  </a:moveTo>
                  <a:lnTo>
                    <a:pt x="492" y="221"/>
                  </a:lnTo>
                  <a:lnTo>
                    <a:pt x="491" y="229"/>
                  </a:lnTo>
                  <a:lnTo>
                    <a:pt x="490" y="233"/>
                  </a:lnTo>
                  <a:lnTo>
                    <a:pt x="489" y="236"/>
                  </a:lnTo>
                  <a:lnTo>
                    <a:pt x="487" y="239"/>
                  </a:lnTo>
                  <a:lnTo>
                    <a:pt x="484" y="242"/>
                  </a:lnTo>
                  <a:lnTo>
                    <a:pt x="162" y="242"/>
                  </a:lnTo>
                  <a:lnTo>
                    <a:pt x="169" y="226"/>
                  </a:lnTo>
                  <a:lnTo>
                    <a:pt x="177" y="210"/>
                  </a:lnTo>
                  <a:lnTo>
                    <a:pt x="186" y="195"/>
                  </a:lnTo>
                  <a:lnTo>
                    <a:pt x="195" y="181"/>
                  </a:lnTo>
                  <a:lnTo>
                    <a:pt x="205" y="167"/>
                  </a:lnTo>
                  <a:lnTo>
                    <a:pt x="215" y="154"/>
                  </a:lnTo>
                  <a:lnTo>
                    <a:pt x="226" y="142"/>
                  </a:lnTo>
                  <a:lnTo>
                    <a:pt x="238" y="131"/>
                  </a:lnTo>
                  <a:lnTo>
                    <a:pt x="250" y="122"/>
                  </a:lnTo>
                  <a:lnTo>
                    <a:pt x="263" y="113"/>
                  </a:lnTo>
                  <a:lnTo>
                    <a:pt x="278" y="106"/>
                  </a:lnTo>
                  <a:lnTo>
                    <a:pt x="294" y="100"/>
                  </a:lnTo>
                  <a:lnTo>
                    <a:pt x="309" y="95"/>
                  </a:lnTo>
                  <a:lnTo>
                    <a:pt x="326" y="91"/>
                  </a:lnTo>
                  <a:lnTo>
                    <a:pt x="344" y="89"/>
                  </a:lnTo>
                  <a:lnTo>
                    <a:pt x="363" y="88"/>
                  </a:lnTo>
                  <a:lnTo>
                    <a:pt x="377" y="89"/>
                  </a:lnTo>
                  <a:lnTo>
                    <a:pt x="390" y="90"/>
                  </a:lnTo>
                  <a:lnTo>
                    <a:pt x="402" y="93"/>
                  </a:lnTo>
                  <a:lnTo>
                    <a:pt x="414" y="97"/>
                  </a:lnTo>
                  <a:lnTo>
                    <a:pt x="425" y="102"/>
                  </a:lnTo>
                  <a:lnTo>
                    <a:pt x="436" y="107"/>
                  </a:lnTo>
                  <a:lnTo>
                    <a:pt x="446" y="114"/>
                  </a:lnTo>
                  <a:lnTo>
                    <a:pt x="455" y="121"/>
                  </a:lnTo>
                  <a:lnTo>
                    <a:pt x="463" y="130"/>
                  </a:lnTo>
                  <a:lnTo>
                    <a:pt x="470" y="139"/>
                  </a:lnTo>
                  <a:lnTo>
                    <a:pt x="477" y="149"/>
                  </a:lnTo>
                  <a:lnTo>
                    <a:pt x="482" y="159"/>
                  </a:lnTo>
                  <a:lnTo>
                    <a:pt x="486" y="172"/>
                  </a:lnTo>
                  <a:lnTo>
                    <a:pt x="489" y="184"/>
                  </a:lnTo>
                  <a:lnTo>
                    <a:pt x="491" y="197"/>
                  </a:lnTo>
                  <a:lnTo>
                    <a:pt x="492" y="210"/>
                  </a:lnTo>
                  <a:close/>
                  <a:moveTo>
                    <a:pt x="605" y="218"/>
                  </a:moveTo>
                  <a:lnTo>
                    <a:pt x="605" y="205"/>
                  </a:lnTo>
                  <a:lnTo>
                    <a:pt x="604" y="193"/>
                  </a:lnTo>
                  <a:lnTo>
                    <a:pt x="603" y="181"/>
                  </a:lnTo>
                  <a:lnTo>
                    <a:pt x="601" y="169"/>
                  </a:lnTo>
                  <a:lnTo>
                    <a:pt x="598" y="157"/>
                  </a:lnTo>
                  <a:lnTo>
                    <a:pt x="595" y="146"/>
                  </a:lnTo>
                  <a:lnTo>
                    <a:pt x="591" y="136"/>
                  </a:lnTo>
                  <a:lnTo>
                    <a:pt x="587" y="125"/>
                  </a:lnTo>
                  <a:lnTo>
                    <a:pt x="582" y="116"/>
                  </a:lnTo>
                  <a:lnTo>
                    <a:pt x="577" y="106"/>
                  </a:lnTo>
                  <a:lnTo>
                    <a:pt x="571" y="97"/>
                  </a:lnTo>
                  <a:lnTo>
                    <a:pt x="565" y="88"/>
                  </a:lnTo>
                  <a:lnTo>
                    <a:pt x="558" y="80"/>
                  </a:lnTo>
                  <a:lnTo>
                    <a:pt x="551" y="72"/>
                  </a:lnTo>
                  <a:lnTo>
                    <a:pt x="543" y="64"/>
                  </a:lnTo>
                  <a:lnTo>
                    <a:pt x="535" y="57"/>
                  </a:lnTo>
                  <a:lnTo>
                    <a:pt x="527" y="50"/>
                  </a:lnTo>
                  <a:lnTo>
                    <a:pt x="518" y="44"/>
                  </a:lnTo>
                  <a:lnTo>
                    <a:pt x="509" y="38"/>
                  </a:lnTo>
                  <a:lnTo>
                    <a:pt x="500" y="33"/>
                  </a:lnTo>
                  <a:lnTo>
                    <a:pt x="480" y="23"/>
                  </a:lnTo>
                  <a:lnTo>
                    <a:pt x="459" y="15"/>
                  </a:lnTo>
                  <a:lnTo>
                    <a:pt x="436" y="8"/>
                  </a:lnTo>
                  <a:lnTo>
                    <a:pt x="413" y="4"/>
                  </a:lnTo>
                  <a:lnTo>
                    <a:pt x="389" y="1"/>
                  </a:lnTo>
                  <a:lnTo>
                    <a:pt x="363" y="0"/>
                  </a:lnTo>
                  <a:lnTo>
                    <a:pt x="340" y="1"/>
                  </a:lnTo>
                  <a:lnTo>
                    <a:pt x="317" y="3"/>
                  </a:lnTo>
                  <a:lnTo>
                    <a:pt x="295" y="6"/>
                  </a:lnTo>
                  <a:lnTo>
                    <a:pt x="273" y="11"/>
                  </a:lnTo>
                  <a:lnTo>
                    <a:pt x="253" y="18"/>
                  </a:lnTo>
                  <a:lnTo>
                    <a:pt x="233" y="25"/>
                  </a:lnTo>
                  <a:lnTo>
                    <a:pt x="215" y="34"/>
                  </a:lnTo>
                  <a:lnTo>
                    <a:pt x="197" y="44"/>
                  </a:lnTo>
                  <a:lnTo>
                    <a:pt x="181" y="55"/>
                  </a:lnTo>
                  <a:lnTo>
                    <a:pt x="165" y="66"/>
                  </a:lnTo>
                  <a:lnTo>
                    <a:pt x="149" y="79"/>
                  </a:lnTo>
                  <a:lnTo>
                    <a:pt x="135" y="93"/>
                  </a:lnTo>
                  <a:lnTo>
                    <a:pt x="121" y="108"/>
                  </a:lnTo>
                  <a:lnTo>
                    <a:pt x="108" y="123"/>
                  </a:lnTo>
                  <a:lnTo>
                    <a:pt x="96" y="140"/>
                  </a:lnTo>
                  <a:lnTo>
                    <a:pt x="85" y="157"/>
                  </a:lnTo>
                  <a:lnTo>
                    <a:pt x="74" y="175"/>
                  </a:lnTo>
                  <a:lnTo>
                    <a:pt x="65" y="193"/>
                  </a:lnTo>
                  <a:lnTo>
                    <a:pt x="56" y="212"/>
                  </a:lnTo>
                  <a:lnTo>
                    <a:pt x="47" y="232"/>
                  </a:lnTo>
                  <a:lnTo>
                    <a:pt x="40" y="251"/>
                  </a:lnTo>
                  <a:lnTo>
                    <a:pt x="33" y="272"/>
                  </a:lnTo>
                  <a:lnTo>
                    <a:pt x="27" y="292"/>
                  </a:lnTo>
                  <a:lnTo>
                    <a:pt x="21" y="313"/>
                  </a:lnTo>
                  <a:lnTo>
                    <a:pt x="16" y="334"/>
                  </a:lnTo>
                  <a:lnTo>
                    <a:pt x="12" y="355"/>
                  </a:lnTo>
                  <a:lnTo>
                    <a:pt x="8" y="376"/>
                  </a:lnTo>
                  <a:lnTo>
                    <a:pt x="5" y="398"/>
                  </a:lnTo>
                  <a:lnTo>
                    <a:pt x="3" y="419"/>
                  </a:lnTo>
                  <a:lnTo>
                    <a:pt x="1" y="442"/>
                  </a:lnTo>
                  <a:lnTo>
                    <a:pt x="0" y="463"/>
                  </a:lnTo>
                  <a:lnTo>
                    <a:pt x="0" y="484"/>
                  </a:lnTo>
                  <a:lnTo>
                    <a:pt x="0" y="504"/>
                  </a:lnTo>
                  <a:lnTo>
                    <a:pt x="1" y="523"/>
                  </a:lnTo>
                  <a:lnTo>
                    <a:pt x="3" y="542"/>
                  </a:lnTo>
                  <a:lnTo>
                    <a:pt x="5" y="560"/>
                  </a:lnTo>
                  <a:lnTo>
                    <a:pt x="8" y="578"/>
                  </a:lnTo>
                  <a:lnTo>
                    <a:pt x="12" y="594"/>
                  </a:lnTo>
                  <a:lnTo>
                    <a:pt x="17" y="610"/>
                  </a:lnTo>
                  <a:lnTo>
                    <a:pt x="22" y="626"/>
                  </a:lnTo>
                  <a:lnTo>
                    <a:pt x="27" y="641"/>
                  </a:lnTo>
                  <a:lnTo>
                    <a:pt x="33" y="655"/>
                  </a:lnTo>
                  <a:lnTo>
                    <a:pt x="40" y="668"/>
                  </a:lnTo>
                  <a:lnTo>
                    <a:pt x="47" y="681"/>
                  </a:lnTo>
                  <a:lnTo>
                    <a:pt x="55" y="693"/>
                  </a:lnTo>
                  <a:lnTo>
                    <a:pt x="64" y="705"/>
                  </a:lnTo>
                  <a:lnTo>
                    <a:pt x="73" y="716"/>
                  </a:lnTo>
                  <a:lnTo>
                    <a:pt x="83" y="727"/>
                  </a:lnTo>
                  <a:lnTo>
                    <a:pt x="94" y="737"/>
                  </a:lnTo>
                  <a:lnTo>
                    <a:pt x="105" y="746"/>
                  </a:lnTo>
                  <a:lnTo>
                    <a:pt x="116" y="754"/>
                  </a:lnTo>
                  <a:lnTo>
                    <a:pt x="129" y="762"/>
                  </a:lnTo>
                  <a:lnTo>
                    <a:pt x="142" y="769"/>
                  </a:lnTo>
                  <a:lnTo>
                    <a:pt x="155" y="776"/>
                  </a:lnTo>
                  <a:lnTo>
                    <a:pt x="169" y="782"/>
                  </a:lnTo>
                  <a:lnTo>
                    <a:pt x="184" y="787"/>
                  </a:lnTo>
                  <a:lnTo>
                    <a:pt x="199" y="791"/>
                  </a:lnTo>
                  <a:lnTo>
                    <a:pt x="215" y="795"/>
                  </a:lnTo>
                  <a:lnTo>
                    <a:pt x="231" y="799"/>
                  </a:lnTo>
                  <a:lnTo>
                    <a:pt x="248" y="802"/>
                  </a:lnTo>
                  <a:lnTo>
                    <a:pt x="266" y="804"/>
                  </a:lnTo>
                  <a:lnTo>
                    <a:pt x="284" y="805"/>
                  </a:lnTo>
                  <a:lnTo>
                    <a:pt x="304" y="806"/>
                  </a:lnTo>
                  <a:lnTo>
                    <a:pt x="323" y="806"/>
                  </a:lnTo>
                  <a:lnTo>
                    <a:pt x="344" y="806"/>
                  </a:lnTo>
                  <a:lnTo>
                    <a:pt x="365" y="805"/>
                  </a:lnTo>
                  <a:lnTo>
                    <a:pt x="386" y="803"/>
                  </a:lnTo>
                  <a:lnTo>
                    <a:pt x="407" y="800"/>
                  </a:lnTo>
                  <a:lnTo>
                    <a:pt x="427" y="797"/>
                  </a:lnTo>
                  <a:lnTo>
                    <a:pt x="446" y="793"/>
                  </a:lnTo>
                  <a:lnTo>
                    <a:pt x="465" y="788"/>
                  </a:lnTo>
                  <a:lnTo>
                    <a:pt x="484" y="782"/>
                  </a:lnTo>
                  <a:lnTo>
                    <a:pt x="508" y="693"/>
                  </a:lnTo>
                  <a:lnTo>
                    <a:pt x="477" y="699"/>
                  </a:lnTo>
                  <a:lnTo>
                    <a:pt x="444" y="704"/>
                  </a:lnTo>
                  <a:lnTo>
                    <a:pt x="427" y="706"/>
                  </a:lnTo>
                  <a:lnTo>
                    <a:pt x="411" y="708"/>
                  </a:lnTo>
                  <a:lnTo>
                    <a:pt x="395" y="709"/>
                  </a:lnTo>
                  <a:lnTo>
                    <a:pt x="379" y="709"/>
                  </a:lnTo>
                  <a:lnTo>
                    <a:pt x="363" y="709"/>
                  </a:lnTo>
                  <a:lnTo>
                    <a:pt x="347" y="708"/>
                  </a:lnTo>
                  <a:lnTo>
                    <a:pt x="332" y="707"/>
                  </a:lnTo>
                  <a:lnTo>
                    <a:pt x="318" y="705"/>
                  </a:lnTo>
                  <a:lnTo>
                    <a:pt x="304" y="703"/>
                  </a:lnTo>
                  <a:lnTo>
                    <a:pt x="291" y="701"/>
                  </a:lnTo>
                  <a:lnTo>
                    <a:pt x="277" y="697"/>
                  </a:lnTo>
                  <a:lnTo>
                    <a:pt x="265" y="694"/>
                  </a:lnTo>
                  <a:lnTo>
                    <a:pt x="253" y="690"/>
                  </a:lnTo>
                  <a:lnTo>
                    <a:pt x="242" y="685"/>
                  </a:lnTo>
                  <a:lnTo>
                    <a:pt x="232" y="680"/>
                  </a:lnTo>
                  <a:lnTo>
                    <a:pt x="222" y="674"/>
                  </a:lnTo>
                  <a:lnTo>
                    <a:pt x="213" y="668"/>
                  </a:lnTo>
                  <a:lnTo>
                    <a:pt x="204" y="662"/>
                  </a:lnTo>
                  <a:lnTo>
                    <a:pt x="195" y="654"/>
                  </a:lnTo>
                  <a:lnTo>
                    <a:pt x="188" y="647"/>
                  </a:lnTo>
                  <a:lnTo>
                    <a:pt x="180" y="639"/>
                  </a:lnTo>
                  <a:lnTo>
                    <a:pt x="174" y="630"/>
                  </a:lnTo>
                  <a:lnTo>
                    <a:pt x="167" y="621"/>
                  </a:lnTo>
                  <a:lnTo>
                    <a:pt x="162" y="611"/>
                  </a:lnTo>
                  <a:lnTo>
                    <a:pt x="156" y="601"/>
                  </a:lnTo>
                  <a:lnTo>
                    <a:pt x="151" y="590"/>
                  </a:lnTo>
                  <a:lnTo>
                    <a:pt x="147" y="579"/>
                  </a:lnTo>
                  <a:lnTo>
                    <a:pt x="143" y="567"/>
                  </a:lnTo>
                  <a:lnTo>
                    <a:pt x="140" y="554"/>
                  </a:lnTo>
                  <a:lnTo>
                    <a:pt x="137" y="541"/>
                  </a:lnTo>
                  <a:lnTo>
                    <a:pt x="135" y="528"/>
                  </a:lnTo>
                  <a:lnTo>
                    <a:pt x="133" y="514"/>
                  </a:lnTo>
                  <a:lnTo>
                    <a:pt x="130" y="484"/>
                  </a:lnTo>
                  <a:lnTo>
                    <a:pt x="129" y="452"/>
                  </a:lnTo>
                  <a:lnTo>
                    <a:pt x="130" y="436"/>
                  </a:lnTo>
                  <a:lnTo>
                    <a:pt x="131" y="421"/>
                  </a:lnTo>
                  <a:lnTo>
                    <a:pt x="132" y="406"/>
                  </a:lnTo>
                  <a:lnTo>
                    <a:pt x="134" y="391"/>
                  </a:lnTo>
                  <a:lnTo>
                    <a:pt x="139" y="361"/>
                  </a:lnTo>
                  <a:lnTo>
                    <a:pt x="145" y="330"/>
                  </a:lnTo>
                  <a:lnTo>
                    <a:pt x="589" y="330"/>
                  </a:lnTo>
                  <a:lnTo>
                    <a:pt x="595" y="305"/>
                  </a:lnTo>
                  <a:lnTo>
                    <a:pt x="600" y="277"/>
                  </a:lnTo>
                  <a:lnTo>
                    <a:pt x="602" y="263"/>
                  </a:lnTo>
                  <a:lnTo>
                    <a:pt x="604" y="248"/>
                  </a:lnTo>
                  <a:lnTo>
                    <a:pt x="605" y="233"/>
                  </a:lnTo>
                  <a:lnTo>
                    <a:pt x="605" y="218"/>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42" name="Freeform 29"/>
            <p:cNvSpPr>
              <a:spLocks/>
            </p:cNvSpPr>
            <p:nvPr userDrawn="1">
              <p:custDataLst>
                <p:tags r:id="rId28"/>
              </p:custDataLst>
            </p:nvPr>
          </p:nvSpPr>
          <p:spPr bwMode="gray">
            <a:xfrm>
              <a:off x="2716213" y="3887788"/>
              <a:ext cx="41275" cy="33337"/>
            </a:xfrm>
            <a:custGeom>
              <a:avLst/>
              <a:gdLst/>
              <a:ahLst/>
              <a:cxnLst>
                <a:cxn ang="0">
                  <a:pos x="161" y="161"/>
                </a:cxn>
                <a:cxn ang="0">
                  <a:pos x="0" y="161"/>
                </a:cxn>
                <a:cxn ang="0">
                  <a:pos x="33" y="0"/>
                </a:cxn>
                <a:cxn ang="0">
                  <a:pos x="193" y="0"/>
                </a:cxn>
                <a:cxn ang="0">
                  <a:pos x="161" y="161"/>
                </a:cxn>
              </a:cxnLst>
              <a:rect l="0" t="0" r="r" b="b"/>
              <a:pathLst>
                <a:path w="193" h="161">
                  <a:moveTo>
                    <a:pt x="161" y="161"/>
                  </a:moveTo>
                  <a:lnTo>
                    <a:pt x="0" y="161"/>
                  </a:lnTo>
                  <a:lnTo>
                    <a:pt x="33" y="0"/>
                  </a:lnTo>
                  <a:lnTo>
                    <a:pt x="193" y="0"/>
                  </a:lnTo>
                  <a:lnTo>
                    <a:pt x="161" y="161"/>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43" name="Freeform 30"/>
            <p:cNvSpPr>
              <a:spLocks noEditPoints="1"/>
            </p:cNvSpPr>
            <p:nvPr userDrawn="1">
              <p:custDataLst>
                <p:tags r:id="rId29"/>
              </p:custDataLst>
            </p:nvPr>
          </p:nvSpPr>
          <p:spPr bwMode="gray">
            <a:xfrm>
              <a:off x="2819400" y="3679825"/>
              <a:ext cx="180975" cy="241300"/>
            </a:xfrm>
            <a:custGeom>
              <a:avLst/>
              <a:gdLst/>
              <a:ahLst/>
              <a:cxnLst>
                <a:cxn ang="0">
                  <a:pos x="698" y="475"/>
                </a:cxn>
                <a:cxn ang="0">
                  <a:pos x="688" y="557"/>
                </a:cxn>
                <a:cxn ang="0">
                  <a:pos x="673" y="639"/>
                </a:cxn>
                <a:cxn ang="0">
                  <a:pos x="651" y="718"/>
                </a:cxn>
                <a:cxn ang="0">
                  <a:pos x="620" y="794"/>
                </a:cxn>
                <a:cxn ang="0">
                  <a:pos x="580" y="862"/>
                </a:cxn>
                <a:cxn ang="0">
                  <a:pos x="532" y="920"/>
                </a:cxn>
                <a:cxn ang="0">
                  <a:pos x="473" y="967"/>
                </a:cxn>
                <a:cxn ang="0">
                  <a:pos x="403" y="999"/>
                </a:cxn>
                <a:cxn ang="0">
                  <a:pos x="321" y="1015"/>
                </a:cxn>
                <a:cxn ang="0">
                  <a:pos x="323" y="105"/>
                </a:cxn>
                <a:cxn ang="0">
                  <a:pos x="479" y="108"/>
                </a:cxn>
                <a:cxn ang="0">
                  <a:pos x="524" y="115"/>
                </a:cxn>
                <a:cxn ang="0">
                  <a:pos x="564" y="126"/>
                </a:cxn>
                <a:cxn ang="0">
                  <a:pos x="600" y="142"/>
                </a:cxn>
                <a:cxn ang="0">
                  <a:pos x="629" y="162"/>
                </a:cxn>
                <a:cxn ang="0">
                  <a:pos x="654" y="188"/>
                </a:cxn>
                <a:cxn ang="0">
                  <a:pos x="674" y="221"/>
                </a:cxn>
                <a:cxn ang="0">
                  <a:pos x="688" y="258"/>
                </a:cxn>
                <a:cxn ang="0">
                  <a:pos x="697" y="302"/>
                </a:cxn>
                <a:cxn ang="0">
                  <a:pos x="702" y="353"/>
                </a:cxn>
                <a:cxn ang="0">
                  <a:pos x="838" y="348"/>
                </a:cxn>
                <a:cxn ang="0">
                  <a:pos x="833" y="284"/>
                </a:cxn>
                <a:cxn ang="0">
                  <a:pos x="821" y="226"/>
                </a:cxn>
                <a:cxn ang="0">
                  <a:pos x="803" y="174"/>
                </a:cxn>
                <a:cxn ang="0">
                  <a:pos x="778" y="130"/>
                </a:cxn>
                <a:cxn ang="0">
                  <a:pos x="747" y="92"/>
                </a:cxn>
                <a:cxn ang="0">
                  <a:pos x="709" y="61"/>
                </a:cxn>
                <a:cxn ang="0">
                  <a:pos x="665" y="36"/>
                </a:cxn>
                <a:cxn ang="0">
                  <a:pos x="614" y="18"/>
                </a:cxn>
                <a:cxn ang="0">
                  <a:pos x="555" y="6"/>
                </a:cxn>
                <a:cxn ang="0">
                  <a:pos x="491" y="1"/>
                </a:cxn>
                <a:cxn ang="0">
                  <a:pos x="0" y="1121"/>
                </a:cxn>
                <a:cxn ang="0">
                  <a:pos x="345" y="1117"/>
                </a:cxn>
                <a:cxn ang="0">
                  <a:pos x="449" y="1095"/>
                </a:cxn>
                <a:cxn ang="0">
                  <a:pos x="539" y="1057"/>
                </a:cxn>
                <a:cxn ang="0">
                  <a:pos x="616" y="1002"/>
                </a:cxn>
                <a:cxn ang="0">
                  <a:pos x="680" y="936"/>
                </a:cxn>
                <a:cxn ang="0">
                  <a:pos x="732" y="859"/>
                </a:cxn>
                <a:cxn ang="0">
                  <a:pos x="772" y="772"/>
                </a:cxn>
                <a:cxn ang="0">
                  <a:pos x="802" y="677"/>
                </a:cxn>
                <a:cxn ang="0">
                  <a:pos x="823" y="578"/>
                </a:cxn>
                <a:cxn ang="0">
                  <a:pos x="835" y="475"/>
                </a:cxn>
                <a:cxn ang="0">
                  <a:pos x="838" y="371"/>
                </a:cxn>
              </a:cxnLst>
              <a:rect l="0" t="0" r="r" b="b"/>
              <a:pathLst>
                <a:path w="838" h="1121">
                  <a:moveTo>
                    <a:pt x="702" y="371"/>
                  </a:moveTo>
                  <a:lnTo>
                    <a:pt x="701" y="422"/>
                  </a:lnTo>
                  <a:lnTo>
                    <a:pt x="698" y="475"/>
                  </a:lnTo>
                  <a:lnTo>
                    <a:pt x="695" y="503"/>
                  </a:lnTo>
                  <a:lnTo>
                    <a:pt x="692" y="530"/>
                  </a:lnTo>
                  <a:lnTo>
                    <a:pt x="688" y="557"/>
                  </a:lnTo>
                  <a:lnTo>
                    <a:pt x="684" y="584"/>
                  </a:lnTo>
                  <a:lnTo>
                    <a:pt x="679" y="612"/>
                  </a:lnTo>
                  <a:lnTo>
                    <a:pt x="673" y="639"/>
                  </a:lnTo>
                  <a:lnTo>
                    <a:pt x="666" y="666"/>
                  </a:lnTo>
                  <a:lnTo>
                    <a:pt x="659" y="692"/>
                  </a:lnTo>
                  <a:lnTo>
                    <a:pt x="651" y="718"/>
                  </a:lnTo>
                  <a:lnTo>
                    <a:pt x="641" y="744"/>
                  </a:lnTo>
                  <a:lnTo>
                    <a:pt x="631" y="769"/>
                  </a:lnTo>
                  <a:lnTo>
                    <a:pt x="620" y="794"/>
                  </a:lnTo>
                  <a:lnTo>
                    <a:pt x="608" y="818"/>
                  </a:lnTo>
                  <a:lnTo>
                    <a:pt x="595" y="840"/>
                  </a:lnTo>
                  <a:lnTo>
                    <a:pt x="580" y="862"/>
                  </a:lnTo>
                  <a:lnTo>
                    <a:pt x="565" y="882"/>
                  </a:lnTo>
                  <a:lnTo>
                    <a:pt x="549" y="902"/>
                  </a:lnTo>
                  <a:lnTo>
                    <a:pt x="532" y="920"/>
                  </a:lnTo>
                  <a:lnTo>
                    <a:pt x="514" y="937"/>
                  </a:lnTo>
                  <a:lnTo>
                    <a:pt x="494" y="953"/>
                  </a:lnTo>
                  <a:lnTo>
                    <a:pt x="473" y="967"/>
                  </a:lnTo>
                  <a:lnTo>
                    <a:pt x="451" y="979"/>
                  </a:lnTo>
                  <a:lnTo>
                    <a:pt x="428" y="990"/>
                  </a:lnTo>
                  <a:lnTo>
                    <a:pt x="403" y="999"/>
                  </a:lnTo>
                  <a:lnTo>
                    <a:pt x="377" y="1006"/>
                  </a:lnTo>
                  <a:lnTo>
                    <a:pt x="350" y="1012"/>
                  </a:lnTo>
                  <a:lnTo>
                    <a:pt x="321" y="1015"/>
                  </a:lnTo>
                  <a:lnTo>
                    <a:pt x="290" y="1016"/>
                  </a:lnTo>
                  <a:lnTo>
                    <a:pt x="145" y="1016"/>
                  </a:lnTo>
                  <a:lnTo>
                    <a:pt x="323" y="105"/>
                  </a:lnTo>
                  <a:lnTo>
                    <a:pt x="412" y="105"/>
                  </a:lnTo>
                  <a:lnTo>
                    <a:pt x="447" y="106"/>
                  </a:lnTo>
                  <a:lnTo>
                    <a:pt x="479" y="108"/>
                  </a:lnTo>
                  <a:lnTo>
                    <a:pt x="495" y="110"/>
                  </a:lnTo>
                  <a:lnTo>
                    <a:pt x="510" y="112"/>
                  </a:lnTo>
                  <a:lnTo>
                    <a:pt x="524" y="115"/>
                  </a:lnTo>
                  <a:lnTo>
                    <a:pt x="538" y="118"/>
                  </a:lnTo>
                  <a:lnTo>
                    <a:pt x="551" y="122"/>
                  </a:lnTo>
                  <a:lnTo>
                    <a:pt x="564" y="126"/>
                  </a:lnTo>
                  <a:lnTo>
                    <a:pt x="576" y="131"/>
                  </a:lnTo>
                  <a:lnTo>
                    <a:pt x="589" y="136"/>
                  </a:lnTo>
                  <a:lnTo>
                    <a:pt x="600" y="142"/>
                  </a:lnTo>
                  <a:lnTo>
                    <a:pt x="610" y="148"/>
                  </a:lnTo>
                  <a:lnTo>
                    <a:pt x="620" y="155"/>
                  </a:lnTo>
                  <a:lnTo>
                    <a:pt x="629" y="162"/>
                  </a:lnTo>
                  <a:lnTo>
                    <a:pt x="638" y="170"/>
                  </a:lnTo>
                  <a:lnTo>
                    <a:pt x="646" y="179"/>
                  </a:lnTo>
                  <a:lnTo>
                    <a:pt x="654" y="188"/>
                  </a:lnTo>
                  <a:lnTo>
                    <a:pt x="661" y="198"/>
                  </a:lnTo>
                  <a:lnTo>
                    <a:pt x="668" y="208"/>
                  </a:lnTo>
                  <a:lnTo>
                    <a:pt x="674" y="221"/>
                  </a:lnTo>
                  <a:lnTo>
                    <a:pt x="679" y="232"/>
                  </a:lnTo>
                  <a:lnTo>
                    <a:pt x="684" y="245"/>
                  </a:lnTo>
                  <a:lnTo>
                    <a:pt x="688" y="258"/>
                  </a:lnTo>
                  <a:lnTo>
                    <a:pt x="692" y="272"/>
                  </a:lnTo>
                  <a:lnTo>
                    <a:pt x="695" y="287"/>
                  </a:lnTo>
                  <a:lnTo>
                    <a:pt x="697" y="302"/>
                  </a:lnTo>
                  <a:lnTo>
                    <a:pt x="699" y="318"/>
                  </a:lnTo>
                  <a:lnTo>
                    <a:pt x="701" y="335"/>
                  </a:lnTo>
                  <a:lnTo>
                    <a:pt x="702" y="353"/>
                  </a:lnTo>
                  <a:lnTo>
                    <a:pt x="702" y="371"/>
                  </a:lnTo>
                  <a:close/>
                  <a:moveTo>
                    <a:pt x="838" y="371"/>
                  </a:moveTo>
                  <a:lnTo>
                    <a:pt x="838" y="348"/>
                  </a:lnTo>
                  <a:lnTo>
                    <a:pt x="837" y="326"/>
                  </a:lnTo>
                  <a:lnTo>
                    <a:pt x="835" y="304"/>
                  </a:lnTo>
                  <a:lnTo>
                    <a:pt x="833" y="284"/>
                  </a:lnTo>
                  <a:lnTo>
                    <a:pt x="830" y="264"/>
                  </a:lnTo>
                  <a:lnTo>
                    <a:pt x="826" y="244"/>
                  </a:lnTo>
                  <a:lnTo>
                    <a:pt x="821" y="226"/>
                  </a:lnTo>
                  <a:lnTo>
                    <a:pt x="816" y="207"/>
                  </a:lnTo>
                  <a:lnTo>
                    <a:pt x="810" y="190"/>
                  </a:lnTo>
                  <a:lnTo>
                    <a:pt x="803" y="174"/>
                  </a:lnTo>
                  <a:lnTo>
                    <a:pt x="795" y="158"/>
                  </a:lnTo>
                  <a:lnTo>
                    <a:pt x="787" y="144"/>
                  </a:lnTo>
                  <a:lnTo>
                    <a:pt x="778" y="130"/>
                  </a:lnTo>
                  <a:lnTo>
                    <a:pt x="768" y="116"/>
                  </a:lnTo>
                  <a:lnTo>
                    <a:pt x="758" y="104"/>
                  </a:lnTo>
                  <a:lnTo>
                    <a:pt x="747" y="92"/>
                  </a:lnTo>
                  <a:lnTo>
                    <a:pt x="735" y="81"/>
                  </a:lnTo>
                  <a:lnTo>
                    <a:pt x="723" y="70"/>
                  </a:lnTo>
                  <a:lnTo>
                    <a:pt x="709" y="61"/>
                  </a:lnTo>
                  <a:lnTo>
                    <a:pt x="695" y="52"/>
                  </a:lnTo>
                  <a:lnTo>
                    <a:pt x="680" y="43"/>
                  </a:lnTo>
                  <a:lnTo>
                    <a:pt x="665" y="36"/>
                  </a:lnTo>
                  <a:lnTo>
                    <a:pt x="649" y="29"/>
                  </a:lnTo>
                  <a:lnTo>
                    <a:pt x="632" y="23"/>
                  </a:lnTo>
                  <a:lnTo>
                    <a:pt x="614" y="18"/>
                  </a:lnTo>
                  <a:lnTo>
                    <a:pt x="595" y="13"/>
                  </a:lnTo>
                  <a:lnTo>
                    <a:pt x="575" y="9"/>
                  </a:lnTo>
                  <a:lnTo>
                    <a:pt x="555" y="6"/>
                  </a:lnTo>
                  <a:lnTo>
                    <a:pt x="534" y="4"/>
                  </a:lnTo>
                  <a:lnTo>
                    <a:pt x="513" y="2"/>
                  </a:lnTo>
                  <a:lnTo>
                    <a:pt x="491" y="1"/>
                  </a:lnTo>
                  <a:lnTo>
                    <a:pt x="468" y="0"/>
                  </a:lnTo>
                  <a:lnTo>
                    <a:pt x="218" y="0"/>
                  </a:lnTo>
                  <a:lnTo>
                    <a:pt x="0" y="1121"/>
                  </a:lnTo>
                  <a:lnTo>
                    <a:pt x="266" y="1121"/>
                  </a:lnTo>
                  <a:lnTo>
                    <a:pt x="307" y="1120"/>
                  </a:lnTo>
                  <a:lnTo>
                    <a:pt x="345" y="1117"/>
                  </a:lnTo>
                  <a:lnTo>
                    <a:pt x="381" y="1112"/>
                  </a:lnTo>
                  <a:lnTo>
                    <a:pt x="416" y="1104"/>
                  </a:lnTo>
                  <a:lnTo>
                    <a:pt x="449" y="1095"/>
                  </a:lnTo>
                  <a:lnTo>
                    <a:pt x="481" y="1084"/>
                  </a:lnTo>
                  <a:lnTo>
                    <a:pt x="511" y="1071"/>
                  </a:lnTo>
                  <a:lnTo>
                    <a:pt x="539" y="1057"/>
                  </a:lnTo>
                  <a:lnTo>
                    <a:pt x="566" y="1039"/>
                  </a:lnTo>
                  <a:lnTo>
                    <a:pt x="592" y="1022"/>
                  </a:lnTo>
                  <a:lnTo>
                    <a:pt x="616" y="1002"/>
                  </a:lnTo>
                  <a:lnTo>
                    <a:pt x="639" y="981"/>
                  </a:lnTo>
                  <a:lnTo>
                    <a:pt x="660" y="959"/>
                  </a:lnTo>
                  <a:lnTo>
                    <a:pt x="680" y="936"/>
                  </a:lnTo>
                  <a:lnTo>
                    <a:pt x="699" y="911"/>
                  </a:lnTo>
                  <a:lnTo>
                    <a:pt x="716" y="885"/>
                  </a:lnTo>
                  <a:lnTo>
                    <a:pt x="732" y="859"/>
                  </a:lnTo>
                  <a:lnTo>
                    <a:pt x="746" y="831"/>
                  </a:lnTo>
                  <a:lnTo>
                    <a:pt x="760" y="802"/>
                  </a:lnTo>
                  <a:lnTo>
                    <a:pt x="772" y="772"/>
                  </a:lnTo>
                  <a:lnTo>
                    <a:pt x="783" y="741"/>
                  </a:lnTo>
                  <a:lnTo>
                    <a:pt x="793" y="709"/>
                  </a:lnTo>
                  <a:lnTo>
                    <a:pt x="802" y="677"/>
                  </a:lnTo>
                  <a:lnTo>
                    <a:pt x="810" y="645"/>
                  </a:lnTo>
                  <a:lnTo>
                    <a:pt x="817" y="612"/>
                  </a:lnTo>
                  <a:lnTo>
                    <a:pt x="823" y="578"/>
                  </a:lnTo>
                  <a:lnTo>
                    <a:pt x="828" y="544"/>
                  </a:lnTo>
                  <a:lnTo>
                    <a:pt x="832" y="510"/>
                  </a:lnTo>
                  <a:lnTo>
                    <a:pt x="835" y="475"/>
                  </a:lnTo>
                  <a:lnTo>
                    <a:pt x="837" y="440"/>
                  </a:lnTo>
                  <a:lnTo>
                    <a:pt x="838" y="406"/>
                  </a:lnTo>
                  <a:lnTo>
                    <a:pt x="838" y="371"/>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44" name="Freeform 31"/>
            <p:cNvSpPr>
              <a:spLocks noEditPoints="1"/>
            </p:cNvSpPr>
            <p:nvPr userDrawn="1">
              <p:custDataLst>
                <p:tags r:id="rId30"/>
              </p:custDataLst>
            </p:nvPr>
          </p:nvSpPr>
          <p:spPr bwMode="gray">
            <a:xfrm>
              <a:off x="3011488" y="3751263"/>
              <a:ext cx="128587" cy="173037"/>
            </a:xfrm>
            <a:custGeom>
              <a:avLst/>
              <a:gdLst/>
              <a:ahLst/>
              <a:cxnLst>
                <a:cxn ang="0">
                  <a:pos x="483" y="229"/>
                </a:cxn>
                <a:cxn ang="0">
                  <a:pos x="160" y="242"/>
                </a:cxn>
                <a:cxn ang="0">
                  <a:pos x="181" y="195"/>
                </a:cxn>
                <a:cxn ang="0">
                  <a:pos x="208" y="154"/>
                </a:cxn>
                <a:cxn ang="0">
                  <a:pos x="242" y="122"/>
                </a:cxn>
                <a:cxn ang="0">
                  <a:pos x="285" y="100"/>
                </a:cxn>
                <a:cxn ang="0">
                  <a:pos x="335" y="89"/>
                </a:cxn>
                <a:cxn ang="0">
                  <a:pos x="380" y="90"/>
                </a:cxn>
                <a:cxn ang="0">
                  <a:pos x="416" y="102"/>
                </a:cxn>
                <a:cxn ang="0">
                  <a:pos x="446" y="121"/>
                </a:cxn>
                <a:cxn ang="0">
                  <a:pos x="467" y="149"/>
                </a:cxn>
                <a:cxn ang="0">
                  <a:pos x="480" y="184"/>
                </a:cxn>
                <a:cxn ang="0">
                  <a:pos x="596" y="218"/>
                </a:cxn>
                <a:cxn ang="0">
                  <a:pos x="594" y="181"/>
                </a:cxn>
                <a:cxn ang="0">
                  <a:pos x="586" y="146"/>
                </a:cxn>
                <a:cxn ang="0">
                  <a:pos x="573" y="116"/>
                </a:cxn>
                <a:cxn ang="0">
                  <a:pos x="556" y="88"/>
                </a:cxn>
                <a:cxn ang="0">
                  <a:pos x="536" y="64"/>
                </a:cxn>
                <a:cxn ang="0">
                  <a:pos x="510" y="44"/>
                </a:cxn>
                <a:cxn ang="0">
                  <a:pos x="473" y="23"/>
                </a:cxn>
                <a:cxn ang="0">
                  <a:pos x="409" y="4"/>
                </a:cxn>
                <a:cxn ang="0">
                  <a:pos x="338" y="1"/>
                </a:cxn>
                <a:cxn ang="0">
                  <a:pos x="271" y="11"/>
                </a:cxn>
                <a:cxn ang="0">
                  <a:pos x="211" y="34"/>
                </a:cxn>
                <a:cxn ang="0">
                  <a:pos x="160" y="66"/>
                </a:cxn>
                <a:cxn ang="0">
                  <a:pos x="117" y="108"/>
                </a:cxn>
                <a:cxn ang="0">
                  <a:pos x="81" y="157"/>
                </a:cxn>
                <a:cxn ang="0">
                  <a:pos x="52" y="212"/>
                </a:cxn>
                <a:cxn ang="0">
                  <a:pos x="30" y="272"/>
                </a:cxn>
                <a:cxn ang="0">
                  <a:pos x="14" y="334"/>
                </a:cxn>
                <a:cxn ang="0">
                  <a:pos x="4" y="398"/>
                </a:cxn>
                <a:cxn ang="0">
                  <a:pos x="0" y="463"/>
                </a:cxn>
                <a:cxn ang="0">
                  <a:pos x="1" y="523"/>
                </a:cxn>
                <a:cxn ang="0">
                  <a:pos x="7" y="578"/>
                </a:cxn>
                <a:cxn ang="0">
                  <a:pos x="19" y="626"/>
                </a:cxn>
                <a:cxn ang="0">
                  <a:pos x="37" y="668"/>
                </a:cxn>
                <a:cxn ang="0">
                  <a:pos x="60" y="705"/>
                </a:cxn>
                <a:cxn ang="0">
                  <a:pos x="88" y="737"/>
                </a:cxn>
                <a:cxn ang="0">
                  <a:pos x="122" y="762"/>
                </a:cxn>
                <a:cxn ang="0">
                  <a:pos x="161" y="782"/>
                </a:cxn>
                <a:cxn ang="0">
                  <a:pos x="206" y="795"/>
                </a:cxn>
                <a:cxn ang="0">
                  <a:pos x="258" y="804"/>
                </a:cxn>
                <a:cxn ang="0">
                  <a:pos x="314" y="806"/>
                </a:cxn>
                <a:cxn ang="0">
                  <a:pos x="377" y="803"/>
                </a:cxn>
                <a:cxn ang="0">
                  <a:pos x="441" y="793"/>
                </a:cxn>
                <a:cxn ang="0">
                  <a:pos x="499" y="693"/>
                </a:cxn>
                <a:cxn ang="0">
                  <a:pos x="424" y="706"/>
                </a:cxn>
                <a:cxn ang="0">
                  <a:pos x="378" y="709"/>
                </a:cxn>
                <a:cxn ang="0">
                  <a:pos x="331" y="707"/>
                </a:cxn>
                <a:cxn ang="0">
                  <a:pos x="289" y="701"/>
                </a:cxn>
                <a:cxn ang="0">
                  <a:pos x="252" y="690"/>
                </a:cxn>
                <a:cxn ang="0">
                  <a:pos x="218" y="674"/>
                </a:cxn>
                <a:cxn ang="0">
                  <a:pos x="191" y="654"/>
                </a:cxn>
                <a:cxn ang="0">
                  <a:pos x="168" y="630"/>
                </a:cxn>
                <a:cxn ang="0">
                  <a:pos x="149" y="601"/>
                </a:cxn>
                <a:cxn ang="0">
                  <a:pos x="135" y="567"/>
                </a:cxn>
                <a:cxn ang="0">
                  <a:pos x="126" y="528"/>
                </a:cxn>
                <a:cxn ang="0">
                  <a:pos x="121" y="484"/>
                </a:cxn>
                <a:cxn ang="0">
                  <a:pos x="120" y="436"/>
                </a:cxn>
                <a:cxn ang="0">
                  <a:pos x="125" y="391"/>
                </a:cxn>
                <a:cxn ang="0">
                  <a:pos x="580" y="330"/>
                </a:cxn>
                <a:cxn ang="0">
                  <a:pos x="592" y="291"/>
                </a:cxn>
                <a:cxn ang="0">
                  <a:pos x="596" y="218"/>
                </a:cxn>
              </a:cxnLst>
              <a:rect l="0" t="0" r="r" b="b"/>
              <a:pathLst>
                <a:path w="596" h="806">
                  <a:moveTo>
                    <a:pt x="483" y="210"/>
                  </a:moveTo>
                  <a:lnTo>
                    <a:pt x="483" y="221"/>
                  </a:lnTo>
                  <a:lnTo>
                    <a:pt x="483" y="229"/>
                  </a:lnTo>
                  <a:lnTo>
                    <a:pt x="483" y="236"/>
                  </a:lnTo>
                  <a:lnTo>
                    <a:pt x="483" y="242"/>
                  </a:lnTo>
                  <a:lnTo>
                    <a:pt x="160" y="242"/>
                  </a:lnTo>
                  <a:lnTo>
                    <a:pt x="167" y="226"/>
                  </a:lnTo>
                  <a:lnTo>
                    <a:pt x="174" y="210"/>
                  </a:lnTo>
                  <a:lnTo>
                    <a:pt x="181" y="195"/>
                  </a:lnTo>
                  <a:lnTo>
                    <a:pt x="189" y="181"/>
                  </a:lnTo>
                  <a:lnTo>
                    <a:pt x="198" y="167"/>
                  </a:lnTo>
                  <a:lnTo>
                    <a:pt x="208" y="154"/>
                  </a:lnTo>
                  <a:lnTo>
                    <a:pt x="218" y="142"/>
                  </a:lnTo>
                  <a:lnTo>
                    <a:pt x="230" y="131"/>
                  </a:lnTo>
                  <a:lnTo>
                    <a:pt x="242" y="122"/>
                  </a:lnTo>
                  <a:lnTo>
                    <a:pt x="256" y="113"/>
                  </a:lnTo>
                  <a:lnTo>
                    <a:pt x="270" y="106"/>
                  </a:lnTo>
                  <a:lnTo>
                    <a:pt x="285" y="100"/>
                  </a:lnTo>
                  <a:lnTo>
                    <a:pt x="300" y="95"/>
                  </a:lnTo>
                  <a:lnTo>
                    <a:pt x="317" y="91"/>
                  </a:lnTo>
                  <a:lnTo>
                    <a:pt x="335" y="89"/>
                  </a:lnTo>
                  <a:lnTo>
                    <a:pt x="354" y="88"/>
                  </a:lnTo>
                  <a:lnTo>
                    <a:pt x="368" y="89"/>
                  </a:lnTo>
                  <a:lnTo>
                    <a:pt x="380" y="90"/>
                  </a:lnTo>
                  <a:lnTo>
                    <a:pt x="393" y="93"/>
                  </a:lnTo>
                  <a:lnTo>
                    <a:pt x="405" y="97"/>
                  </a:lnTo>
                  <a:lnTo>
                    <a:pt x="416" y="102"/>
                  </a:lnTo>
                  <a:lnTo>
                    <a:pt x="427" y="107"/>
                  </a:lnTo>
                  <a:lnTo>
                    <a:pt x="437" y="114"/>
                  </a:lnTo>
                  <a:lnTo>
                    <a:pt x="446" y="121"/>
                  </a:lnTo>
                  <a:lnTo>
                    <a:pt x="454" y="130"/>
                  </a:lnTo>
                  <a:lnTo>
                    <a:pt x="461" y="139"/>
                  </a:lnTo>
                  <a:lnTo>
                    <a:pt x="467" y="149"/>
                  </a:lnTo>
                  <a:lnTo>
                    <a:pt x="473" y="159"/>
                  </a:lnTo>
                  <a:lnTo>
                    <a:pt x="477" y="172"/>
                  </a:lnTo>
                  <a:lnTo>
                    <a:pt x="480" y="184"/>
                  </a:lnTo>
                  <a:lnTo>
                    <a:pt x="482" y="197"/>
                  </a:lnTo>
                  <a:lnTo>
                    <a:pt x="483" y="210"/>
                  </a:lnTo>
                  <a:close/>
                  <a:moveTo>
                    <a:pt x="596" y="218"/>
                  </a:moveTo>
                  <a:lnTo>
                    <a:pt x="596" y="205"/>
                  </a:lnTo>
                  <a:lnTo>
                    <a:pt x="595" y="193"/>
                  </a:lnTo>
                  <a:lnTo>
                    <a:pt x="594" y="181"/>
                  </a:lnTo>
                  <a:lnTo>
                    <a:pt x="592" y="169"/>
                  </a:lnTo>
                  <a:lnTo>
                    <a:pt x="589" y="157"/>
                  </a:lnTo>
                  <a:lnTo>
                    <a:pt x="586" y="146"/>
                  </a:lnTo>
                  <a:lnTo>
                    <a:pt x="582" y="136"/>
                  </a:lnTo>
                  <a:lnTo>
                    <a:pt x="578" y="125"/>
                  </a:lnTo>
                  <a:lnTo>
                    <a:pt x="573" y="116"/>
                  </a:lnTo>
                  <a:lnTo>
                    <a:pt x="568" y="106"/>
                  </a:lnTo>
                  <a:lnTo>
                    <a:pt x="562" y="97"/>
                  </a:lnTo>
                  <a:lnTo>
                    <a:pt x="556" y="88"/>
                  </a:lnTo>
                  <a:lnTo>
                    <a:pt x="550" y="80"/>
                  </a:lnTo>
                  <a:lnTo>
                    <a:pt x="543" y="72"/>
                  </a:lnTo>
                  <a:lnTo>
                    <a:pt x="536" y="64"/>
                  </a:lnTo>
                  <a:lnTo>
                    <a:pt x="528" y="57"/>
                  </a:lnTo>
                  <a:lnTo>
                    <a:pt x="519" y="50"/>
                  </a:lnTo>
                  <a:lnTo>
                    <a:pt x="510" y="44"/>
                  </a:lnTo>
                  <a:lnTo>
                    <a:pt x="502" y="38"/>
                  </a:lnTo>
                  <a:lnTo>
                    <a:pt x="492" y="33"/>
                  </a:lnTo>
                  <a:lnTo>
                    <a:pt x="473" y="23"/>
                  </a:lnTo>
                  <a:lnTo>
                    <a:pt x="453" y="15"/>
                  </a:lnTo>
                  <a:lnTo>
                    <a:pt x="431" y="8"/>
                  </a:lnTo>
                  <a:lnTo>
                    <a:pt x="409" y="4"/>
                  </a:lnTo>
                  <a:lnTo>
                    <a:pt x="386" y="1"/>
                  </a:lnTo>
                  <a:lnTo>
                    <a:pt x="362" y="0"/>
                  </a:lnTo>
                  <a:lnTo>
                    <a:pt x="338" y="1"/>
                  </a:lnTo>
                  <a:lnTo>
                    <a:pt x="314" y="3"/>
                  </a:lnTo>
                  <a:lnTo>
                    <a:pt x="292" y="6"/>
                  </a:lnTo>
                  <a:lnTo>
                    <a:pt x="271" y="11"/>
                  </a:lnTo>
                  <a:lnTo>
                    <a:pt x="250" y="18"/>
                  </a:lnTo>
                  <a:lnTo>
                    <a:pt x="229" y="25"/>
                  </a:lnTo>
                  <a:lnTo>
                    <a:pt x="211" y="34"/>
                  </a:lnTo>
                  <a:lnTo>
                    <a:pt x="193" y="44"/>
                  </a:lnTo>
                  <a:lnTo>
                    <a:pt x="176" y="55"/>
                  </a:lnTo>
                  <a:lnTo>
                    <a:pt x="160" y="66"/>
                  </a:lnTo>
                  <a:lnTo>
                    <a:pt x="145" y="79"/>
                  </a:lnTo>
                  <a:lnTo>
                    <a:pt x="130" y="93"/>
                  </a:lnTo>
                  <a:lnTo>
                    <a:pt x="117" y="108"/>
                  </a:lnTo>
                  <a:lnTo>
                    <a:pt x="104" y="123"/>
                  </a:lnTo>
                  <a:lnTo>
                    <a:pt x="92" y="140"/>
                  </a:lnTo>
                  <a:lnTo>
                    <a:pt x="81" y="157"/>
                  </a:lnTo>
                  <a:lnTo>
                    <a:pt x="71" y="175"/>
                  </a:lnTo>
                  <a:lnTo>
                    <a:pt x="61" y="193"/>
                  </a:lnTo>
                  <a:lnTo>
                    <a:pt x="52" y="212"/>
                  </a:lnTo>
                  <a:lnTo>
                    <a:pt x="44" y="232"/>
                  </a:lnTo>
                  <a:lnTo>
                    <a:pt x="37" y="251"/>
                  </a:lnTo>
                  <a:lnTo>
                    <a:pt x="30" y="272"/>
                  </a:lnTo>
                  <a:lnTo>
                    <a:pt x="24" y="292"/>
                  </a:lnTo>
                  <a:lnTo>
                    <a:pt x="19" y="313"/>
                  </a:lnTo>
                  <a:lnTo>
                    <a:pt x="14" y="334"/>
                  </a:lnTo>
                  <a:lnTo>
                    <a:pt x="10" y="355"/>
                  </a:lnTo>
                  <a:lnTo>
                    <a:pt x="7" y="376"/>
                  </a:lnTo>
                  <a:lnTo>
                    <a:pt x="4" y="398"/>
                  </a:lnTo>
                  <a:lnTo>
                    <a:pt x="2" y="419"/>
                  </a:lnTo>
                  <a:lnTo>
                    <a:pt x="1" y="442"/>
                  </a:lnTo>
                  <a:lnTo>
                    <a:pt x="0" y="463"/>
                  </a:lnTo>
                  <a:lnTo>
                    <a:pt x="0" y="484"/>
                  </a:lnTo>
                  <a:lnTo>
                    <a:pt x="0" y="504"/>
                  </a:lnTo>
                  <a:lnTo>
                    <a:pt x="1" y="523"/>
                  </a:lnTo>
                  <a:lnTo>
                    <a:pt x="2" y="542"/>
                  </a:lnTo>
                  <a:lnTo>
                    <a:pt x="5" y="560"/>
                  </a:lnTo>
                  <a:lnTo>
                    <a:pt x="7" y="578"/>
                  </a:lnTo>
                  <a:lnTo>
                    <a:pt x="11" y="594"/>
                  </a:lnTo>
                  <a:lnTo>
                    <a:pt x="15" y="610"/>
                  </a:lnTo>
                  <a:lnTo>
                    <a:pt x="19" y="626"/>
                  </a:lnTo>
                  <a:lnTo>
                    <a:pt x="24" y="641"/>
                  </a:lnTo>
                  <a:lnTo>
                    <a:pt x="30" y="655"/>
                  </a:lnTo>
                  <a:lnTo>
                    <a:pt x="37" y="668"/>
                  </a:lnTo>
                  <a:lnTo>
                    <a:pt x="44" y="681"/>
                  </a:lnTo>
                  <a:lnTo>
                    <a:pt x="51" y="693"/>
                  </a:lnTo>
                  <a:lnTo>
                    <a:pt x="60" y="705"/>
                  </a:lnTo>
                  <a:lnTo>
                    <a:pt x="68" y="716"/>
                  </a:lnTo>
                  <a:lnTo>
                    <a:pt x="78" y="727"/>
                  </a:lnTo>
                  <a:lnTo>
                    <a:pt x="88" y="737"/>
                  </a:lnTo>
                  <a:lnTo>
                    <a:pt x="99" y="746"/>
                  </a:lnTo>
                  <a:lnTo>
                    <a:pt x="110" y="754"/>
                  </a:lnTo>
                  <a:lnTo>
                    <a:pt x="122" y="762"/>
                  </a:lnTo>
                  <a:lnTo>
                    <a:pt x="135" y="769"/>
                  </a:lnTo>
                  <a:lnTo>
                    <a:pt x="148" y="776"/>
                  </a:lnTo>
                  <a:lnTo>
                    <a:pt x="161" y="782"/>
                  </a:lnTo>
                  <a:lnTo>
                    <a:pt x="176" y="787"/>
                  </a:lnTo>
                  <a:lnTo>
                    <a:pt x="191" y="791"/>
                  </a:lnTo>
                  <a:lnTo>
                    <a:pt x="206" y="795"/>
                  </a:lnTo>
                  <a:lnTo>
                    <a:pt x="223" y="799"/>
                  </a:lnTo>
                  <a:lnTo>
                    <a:pt x="240" y="802"/>
                  </a:lnTo>
                  <a:lnTo>
                    <a:pt x="258" y="804"/>
                  </a:lnTo>
                  <a:lnTo>
                    <a:pt x="276" y="805"/>
                  </a:lnTo>
                  <a:lnTo>
                    <a:pt x="295" y="806"/>
                  </a:lnTo>
                  <a:lnTo>
                    <a:pt x="314" y="806"/>
                  </a:lnTo>
                  <a:lnTo>
                    <a:pt x="335" y="806"/>
                  </a:lnTo>
                  <a:lnTo>
                    <a:pt x="356" y="805"/>
                  </a:lnTo>
                  <a:lnTo>
                    <a:pt x="377" y="803"/>
                  </a:lnTo>
                  <a:lnTo>
                    <a:pt x="398" y="800"/>
                  </a:lnTo>
                  <a:lnTo>
                    <a:pt x="420" y="797"/>
                  </a:lnTo>
                  <a:lnTo>
                    <a:pt x="441" y="793"/>
                  </a:lnTo>
                  <a:lnTo>
                    <a:pt x="462" y="788"/>
                  </a:lnTo>
                  <a:lnTo>
                    <a:pt x="483" y="782"/>
                  </a:lnTo>
                  <a:lnTo>
                    <a:pt x="499" y="693"/>
                  </a:lnTo>
                  <a:lnTo>
                    <a:pt x="469" y="699"/>
                  </a:lnTo>
                  <a:lnTo>
                    <a:pt x="439" y="704"/>
                  </a:lnTo>
                  <a:lnTo>
                    <a:pt x="424" y="706"/>
                  </a:lnTo>
                  <a:lnTo>
                    <a:pt x="408" y="708"/>
                  </a:lnTo>
                  <a:lnTo>
                    <a:pt x="393" y="709"/>
                  </a:lnTo>
                  <a:lnTo>
                    <a:pt x="378" y="709"/>
                  </a:lnTo>
                  <a:lnTo>
                    <a:pt x="362" y="709"/>
                  </a:lnTo>
                  <a:lnTo>
                    <a:pt x="346" y="708"/>
                  </a:lnTo>
                  <a:lnTo>
                    <a:pt x="331" y="707"/>
                  </a:lnTo>
                  <a:lnTo>
                    <a:pt x="316" y="705"/>
                  </a:lnTo>
                  <a:lnTo>
                    <a:pt x="302" y="703"/>
                  </a:lnTo>
                  <a:lnTo>
                    <a:pt x="289" y="701"/>
                  </a:lnTo>
                  <a:lnTo>
                    <a:pt x="276" y="697"/>
                  </a:lnTo>
                  <a:lnTo>
                    <a:pt x="264" y="694"/>
                  </a:lnTo>
                  <a:lnTo>
                    <a:pt x="252" y="690"/>
                  </a:lnTo>
                  <a:lnTo>
                    <a:pt x="239" y="685"/>
                  </a:lnTo>
                  <a:lnTo>
                    <a:pt x="228" y="680"/>
                  </a:lnTo>
                  <a:lnTo>
                    <a:pt x="218" y="674"/>
                  </a:lnTo>
                  <a:lnTo>
                    <a:pt x="208" y="668"/>
                  </a:lnTo>
                  <a:lnTo>
                    <a:pt x="199" y="662"/>
                  </a:lnTo>
                  <a:lnTo>
                    <a:pt x="191" y="654"/>
                  </a:lnTo>
                  <a:lnTo>
                    <a:pt x="182" y="647"/>
                  </a:lnTo>
                  <a:lnTo>
                    <a:pt x="175" y="639"/>
                  </a:lnTo>
                  <a:lnTo>
                    <a:pt x="168" y="630"/>
                  </a:lnTo>
                  <a:lnTo>
                    <a:pt x="161" y="621"/>
                  </a:lnTo>
                  <a:lnTo>
                    <a:pt x="155" y="611"/>
                  </a:lnTo>
                  <a:lnTo>
                    <a:pt x="149" y="601"/>
                  </a:lnTo>
                  <a:lnTo>
                    <a:pt x="144" y="590"/>
                  </a:lnTo>
                  <a:lnTo>
                    <a:pt x="140" y="579"/>
                  </a:lnTo>
                  <a:lnTo>
                    <a:pt x="135" y="567"/>
                  </a:lnTo>
                  <a:lnTo>
                    <a:pt x="132" y="554"/>
                  </a:lnTo>
                  <a:lnTo>
                    <a:pt x="129" y="541"/>
                  </a:lnTo>
                  <a:lnTo>
                    <a:pt x="126" y="528"/>
                  </a:lnTo>
                  <a:lnTo>
                    <a:pt x="124" y="514"/>
                  </a:lnTo>
                  <a:lnTo>
                    <a:pt x="122" y="499"/>
                  </a:lnTo>
                  <a:lnTo>
                    <a:pt x="121" y="484"/>
                  </a:lnTo>
                  <a:lnTo>
                    <a:pt x="120" y="468"/>
                  </a:lnTo>
                  <a:lnTo>
                    <a:pt x="120" y="452"/>
                  </a:lnTo>
                  <a:lnTo>
                    <a:pt x="120" y="436"/>
                  </a:lnTo>
                  <a:lnTo>
                    <a:pt x="122" y="421"/>
                  </a:lnTo>
                  <a:lnTo>
                    <a:pt x="123" y="406"/>
                  </a:lnTo>
                  <a:lnTo>
                    <a:pt x="125" y="391"/>
                  </a:lnTo>
                  <a:lnTo>
                    <a:pt x="130" y="361"/>
                  </a:lnTo>
                  <a:lnTo>
                    <a:pt x="136" y="330"/>
                  </a:lnTo>
                  <a:lnTo>
                    <a:pt x="580" y="330"/>
                  </a:lnTo>
                  <a:lnTo>
                    <a:pt x="585" y="318"/>
                  </a:lnTo>
                  <a:lnTo>
                    <a:pt x="590" y="305"/>
                  </a:lnTo>
                  <a:lnTo>
                    <a:pt x="592" y="291"/>
                  </a:lnTo>
                  <a:lnTo>
                    <a:pt x="594" y="277"/>
                  </a:lnTo>
                  <a:lnTo>
                    <a:pt x="596" y="248"/>
                  </a:lnTo>
                  <a:lnTo>
                    <a:pt x="596" y="218"/>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45" name="Freeform 32"/>
            <p:cNvSpPr>
              <a:spLocks/>
            </p:cNvSpPr>
            <p:nvPr userDrawn="1">
              <p:custDataLst>
                <p:tags r:id="rId31"/>
              </p:custDataLst>
            </p:nvPr>
          </p:nvSpPr>
          <p:spPr bwMode="gray">
            <a:xfrm>
              <a:off x="3151188" y="3679825"/>
              <a:ext cx="73025" cy="241300"/>
            </a:xfrm>
            <a:custGeom>
              <a:avLst/>
              <a:gdLst/>
              <a:ahLst/>
              <a:cxnLst>
                <a:cxn ang="0">
                  <a:pos x="112" y="1121"/>
                </a:cxn>
                <a:cxn ang="0">
                  <a:pos x="0" y="1121"/>
                </a:cxn>
                <a:cxn ang="0">
                  <a:pos x="218" y="0"/>
                </a:cxn>
                <a:cxn ang="0">
                  <a:pos x="330" y="0"/>
                </a:cxn>
                <a:cxn ang="0">
                  <a:pos x="112" y="1121"/>
                </a:cxn>
              </a:cxnLst>
              <a:rect l="0" t="0" r="r" b="b"/>
              <a:pathLst>
                <a:path w="330" h="1121">
                  <a:moveTo>
                    <a:pt x="112" y="1121"/>
                  </a:moveTo>
                  <a:lnTo>
                    <a:pt x="0" y="1121"/>
                  </a:lnTo>
                  <a:lnTo>
                    <a:pt x="218" y="0"/>
                  </a:lnTo>
                  <a:lnTo>
                    <a:pt x="330" y="0"/>
                  </a:lnTo>
                  <a:lnTo>
                    <a:pt x="112" y="1121"/>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46" name="Freeform 33"/>
            <p:cNvSpPr>
              <a:spLocks noEditPoints="1"/>
            </p:cNvSpPr>
            <p:nvPr userDrawn="1">
              <p:custDataLst>
                <p:tags r:id="rId32"/>
              </p:custDataLst>
            </p:nvPr>
          </p:nvSpPr>
          <p:spPr bwMode="gray">
            <a:xfrm>
              <a:off x="3217863" y="3679825"/>
              <a:ext cx="73025" cy="241300"/>
            </a:xfrm>
            <a:custGeom>
              <a:avLst/>
              <a:gdLst/>
              <a:ahLst/>
              <a:cxnLst>
                <a:cxn ang="0">
                  <a:pos x="314" y="145"/>
                </a:cxn>
                <a:cxn ang="0">
                  <a:pos x="170" y="145"/>
                </a:cxn>
                <a:cxn ang="0">
                  <a:pos x="194" y="0"/>
                </a:cxn>
                <a:cxn ang="0">
                  <a:pos x="338" y="0"/>
                </a:cxn>
                <a:cxn ang="0">
                  <a:pos x="314" y="145"/>
                </a:cxn>
                <a:cxn ang="0">
                  <a:pos x="112" y="1121"/>
                </a:cxn>
                <a:cxn ang="0">
                  <a:pos x="0" y="1121"/>
                </a:cxn>
                <a:cxn ang="0">
                  <a:pos x="146" y="347"/>
                </a:cxn>
                <a:cxn ang="0">
                  <a:pos x="258" y="347"/>
                </a:cxn>
                <a:cxn ang="0">
                  <a:pos x="112" y="1121"/>
                </a:cxn>
              </a:cxnLst>
              <a:rect l="0" t="0" r="r" b="b"/>
              <a:pathLst>
                <a:path w="338" h="1121">
                  <a:moveTo>
                    <a:pt x="314" y="145"/>
                  </a:moveTo>
                  <a:lnTo>
                    <a:pt x="170" y="145"/>
                  </a:lnTo>
                  <a:lnTo>
                    <a:pt x="194" y="0"/>
                  </a:lnTo>
                  <a:lnTo>
                    <a:pt x="338" y="0"/>
                  </a:lnTo>
                  <a:lnTo>
                    <a:pt x="314" y="145"/>
                  </a:lnTo>
                  <a:close/>
                  <a:moveTo>
                    <a:pt x="112" y="1121"/>
                  </a:moveTo>
                  <a:lnTo>
                    <a:pt x="0" y="1121"/>
                  </a:lnTo>
                  <a:lnTo>
                    <a:pt x="146" y="347"/>
                  </a:lnTo>
                  <a:lnTo>
                    <a:pt x="258" y="347"/>
                  </a:lnTo>
                  <a:lnTo>
                    <a:pt x="112" y="1121"/>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47" name="Freeform 34"/>
            <p:cNvSpPr>
              <a:spLocks/>
            </p:cNvSpPr>
            <p:nvPr userDrawn="1">
              <p:custDataLst>
                <p:tags r:id="rId33"/>
              </p:custDataLst>
            </p:nvPr>
          </p:nvSpPr>
          <p:spPr bwMode="gray">
            <a:xfrm>
              <a:off x="3290888" y="3756025"/>
              <a:ext cx="144462" cy="165100"/>
            </a:xfrm>
            <a:custGeom>
              <a:avLst/>
              <a:gdLst/>
              <a:ahLst/>
              <a:cxnLst>
                <a:cxn ang="0">
                  <a:pos x="259" y="774"/>
                </a:cxn>
                <a:cxn ang="0">
                  <a:pos x="146" y="774"/>
                </a:cxn>
                <a:cxn ang="0">
                  <a:pos x="0" y="0"/>
                </a:cxn>
                <a:cxn ang="0">
                  <a:pos x="122" y="0"/>
                </a:cxn>
                <a:cxn ang="0">
                  <a:pos x="226" y="613"/>
                </a:cxn>
                <a:cxn ang="0">
                  <a:pos x="549" y="0"/>
                </a:cxn>
                <a:cxn ang="0">
                  <a:pos x="670" y="0"/>
                </a:cxn>
                <a:cxn ang="0">
                  <a:pos x="259" y="774"/>
                </a:cxn>
              </a:cxnLst>
              <a:rect l="0" t="0" r="r" b="b"/>
              <a:pathLst>
                <a:path w="670" h="774">
                  <a:moveTo>
                    <a:pt x="259" y="774"/>
                  </a:moveTo>
                  <a:lnTo>
                    <a:pt x="146" y="774"/>
                  </a:lnTo>
                  <a:lnTo>
                    <a:pt x="0" y="0"/>
                  </a:lnTo>
                  <a:lnTo>
                    <a:pt x="122" y="0"/>
                  </a:lnTo>
                  <a:lnTo>
                    <a:pt x="226" y="613"/>
                  </a:lnTo>
                  <a:lnTo>
                    <a:pt x="549" y="0"/>
                  </a:lnTo>
                  <a:lnTo>
                    <a:pt x="670" y="0"/>
                  </a:lnTo>
                  <a:lnTo>
                    <a:pt x="259" y="774"/>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48" name="Freeform 35"/>
            <p:cNvSpPr>
              <a:spLocks noEditPoints="1"/>
            </p:cNvSpPr>
            <p:nvPr userDrawn="1">
              <p:custDataLst>
                <p:tags r:id="rId34"/>
              </p:custDataLst>
            </p:nvPr>
          </p:nvSpPr>
          <p:spPr bwMode="gray">
            <a:xfrm>
              <a:off x="3422650" y="3751263"/>
              <a:ext cx="131763" cy="173037"/>
            </a:xfrm>
            <a:custGeom>
              <a:avLst/>
              <a:gdLst/>
              <a:ahLst/>
              <a:cxnLst>
                <a:cxn ang="0">
                  <a:pos x="487" y="229"/>
                </a:cxn>
                <a:cxn ang="0">
                  <a:pos x="161" y="242"/>
                </a:cxn>
                <a:cxn ang="0">
                  <a:pos x="185" y="195"/>
                </a:cxn>
                <a:cxn ang="0">
                  <a:pos x="214" y="154"/>
                </a:cxn>
                <a:cxn ang="0">
                  <a:pos x="248" y="122"/>
                </a:cxn>
                <a:cxn ang="0">
                  <a:pos x="290" y="100"/>
                </a:cxn>
                <a:cxn ang="0">
                  <a:pos x="337" y="89"/>
                </a:cxn>
                <a:cxn ang="0">
                  <a:pos x="384" y="90"/>
                </a:cxn>
                <a:cxn ang="0">
                  <a:pos x="422" y="102"/>
                </a:cxn>
                <a:cxn ang="0">
                  <a:pos x="453" y="121"/>
                </a:cxn>
                <a:cxn ang="0">
                  <a:pos x="476" y="149"/>
                </a:cxn>
                <a:cxn ang="0">
                  <a:pos x="489" y="184"/>
                </a:cxn>
                <a:cxn ang="0">
                  <a:pos x="605" y="218"/>
                </a:cxn>
                <a:cxn ang="0">
                  <a:pos x="602" y="181"/>
                </a:cxn>
                <a:cxn ang="0">
                  <a:pos x="594" y="146"/>
                </a:cxn>
                <a:cxn ang="0">
                  <a:pos x="580" y="116"/>
                </a:cxn>
                <a:cxn ang="0">
                  <a:pos x="562" y="88"/>
                </a:cxn>
                <a:cxn ang="0">
                  <a:pos x="540" y="64"/>
                </a:cxn>
                <a:cxn ang="0">
                  <a:pos x="514" y="44"/>
                </a:cxn>
                <a:cxn ang="0">
                  <a:pos x="476" y="23"/>
                </a:cxn>
                <a:cxn ang="0">
                  <a:pos x="410" y="4"/>
                </a:cxn>
                <a:cxn ang="0">
                  <a:pos x="339" y="1"/>
                </a:cxn>
                <a:cxn ang="0">
                  <a:pos x="272" y="11"/>
                </a:cxn>
                <a:cxn ang="0">
                  <a:pos x="214" y="34"/>
                </a:cxn>
                <a:cxn ang="0">
                  <a:pos x="164" y="66"/>
                </a:cxn>
                <a:cxn ang="0">
                  <a:pos x="121" y="108"/>
                </a:cxn>
                <a:cxn ang="0">
                  <a:pos x="85" y="157"/>
                </a:cxn>
                <a:cxn ang="0">
                  <a:pos x="55" y="212"/>
                </a:cxn>
                <a:cxn ang="0">
                  <a:pos x="32" y="272"/>
                </a:cxn>
                <a:cxn ang="0">
                  <a:pos x="16" y="334"/>
                </a:cxn>
                <a:cxn ang="0">
                  <a:pos x="5" y="398"/>
                </a:cxn>
                <a:cxn ang="0">
                  <a:pos x="0" y="463"/>
                </a:cxn>
                <a:cxn ang="0">
                  <a:pos x="1" y="523"/>
                </a:cxn>
                <a:cxn ang="0">
                  <a:pos x="8" y="578"/>
                </a:cxn>
                <a:cxn ang="0">
                  <a:pos x="20" y="626"/>
                </a:cxn>
                <a:cxn ang="0">
                  <a:pos x="38" y="668"/>
                </a:cxn>
                <a:cxn ang="0">
                  <a:pos x="61" y="705"/>
                </a:cxn>
                <a:cxn ang="0">
                  <a:pos x="90" y="737"/>
                </a:cxn>
                <a:cxn ang="0">
                  <a:pos x="125" y="762"/>
                </a:cxn>
                <a:cxn ang="0">
                  <a:pos x="165" y="782"/>
                </a:cxn>
                <a:cxn ang="0">
                  <a:pos x="211" y="795"/>
                </a:cxn>
                <a:cxn ang="0">
                  <a:pos x="264" y="804"/>
                </a:cxn>
                <a:cxn ang="0">
                  <a:pos x="323" y="806"/>
                </a:cxn>
                <a:cxn ang="0">
                  <a:pos x="385" y="803"/>
                </a:cxn>
                <a:cxn ang="0">
                  <a:pos x="446" y="793"/>
                </a:cxn>
                <a:cxn ang="0">
                  <a:pos x="499" y="693"/>
                </a:cxn>
                <a:cxn ang="0">
                  <a:pos x="424" y="706"/>
                </a:cxn>
                <a:cxn ang="0">
                  <a:pos x="379" y="709"/>
                </a:cxn>
                <a:cxn ang="0">
                  <a:pos x="332" y="707"/>
                </a:cxn>
                <a:cxn ang="0">
                  <a:pos x="290" y="701"/>
                </a:cxn>
                <a:cxn ang="0">
                  <a:pos x="253" y="690"/>
                </a:cxn>
                <a:cxn ang="0">
                  <a:pos x="221" y="674"/>
                </a:cxn>
                <a:cxn ang="0">
                  <a:pos x="195" y="654"/>
                </a:cxn>
                <a:cxn ang="0">
                  <a:pos x="173" y="630"/>
                </a:cxn>
                <a:cxn ang="0">
                  <a:pos x="156" y="601"/>
                </a:cxn>
                <a:cxn ang="0">
                  <a:pos x="143" y="567"/>
                </a:cxn>
                <a:cxn ang="0">
                  <a:pos x="134" y="528"/>
                </a:cxn>
                <a:cxn ang="0">
                  <a:pos x="129" y="452"/>
                </a:cxn>
                <a:cxn ang="0">
                  <a:pos x="132" y="406"/>
                </a:cxn>
                <a:cxn ang="0">
                  <a:pos x="145" y="330"/>
                </a:cxn>
                <a:cxn ang="0">
                  <a:pos x="600" y="277"/>
                </a:cxn>
                <a:cxn ang="0">
                  <a:pos x="605" y="233"/>
                </a:cxn>
              </a:cxnLst>
              <a:rect l="0" t="0" r="r" b="b"/>
              <a:pathLst>
                <a:path w="605" h="806">
                  <a:moveTo>
                    <a:pt x="491" y="210"/>
                  </a:moveTo>
                  <a:lnTo>
                    <a:pt x="490" y="221"/>
                  </a:lnTo>
                  <a:lnTo>
                    <a:pt x="487" y="229"/>
                  </a:lnTo>
                  <a:lnTo>
                    <a:pt x="485" y="236"/>
                  </a:lnTo>
                  <a:lnTo>
                    <a:pt x="483" y="242"/>
                  </a:lnTo>
                  <a:lnTo>
                    <a:pt x="161" y="242"/>
                  </a:lnTo>
                  <a:lnTo>
                    <a:pt x="169" y="226"/>
                  </a:lnTo>
                  <a:lnTo>
                    <a:pt x="177" y="210"/>
                  </a:lnTo>
                  <a:lnTo>
                    <a:pt x="185" y="195"/>
                  </a:lnTo>
                  <a:lnTo>
                    <a:pt x="194" y="181"/>
                  </a:lnTo>
                  <a:lnTo>
                    <a:pt x="204" y="167"/>
                  </a:lnTo>
                  <a:lnTo>
                    <a:pt x="214" y="154"/>
                  </a:lnTo>
                  <a:lnTo>
                    <a:pt x="225" y="142"/>
                  </a:lnTo>
                  <a:lnTo>
                    <a:pt x="236" y="131"/>
                  </a:lnTo>
                  <a:lnTo>
                    <a:pt x="248" y="122"/>
                  </a:lnTo>
                  <a:lnTo>
                    <a:pt x="261" y="113"/>
                  </a:lnTo>
                  <a:lnTo>
                    <a:pt x="274" y="106"/>
                  </a:lnTo>
                  <a:lnTo>
                    <a:pt x="290" y="100"/>
                  </a:lnTo>
                  <a:lnTo>
                    <a:pt x="305" y="95"/>
                  </a:lnTo>
                  <a:lnTo>
                    <a:pt x="320" y="91"/>
                  </a:lnTo>
                  <a:lnTo>
                    <a:pt x="337" y="89"/>
                  </a:lnTo>
                  <a:lnTo>
                    <a:pt x="355" y="88"/>
                  </a:lnTo>
                  <a:lnTo>
                    <a:pt x="370" y="89"/>
                  </a:lnTo>
                  <a:lnTo>
                    <a:pt x="384" y="90"/>
                  </a:lnTo>
                  <a:lnTo>
                    <a:pt x="397" y="93"/>
                  </a:lnTo>
                  <a:lnTo>
                    <a:pt x="410" y="97"/>
                  </a:lnTo>
                  <a:lnTo>
                    <a:pt x="422" y="102"/>
                  </a:lnTo>
                  <a:lnTo>
                    <a:pt x="433" y="107"/>
                  </a:lnTo>
                  <a:lnTo>
                    <a:pt x="444" y="114"/>
                  </a:lnTo>
                  <a:lnTo>
                    <a:pt x="453" y="121"/>
                  </a:lnTo>
                  <a:lnTo>
                    <a:pt x="462" y="130"/>
                  </a:lnTo>
                  <a:lnTo>
                    <a:pt x="469" y="139"/>
                  </a:lnTo>
                  <a:lnTo>
                    <a:pt x="476" y="149"/>
                  </a:lnTo>
                  <a:lnTo>
                    <a:pt x="481" y="159"/>
                  </a:lnTo>
                  <a:lnTo>
                    <a:pt x="486" y="172"/>
                  </a:lnTo>
                  <a:lnTo>
                    <a:pt x="489" y="184"/>
                  </a:lnTo>
                  <a:lnTo>
                    <a:pt x="491" y="197"/>
                  </a:lnTo>
                  <a:lnTo>
                    <a:pt x="491" y="210"/>
                  </a:lnTo>
                  <a:close/>
                  <a:moveTo>
                    <a:pt x="605" y="218"/>
                  </a:moveTo>
                  <a:lnTo>
                    <a:pt x="605" y="205"/>
                  </a:lnTo>
                  <a:lnTo>
                    <a:pt x="604" y="193"/>
                  </a:lnTo>
                  <a:lnTo>
                    <a:pt x="602" y="181"/>
                  </a:lnTo>
                  <a:lnTo>
                    <a:pt x="600" y="169"/>
                  </a:lnTo>
                  <a:lnTo>
                    <a:pt x="597" y="157"/>
                  </a:lnTo>
                  <a:lnTo>
                    <a:pt x="594" y="146"/>
                  </a:lnTo>
                  <a:lnTo>
                    <a:pt x="590" y="136"/>
                  </a:lnTo>
                  <a:lnTo>
                    <a:pt x="585" y="125"/>
                  </a:lnTo>
                  <a:lnTo>
                    <a:pt x="580" y="116"/>
                  </a:lnTo>
                  <a:lnTo>
                    <a:pt x="575" y="106"/>
                  </a:lnTo>
                  <a:lnTo>
                    <a:pt x="569" y="97"/>
                  </a:lnTo>
                  <a:lnTo>
                    <a:pt x="562" y="88"/>
                  </a:lnTo>
                  <a:lnTo>
                    <a:pt x="556" y="80"/>
                  </a:lnTo>
                  <a:lnTo>
                    <a:pt x="547" y="72"/>
                  </a:lnTo>
                  <a:lnTo>
                    <a:pt x="540" y="64"/>
                  </a:lnTo>
                  <a:lnTo>
                    <a:pt x="532" y="57"/>
                  </a:lnTo>
                  <a:lnTo>
                    <a:pt x="523" y="50"/>
                  </a:lnTo>
                  <a:lnTo>
                    <a:pt x="514" y="44"/>
                  </a:lnTo>
                  <a:lnTo>
                    <a:pt x="505" y="38"/>
                  </a:lnTo>
                  <a:lnTo>
                    <a:pt x="496" y="33"/>
                  </a:lnTo>
                  <a:lnTo>
                    <a:pt x="476" y="23"/>
                  </a:lnTo>
                  <a:lnTo>
                    <a:pt x="455" y="15"/>
                  </a:lnTo>
                  <a:lnTo>
                    <a:pt x="433" y="8"/>
                  </a:lnTo>
                  <a:lnTo>
                    <a:pt x="410" y="4"/>
                  </a:lnTo>
                  <a:lnTo>
                    <a:pt x="387" y="1"/>
                  </a:lnTo>
                  <a:lnTo>
                    <a:pt x="363" y="0"/>
                  </a:lnTo>
                  <a:lnTo>
                    <a:pt x="339" y="1"/>
                  </a:lnTo>
                  <a:lnTo>
                    <a:pt x="316" y="3"/>
                  </a:lnTo>
                  <a:lnTo>
                    <a:pt x="294" y="6"/>
                  </a:lnTo>
                  <a:lnTo>
                    <a:pt x="272" y="11"/>
                  </a:lnTo>
                  <a:lnTo>
                    <a:pt x="252" y="18"/>
                  </a:lnTo>
                  <a:lnTo>
                    <a:pt x="233" y="25"/>
                  </a:lnTo>
                  <a:lnTo>
                    <a:pt x="214" y="34"/>
                  </a:lnTo>
                  <a:lnTo>
                    <a:pt x="197" y="44"/>
                  </a:lnTo>
                  <a:lnTo>
                    <a:pt x="180" y="55"/>
                  </a:lnTo>
                  <a:lnTo>
                    <a:pt x="164" y="66"/>
                  </a:lnTo>
                  <a:lnTo>
                    <a:pt x="149" y="79"/>
                  </a:lnTo>
                  <a:lnTo>
                    <a:pt x="134" y="93"/>
                  </a:lnTo>
                  <a:lnTo>
                    <a:pt x="121" y="108"/>
                  </a:lnTo>
                  <a:lnTo>
                    <a:pt x="108" y="123"/>
                  </a:lnTo>
                  <a:lnTo>
                    <a:pt x="96" y="140"/>
                  </a:lnTo>
                  <a:lnTo>
                    <a:pt x="85" y="157"/>
                  </a:lnTo>
                  <a:lnTo>
                    <a:pt x="74" y="175"/>
                  </a:lnTo>
                  <a:lnTo>
                    <a:pt x="64" y="193"/>
                  </a:lnTo>
                  <a:lnTo>
                    <a:pt x="55" y="212"/>
                  </a:lnTo>
                  <a:lnTo>
                    <a:pt x="47" y="232"/>
                  </a:lnTo>
                  <a:lnTo>
                    <a:pt x="39" y="251"/>
                  </a:lnTo>
                  <a:lnTo>
                    <a:pt x="32" y="272"/>
                  </a:lnTo>
                  <a:lnTo>
                    <a:pt x="26" y="292"/>
                  </a:lnTo>
                  <a:lnTo>
                    <a:pt x="21" y="313"/>
                  </a:lnTo>
                  <a:lnTo>
                    <a:pt x="16" y="334"/>
                  </a:lnTo>
                  <a:lnTo>
                    <a:pt x="12" y="355"/>
                  </a:lnTo>
                  <a:lnTo>
                    <a:pt x="8" y="376"/>
                  </a:lnTo>
                  <a:lnTo>
                    <a:pt x="5" y="398"/>
                  </a:lnTo>
                  <a:lnTo>
                    <a:pt x="3" y="419"/>
                  </a:lnTo>
                  <a:lnTo>
                    <a:pt x="1" y="442"/>
                  </a:lnTo>
                  <a:lnTo>
                    <a:pt x="0" y="463"/>
                  </a:lnTo>
                  <a:lnTo>
                    <a:pt x="0" y="484"/>
                  </a:lnTo>
                  <a:lnTo>
                    <a:pt x="0" y="504"/>
                  </a:lnTo>
                  <a:lnTo>
                    <a:pt x="1" y="523"/>
                  </a:lnTo>
                  <a:lnTo>
                    <a:pt x="3" y="542"/>
                  </a:lnTo>
                  <a:lnTo>
                    <a:pt x="5" y="560"/>
                  </a:lnTo>
                  <a:lnTo>
                    <a:pt x="8" y="578"/>
                  </a:lnTo>
                  <a:lnTo>
                    <a:pt x="11" y="594"/>
                  </a:lnTo>
                  <a:lnTo>
                    <a:pt x="15" y="610"/>
                  </a:lnTo>
                  <a:lnTo>
                    <a:pt x="20" y="626"/>
                  </a:lnTo>
                  <a:lnTo>
                    <a:pt x="25" y="641"/>
                  </a:lnTo>
                  <a:lnTo>
                    <a:pt x="31" y="655"/>
                  </a:lnTo>
                  <a:lnTo>
                    <a:pt x="38" y="668"/>
                  </a:lnTo>
                  <a:lnTo>
                    <a:pt x="45" y="681"/>
                  </a:lnTo>
                  <a:lnTo>
                    <a:pt x="52" y="693"/>
                  </a:lnTo>
                  <a:lnTo>
                    <a:pt x="61" y="705"/>
                  </a:lnTo>
                  <a:lnTo>
                    <a:pt x="70" y="716"/>
                  </a:lnTo>
                  <a:lnTo>
                    <a:pt x="80" y="727"/>
                  </a:lnTo>
                  <a:lnTo>
                    <a:pt x="90" y="737"/>
                  </a:lnTo>
                  <a:lnTo>
                    <a:pt x="101" y="746"/>
                  </a:lnTo>
                  <a:lnTo>
                    <a:pt x="112" y="754"/>
                  </a:lnTo>
                  <a:lnTo>
                    <a:pt x="125" y="762"/>
                  </a:lnTo>
                  <a:lnTo>
                    <a:pt x="137" y="769"/>
                  </a:lnTo>
                  <a:lnTo>
                    <a:pt x="151" y="776"/>
                  </a:lnTo>
                  <a:lnTo>
                    <a:pt x="165" y="782"/>
                  </a:lnTo>
                  <a:lnTo>
                    <a:pt x="180" y="787"/>
                  </a:lnTo>
                  <a:lnTo>
                    <a:pt x="195" y="791"/>
                  </a:lnTo>
                  <a:lnTo>
                    <a:pt x="211" y="795"/>
                  </a:lnTo>
                  <a:lnTo>
                    <a:pt x="228" y="799"/>
                  </a:lnTo>
                  <a:lnTo>
                    <a:pt x="246" y="802"/>
                  </a:lnTo>
                  <a:lnTo>
                    <a:pt x="264" y="804"/>
                  </a:lnTo>
                  <a:lnTo>
                    <a:pt x="283" y="805"/>
                  </a:lnTo>
                  <a:lnTo>
                    <a:pt x="303" y="806"/>
                  </a:lnTo>
                  <a:lnTo>
                    <a:pt x="323" y="806"/>
                  </a:lnTo>
                  <a:lnTo>
                    <a:pt x="344" y="806"/>
                  </a:lnTo>
                  <a:lnTo>
                    <a:pt x="365" y="805"/>
                  </a:lnTo>
                  <a:lnTo>
                    <a:pt x="385" y="803"/>
                  </a:lnTo>
                  <a:lnTo>
                    <a:pt x="406" y="800"/>
                  </a:lnTo>
                  <a:lnTo>
                    <a:pt x="426" y="797"/>
                  </a:lnTo>
                  <a:lnTo>
                    <a:pt x="446" y="793"/>
                  </a:lnTo>
                  <a:lnTo>
                    <a:pt x="465" y="788"/>
                  </a:lnTo>
                  <a:lnTo>
                    <a:pt x="483" y="782"/>
                  </a:lnTo>
                  <a:lnTo>
                    <a:pt x="499" y="693"/>
                  </a:lnTo>
                  <a:lnTo>
                    <a:pt x="469" y="699"/>
                  </a:lnTo>
                  <a:lnTo>
                    <a:pt x="439" y="704"/>
                  </a:lnTo>
                  <a:lnTo>
                    <a:pt x="424" y="706"/>
                  </a:lnTo>
                  <a:lnTo>
                    <a:pt x="409" y="708"/>
                  </a:lnTo>
                  <a:lnTo>
                    <a:pt x="394" y="709"/>
                  </a:lnTo>
                  <a:lnTo>
                    <a:pt x="379" y="709"/>
                  </a:lnTo>
                  <a:lnTo>
                    <a:pt x="363" y="709"/>
                  </a:lnTo>
                  <a:lnTo>
                    <a:pt x="347" y="708"/>
                  </a:lnTo>
                  <a:lnTo>
                    <a:pt x="332" y="707"/>
                  </a:lnTo>
                  <a:lnTo>
                    <a:pt x="317" y="705"/>
                  </a:lnTo>
                  <a:lnTo>
                    <a:pt x="304" y="703"/>
                  </a:lnTo>
                  <a:lnTo>
                    <a:pt x="290" y="701"/>
                  </a:lnTo>
                  <a:lnTo>
                    <a:pt x="278" y="697"/>
                  </a:lnTo>
                  <a:lnTo>
                    <a:pt x="264" y="694"/>
                  </a:lnTo>
                  <a:lnTo>
                    <a:pt x="253" y="690"/>
                  </a:lnTo>
                  <a:lnTo>
                    <a:pt x="242" y="685"/>
                  </a:lnTo>
                  <a:lnTo>
                    <a:pt x="231" y="680"/>
                  </a:lnTo>
                  <a:lnTo>
                    <a:pt x="221" y="674"/>
                  </a:lnTo>
                  <a:lnTo>
                    <a:pt x="212" y="668"/>
                  </a:lnTo>
                  <a:lnTo>
                    <a:pt x="203" y="662"/>
                  </a:lnTo>
                  <a:lnTo>
                    <a:pt x="195" y="654"/>
                  </a:lnTo>
                  <a:lnTo>
                    <a:pt x="187" y="647"/>
                  </a:lnTo>
                  <a:lnTo>
                    <a:pt x="180" y="639"/>
                  </a:lnTo>
                  <a:lnTo>
                    <a:pt x="173" y="630"/>
                  </a:lnTo>
                  <a:lnTo>
                    <a:pt x="167" y="621"/>
                  </a:lnTo>
                  <a:lnTo>
                    <a:pt x="161" y="611"/>
                  </a:lnTo>
                  <a:lnTo>
                    <a:pt x="156" y="601"/>
                  </a:lnTo>
                  <a:lnTo>
                    <a:pt x="151" y="590"/>
                  </a:lnTo>
                  <a:lnTo>
                    <a:pt x="147" y="579"/>
                  </a:lnTo>
                  <a:lnTo>
                    <a:pt x="143" y="567"/>
                  </a:lnTo>
                  <a:lnTo>
                    <a:pt x="139" y="554"/>
                  </a:lnTo>
                  <a:lnTo>
                    <a:pt x="137" y="541"/>
                  </a:lnTo>
                  <a:lnTo>
                    <a:pt x="134" y="528"/>
                  </a:lnTo>
                  <a:lnTo>
                    <a:pt x="132" y="514"/>
                  </a:lnTo>
                  <a:lnTo>
                    <a:pt x="130" y="484"/>
                  </a:lnTo>
                  <a:lnTo>
                    <a:pt x="129" y="452"/>
                  </a:lnTo>
                  <a:lnTo>
                    <a:pt x="129" y="436"/>
                  </a:lnTo>
                  <a:lnTo>
                    <a:pt x="130" y="421"/>
                  </a:lnTo>
                  <a:lnTo>
                    <a:pt x="132" y="406"/>
                  </a:lnTo>
                  <a:lnTo>
                    <a:pt x="134" y="391"/>
                  </a:lnTo>
                  <a:lnTo>
                    <a:pt x="139" y="361"/>
                  </a:lnTo>
                  <a:lnTo>
                    <a:pt x="145" y="330"/>
                  </a:lnTo>
                  <a:lnTo>
                    <a:pt x="589" y="330"/>
                  </a:lnTo>
                  <a:lnTo>
                    <a:pt x="595" y="305"/>
                  </a:lnTo>
                  <a:lnTo>
                    <a:pt x="600" y="277"/>
                  </a:lnTo>
                  <a:lnTo>
                    <a:pt x="602" y="263"/>
                  </a:lnTo>
                  <a:lnTo>
                    <a:pt x="604" y="248"/>
                  </a:lnTo>
                  <a:lnTo>
                    <a:pt x="605" y="233"/>
                  </a:lnTo>
                  <a:lnTo>
                    <a:pt x="605" y="218"/>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49" name="Freeform 36"/>
            <p:cNvSpPr>
              <a:spLocks/>
            </p:cNvSpPr>
            <p:nvPr userDrawn="1">
              <p:custDataLst>
                <p:tags r:id="rId35"/>
              </p:custDataLst>
            </p:nvPr>
          </p:nvSpPr>
          <p:spPr bwMode="gray">
            <a:xfrm>
              <a:off x="3563938" y="3751263"/>
              <a:ext cx="114300" cy="169862"/>
            </a:xfrm>
            <a:custGeom>
              <a:avLst/>
              <a:gdLst/>
              <a:ahLst/>
              <a:cxnLst>
                <a:cxn ang="0">
                  <a:pos x="500" y="120"/>
                </a:cxn>
                <a:cxn ang="0">
                  <a:pos x="480" y="121"/>
                </a:cxn>
                <a:cxn ang="0">
                  <a:pos x="459" y="123"/>
                </a:cxn>
                <a:cxn ang="0">
                  <a:pos x="440" y="125"/>
                </a:cxn>
                <a:cxn ang="0">
                  <a:pos x="422" y="129"/>
                </a:cxn>
                <a:cxn ang="0">
                  <a:pos x="405" y="134"/>
                </a:cxn>
                <a:cxn ang="0">
                  <a:pos x="389" y="139"/>
                </a:cxn>
                <a:cxn ang="0">
                  <a:pos x="373" y="146"/>
                </a:cxn>
                <a:cxn ang="0">
                  <a:pos x="359" y="153"/>
                </a:cxn>
                <a:cxn ang="0">
                  <a:pos x="345" y="163"/>
                </a:cxn>
                <a:cxn ang="0">
                  <a:pos x="331" y="172"/>
                </a:cxn>
                <a:cxn ang="0">
                  <a:pos x="319" y="182"/>
                </a:cxn>
                <a:cxn ang="0">
                  <a:pos x="307" y="192"/>
                </a:cxn>
                <a:cxn ang="0">
                  <a:pos x="295" y="203"/>
                </a:cxn>
                <a:cxn ang="0">
                  <a:pos x="285" y="215"/>
                </a:cxn>
                <a:cxn ang="0">
                  <a:pos x="275" y="228"/>
                </a:cxn>
                <a:cxn ang="0">
                  <a:pos x="265" y="241"/>
                </a:cxn>
                <a:cxn ang="0">
                  <a:pos x="256" y="255"/>
                </a:cxn>
                <a:cxn ang="0">
                  <a:pos x="248" y="269"/>
                </a:cxn>
                <a:cxn ang="0">
                  <a:pos x="240" y="283"/>
                </a:cxn>
                <a:cxn ang="0">
                  <a:pos x="232" y="298"/>
                </a:cxn>
                <a:cxn ang="0">
                  <a:pos x="219" y="330"/>
                </a:cxn>
                <a:cxn ang="0">
                  <a:pos x="207" y="362"/>
                </a:cxn>
                <a:cxn ang="0">
                  <a:pos x="196" y="396"/>
                </a:cxn>
                <a:cxn ang="0">
                  <a:pos x="186" y="430"/>
                </a:cxn>
                <a:cxn ang="0">
                  <a:pos x="177" y="465"/>
                </a:cxn>
                <a:cxn ang="0">
                  <a:pos x="169" y="500"/>
                </a:cxn>
                <a:cxn ang="0">
                  <a:pos x="121" y="790"/>
                </a:cxn>
                <a:cxn ang="0">
                  <a:pos x="0" y="790"/>
                </a:cxn>
                <a:cxn ang="0">
                  <a:pos x="153" y="16"/>
                </a:cxn>
                <a:cxn ang="0">
                  <a:pos x="266" y="16"/>
                </a:cxn>
                <a:cxn ang="0">
                  <a:pos x="234" y="170"/>
                </a:cxn>
                <a:cxn ang="0">
                  <a:pos x="242" y="170"/>
                </a:cxn>
                <a:cxn ang="0">
                  <a:pos x="253" y="147"/>
                </a:cxn>
                <a:cxn ang="0">
                  <a:pos x="265" y="127"/>
                </a:cxn>
                <a:cxn ang="0">
                  <a:pos x="278" y="108"/>
                </a:cxn>
                <a:cxn ang="0">
                  <a:pos x="292" y="91"/>
                </a:cxn>
                <a:cxn ang="0">
                  <a:pos x="306" y="76"/>
                </a:cxn>
                <a:cxn ang="0">
                  <a:pos x="322" y="62"/>
                </a:cxn>
                <a:cxn ang="0">
                  <a:pos x="338" y="50"/>
                </a:cxn>
                <a:cxn ang="0">
                  <a:pos x="356" y="39"/>
                </a:cxn>
                <a:cxn ang="0">
                  <a:pos x="374" y="30"/>
                </a:cxn>
                <a:cxn ang="0">
                  <a:pos x="393" y="22"/>
                </a:cxn>
                <a:cxn ang="0">
                  <a:pos x="413" y="15"/>
                </a:cxn>
                <a:cxn ang="0">
                  <a:pos x="433" y="9"/>
                </a:cxn>
                <a:cxn ang="0">
                  <a:pos x="455" y="5"/>
                </a:cxn>
                <a:cxn ang="0">
                  <a:pos x="478" y="2"/>
                </a:cxn>
                <a:cxn ang="0">
                  <a:pos x="501" y="0"/>
                </a:cxn>
                <a:cxn ang="0">
                  <a:pos x="524" y="0"/>
                </a:cxn>
                <a:cxn ang="0">
                  <a:pos x="500" y="120"/>
                </a:cxn>
              </a:cxnLst>
              <a:rect l="0" t="0" r="r" b="b"/>
              <a:pathLst>
                <a:path w="524" h="790">
                  <a:moveTo>
                    <a:pt x="500" y="120"/>
                  </a:moveTo>
                  <a:lnTo>
                    <a:pt x="480" y="121"/>
                  </a:lnTo>
                  <a:lnTo>
                    <a:pt x="459" y="123"/>
                  </a:lnTo>
                  <a:lnTo>
                    <a:pt x="440" y="125"/>
                  </a:lnTo>
                  <a:lnTo>
                    <a:pt x="422" y="129"/>
                  </a:lnTo>
                  <a:lnTo>
                    <a:pt x="405" y="134"/>
                  </a:lnTo>
                  <a:lnTo>
                    <a:pt x="389" y="139"/>
                  </a:lnTo>
                  <a:lnTo>
                    <a:pt x="373" y="146"/>
                  </a:lnTo>
                  <a:lnTo>
                    <a:pt x="359" y="153"/>
                  </a:lnTo>
                  <a:lnTo>
                    <a:pt x="345" y="163"/>
                  </a:lnTo>
                  <a:lnTo>
                    <a:pt x="331" y="172"/>
                  </a:lnTo>
                  <a:lnTo>
                    <a:pt x="319" y="182"/>
                  </a:lnTo>
                  <a:lnTo>
                    <a:pt x="307" y="192"/>
                  </a:lnTo>
                  <a:lnTo>
                    <a:pt x="295" y="203"/>
                  </a:lnTo>
                  <a:lnTo>
                    <a:pt x="285" y="215"/>
                  </a:lnTo>
                  <a:lnTo>
                    <a:pt x="275" y="228"/>
                  </a:lnTo>
                  <a:lnTo>
                    <a:pt x="265" y="241"/>
                  </a:lnTo>
                  <a:lnTo>
                    <a:pt x="256" y="255"/>
                  </a:lnTo>
                  <a:lnTo>
                    <a:pt x="248" y="269"/>
                  </a:lnTo>
                  <a:lnTo>
                    <a:pt x="240" y="283"/>
                  </a:lnTo>
                  <a:lnTo>
                    <a:pt x="232" y="298"/>
                  </a:lnTo>
                  <a:lnTo>
                    <a:pt x="219" y="330"/>
                  </a:lnTo>
                  <a:lnTo>
                    <a:pt x="207" y="362"/>
                  </a:lnTo>
                  <a:lnTo>
                    <a:pt x="196" y="396"/>
                  </a:lnTo>
                  <a:lnTo>
                    <a:pt x="186" y="430"/>
                  </a:lnTo>
                  <a:lnTo>
                    <a:pt x="177" y="465"/>
                  </a:lnTo>
                  <a:lnTo>
                    <a:pt x="169" y="500"/>
                  </a:lnTo>
                  <a:lnTo>
                    <a:pt x="121" y="790"/>
                  </a:lnTo>
                  <a:lnTo>
                    <a:pt x="0" y="790"/>
                  </a:lnTo>
                  <a:lnTo>
                    <a:pt x="153" y="16"/>
                  </a:lnTo>
                  <a:lnTo>
                    <a:pt x="266" y="16"/>
                  </a:lnTo>
                  <a:lnTo>
                    <a:pt x="234" y="170"/>
                  </a:lnTo>
                  <a:lnTo>
                    <a:pt x="242" y="170"/>
                  </a:lnTo>
                  <a:lnTo>
                    <a:pt x="253" y="147"/>
                  </a:lnTo>
                  <a:lnTo>
                    <a:pt x="265" y="127"/>
                  </a:lnTo>
                  <a:lnTo>
                    <a:pt x="278" y="108"/>
                  </a:lnTo>
                  <a:lnTo>
                    <a:pt x="292" y="91"/>
                  </a:lnTo>
                  <a:lnTo>
                    <a:pt x="306" y="76"/>
                  </a:lnTo>
                  <a:lnTo>
                    <a:pt x="322" y="62"/>
                  </a:lnTo>
                  <a:lnTo>
                    <a:pt x="338" y="50"/>
                  </a:lnTo>
                  <a:lnTo>
                    <a:pt x="356" y="39"/>
                  </a:lnTo>
                  <a:lnTo>
                    <a:pt x="374" y="30"/>
                  </a:lnTo>
                  <a:lnTo>
                    <a:pt x="393" y="22"/>
                  </a:lnTo>
                  <a:lnTo>
                    <a:pt x="413" y="15"/>
                  </a:lnTo>
                  <a:lnTo>
                    <a:pt x="433" y="9"/>
                  </a:lnTo>
                  <a:lnTo>
                    <a:pt x="455" y="5"/>
                  </a:lnTo>
                  <a:lnTo>
                    <a:pt x="478" y="2"/>
                  </a:lnTo>
                  <a:lnTo>
                    <a:pt x="501" y="0"/>
                  </a:lnTo>
                  <a:lnTo>
                    <a:pt x="524" y="0"/>
                  </a:lnTo>
                  <a:lnTo>
                    <a:pt x="500" y="120"/>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50" name="Freeform 37"/>
            <p:cNvSpPr>
              <a:spLocks noEditPoints="1"/>
            </p:cNvSpPr>
            <p:nvPr userDrawn="1">
              <p:custDataLst>
                <p:tags r:id="rId36"/>
              </p:custDataLst>
            </p:nvPr>
          </p:nvSpPr>
          <p:spPr bwMode="gray">
            <a:xfrm>
              <a:off x="3665538" y="3751263"/>
              <a:ext cx="130175" cy="173037"/>
            </a:xfrm>
            <a:custGeom>
              <a:avLst/>
              <a:gdLst/>
              <a:ahLst/>
              <a:cxnLst>
                <a:cxn ang="0">
                  <a:pos x="483" y="229"/>
                </a:cxn>
                <a:cxn ang="0">
                  <a:pos x="161" y="242"/>
                </a:cxn>
                <a:cxn ang="0">
                  <a:pos x="182" y="195"/>
                </a:cxn>
                <a:cxn ang="0">
                  <a:pos x="209" y="154"/>
                </a:cxn>
                <a:cxn ang="0">
                  <a:pos x="242" y="122"/>
                </a:cxn>
                <a:cxn ang="0">
                  <a:pos x="285" y="100"/>
                </a:cxn>
                <a:cxn ang="0">
                  <a:pos x="336" y="89"/>
                </a:cxn>
                <a:cxn ang="0">
                  <a:pos x="383" y="90"/>
                </a:cxn>
                <a:cxn ang="0">
                  <a:pos x="420" y="102"/>
                </a:cxn>
                <a:cxn ang="0">
                  <a:pos x="449" y="121"/>
                </a:cxn>
                <a:cxn ang="0">
                  <a:pos x="470" y="149"/>
                </a:cxn>
                <a:cxn ang="0">
                  <a:pos x="481" y="184"/>
                </a:cxn>
                <a:cxn ang="0">
                  <a:pos x="605" y="218"/>
                </a:cxn>
                <a:cxn ang="0">
                  <a:pos x="602" y="181"/>
                </a:cxn>
                <a:cxn ang="0">
                  <a:pos x="594" y="146"/>
                </a:cxn>
                <a:cxn ang="0">
                  <a:pos x="580" y="116"/>
                </a:cxn>
                <a:cxn ang="0">
                  <a:pos x="563" y="88"/>
                </a:cxn>
                <a:cxn ang="0">
                  <a:pos x="541" y="64"/>
                </a:cxn>
                <a:cxn ang="0">
                  <a:pos x="514" y="44"/>
                </a:cxn>
                <a:cxn ang="0">
                  <a:pos x="476" y="23"/>
                </a:cxn>
                <a:cxn ang="0">
                  <a:pos x="410" y="4"/>
                </a:cxn>
                <a:cxn ang="0">
                  <a:pos x="339" y="1"/>
                </a:cxn>
                <a:cxn ang="0">
                  <a:pos x="273" y="11"/>
                </a:cxn>
                <a:cxn ang="0">
                  <a:pos x="214" y="34"/>
                </a:cxn>
                <a:cxn ang="0">
                  <a:pos x="164" y="66"/>
                </a:cxn>
                <a:cxn ang="0">
                  <a:pos x="121" y="108"/>
                </a:cxn>
                <a:cxn ang="0">
                  <a:pos x="85" y="157"/>
                </a:cxn>
                <a:cxn ang="0">
                  <a:pos x="55" y="212"/>
                </a:cxn>
                <a:cxn ang="0">
                  <a:pos x="32" y="272"/>
                </a:cxn>
                <a:cxn ang="0">
                  <a:pos x="16" y="334"/>
                </a:cxn>
                <a:cxn ang="0">
                  <a:pos x="5" y="398"/>
                </a:cxn>
                <a:cxn ang="0">
                  <a:pos x="1" y="463"/>
                </a:cxn>
                <a:cxn ang="0">
                  <a:pos x="1" y="523"/>
                </a:cxn>
                <a:cxn ang="0">
                  <a:pos x="8" y="578"/>
                </a:cxn>
                <a:cxn ang="0">
                  <a:pos x="20" y="626"/>
                </a:cxn>
                <a:cxn ang="0">
                  <a:pos x="38" y="668"/>
                </a:cxn>
                <a:cxn ang="0">
                  <a:pos x="61" y="705"/>
                </a:cxn>
                <a:cxn ang="0">
                  <a:pos x="90" y="737"/>
                </a:cxn>
                <a:cxn ang="0">
                  <a:pos x="125" y="762"/>
                </a:cxn>
                <a:cxn ang="0">
                  <a:pos x="165" y="782"/>
                </a:cxn>
                <a:cxn ang="0">
                  <a:pos x="211" y="795"/>
                </a:cxn>
                <a:cxn ang="0">
                  <a:pos x="265" y="804"/>
                </a:cxn>
                <a:cxn ang="0">
                  <a:pos x="323" y="806"/>
                </a:cxn>
                <a:cxn ang="0">
                  <a:pos x="383" y="803"/>
                </a:cxn>
                <a:cxn ang="0">
                  <a:pos x="442" y="793"/>
                </a:cxn>
                <a:cxn ang="0">
                  <a:pos x="499" y="693"/>
                </a:cxn>
                <a:cxn ang="0">
                  <a:pos x="424" y="706"/>
                </a:cxn>
                <a:cxn ang="0">
                  <a:pos x="379" y="709"/>
                </a:cxn>
                <a:cxn ang="0">
                  <a:pos x="332" y="707"/>
                </a:cxn>
                <a:cxn ang="0">
                  <a:pos x="290" y="701"/>
                </a:cxn>
                <a:cxn ang="0">
                  <a:pos x="253" y="690"/>
                </a:cxn>
                <a:cxn ang="0">
                  <a:pos x="221" y="674"/>
                </a:cxn>
                <a:cxn ang="0">
                  <a:pos x="195" y="654"/>
                </a:cxn>
                <a:cxn ang="0">
                  <a:pos x="173" y="630"/>
                </a:cxn>
                <a:cxn ang="0">
                  <a:pos x="156" y="601"/>
                </a:cxn>
                <a:cxn ang="0">
                  <a:pos x="143" y="567"/>
                </a:cxn>
                <a:cxn ang="0">
                  <a:pos x="134" y="528"/>
                </a:cxn>
                <a:cxn ang="0">
                  <a:pos x="129" y="452"/>
                </a:cxn>
                <a:cxn ang="0">
                  <a:pos x="131" y="376"/>
                </a:cxn>
                <a:cxn ang="0">
                  <a:pos x="137" y="330"/>
                </a:cxn>
                <a:cxn ang="0">
                  <a:pos x="600" y="277"/>
                </a:cxn>
                <a:cxn ang="0">
                  <a:pos x="605" y="233"/>
                </a:cxn>
              </a:cxnLst>
              <a:rect l="0" t="0" r="r" b="b"/>
              <a:pathLst>
                <a:path w="605" h="806">
                  <a:moveTo>
                    <a:pt x="483" y="210"/>
                  </a:moveTo>
                  <a:lnTo>
                    <a:pt x="483" y="221"/>
                  </a:lnTo>
                  <a:lnTo>
                    <a:pt x="483" y="229"/>
                  </a:lnTo>
                  <a:lnTo>
                    <a:pt x="483" y="236"/>
                  </a:lnTo>
                  <a:lnTo>
                    <a:pt x="483" y="242"/>
                  </a:lnTo>
                  <a:lnTo>
                    <a:pt x="161" y="242"/>
                  </a:lnTo>
                  <a:lnTo>
                    <a:pt x="167" y="226"/>
                  </a:lnTo>
                  <a:lnTo>
                    <a:pt x="174" y="210"/>
                  </a:lnTo>
                  <a:lnTo>
                    <a:pt x="182" y="195"/>
                  </a:lnTo>
                  <a:lnTo>
                    <a:pt x="190" y="181"/>
                  </a:lnTo>
                  <a:lnTo>
                    <a:pt x="199" y="167"/>
                  </a:lnTo>
                  <a:lnTo>
                    <a:pt x="209" y="154"/>
                  </a:lnTo>
                  <a:lnTo>
                    <a:pt x="219" y="142"/>
                  </a:lnTo>
                  <a:lnTo>
                    <a:pt x="230" y="131"/>
                  </a:lnTo>
                  <a:lnTo>
                    <a:pt x="242" y="122"/>
                  </a:lnTo>
                  <a:lnTo>
                    <a:pt x="255" y="113"/>
                  </a:lnTo>
                  <a:lnTo>
                    <a:pt x="270" y="106"/>
                  </a:lnTo>
                  <a:lnTo>
                    <a:pt x="285" y="100"/>
                  </a:lnTo>
                  <a:lnTo>
                    <a:pt x="301" y="95"/>
                  </a:lnTo>
                  <a:lnTo>
                    <a:pt x="318" y="91"/>
                  </a:lnTo>
                  <a:lnTo>
                    <a:pt x="336" y="89"/>
                  </a:lnTo>
                  <a:lnTo>
                    <a:pt x="355" y="88"/>
                  </a:lnTo>
                  <a:lnTo>
                    <a:pt x="369" y="89"/>
                  </a:lnTo>
                  <a:lnTo>
                    <a:pt x="383" y="90"/>
                  </a:lnTo>
                  <a:lnTo>
                    <a:pt x="396" y="93"/>
                  </a:lnTo>
                  <a:lnTo>
                    <a:pt x="409" y="97"/>
                  </a:lnTo>
                  <a:lnTo>
                    <a:pt x="420" y="102"/>
                  </a:lnTo>
                  <a:lnTo>
                    <a:pt x="431" y="107"/>
                  </a:lnTo>
                  <a:lnTo>
                    <a:pt x="440" y="114"/>
                  </a:lnTo>
                  <a:lnTo>
                    <a:pt x="449" y="121"/>
                  </a:lnTo>
                  <a:lnTo>
                    <a:pt x="457" y="130"/>
                  </a:lnTo>
                  <a:lnTo>
                    <a:pt x="464" y="139"/>
                  </a:lnTo>
                  <a:lnTo>
                    <a:pt x="470" y="149"/>
                  </a:lnTo>
                  <a:lnTo>
                    <a:pt x="475" y="159"/>
                  </a:lnTo>
                  <a:lnTo>
                    <a:pt x="478" y="172"/>
                  </a:lnTo>
                  <a:lnTo>
                    <a:pt x="481" y="184"/>
                  </a:lnTo>
                  <a:lnTo>
                    <a:pt x="483" y="197"/>
                  </a:lnTo>
                  <a:lnTo>
                    <a:pt x="483" y="210"/>
                  </a:lnTo>
                  <a:close/>
                  <a:moveTo>
                    <a:pt x="605" y="218"/>
                  </a:moveTo>
                  <a:lnTo>
                    <a:pt x="605" y="205"/>
                  </a:lnTo>
                  <a:lnTo>
                    <a:pt x="604" y="193"/>
                  </a:lnTo>
                  <a:lnTo>
                    <a:pt x="602" y="181"/>
                  </a:lnTo>
                  <a:lnTo>
                    <a:pt x="600" y="169"/>
                  </a:lnTo>
                  <a:lnTo>
                    <a:pt x="597" y="157"/>
                  </a:lnTo>
                  <a:lnTo>
                    <a:pt x="594" y="146"/>
                  </a:lnTo>
                  <a:lnTo>
                    <a:pt x="590" y="136"/>
                  </a:lnTo>
                  <a:lnTo>
                    <a:pt x="585" y="125"/>
                  </a:lnTo>
                  <a:lnTo>
                    <a:pt x="580" y="116"/>
                  </a:lnTo>
                  <a:lnTo>
                    <a:pt x="575" y="106"/>
                  </a:lnTo>
                  <a:lnTo>
                    <a:pt x="569" y="97"/>
                  </a:lnTo>
                  <a:lnTo>
                    <a:pt x="563" y="88"/>
                  </a:lnTo>
                  <a:lnTo>
                    <a:pt x="556" y="80"/>
                  </a:lnTo>
                  <a:lnTo>
                    <a:pt x="548" y="72"/>
                  </a:lnTo>
                  <a:lnTo>
                    <a:pt x="541" y="64"/>
                  </a:lnTo>
                  <a:lnTo>
                    <a:pt x="532" y="57"/>
                  </a:lnTo>
                  <a:lnTo>
                    <a:pt x="523" y="50"/>
                  </a:lnTo>
                  <a:lnTo>
                    <a:pt x="514" y="44"/>
                  </a:lnTo>
                  <a:lnTo>
                    <a:pt x="505" y="38"/>
                  </a:lnTo>
                  <a:lnTo>
                    <a:pt x="496" y="33"/>
                  </a:lnTo>
                  <a:lnTo>
                    <a:pt x="476" y="23"/>
                  </a:lnTo>
                  <a:lnTo>
                    <a:pt x="455" y="15"/>
                  </a:lnTo>
                  <a:lnTo>
                    <a:pt x="433" y="8"/>
                  </a:lnTo>
                  <a:lnTo>
                    <a:pt x="410" y="4"/>
                  </a:lnTo>
                  <a:lnTo>
                    <a:pt x="387" y="1"/>
                  </a:lnTo>
                  <a:lnTo>
                    <a:pt x="363" y="0"/>
                  </a:lnTo>
                  <a:lnTo>
                    <a:pt x="339" y="1"/>
                  </a:lnTo>
                  <a:lnTo>
                    <a:pt x="316" y="3"/>
                  </a:lnTo>
                  <a:lnTo>
                    <a:pt x="294" y="6"/>
                  </a:lnTo>
                  <a:lnTo>
                    <a:pt x="273" y="11"/>
                  </a:lnTo>
                  <a:lnTo>
                    <a:pt x="252" y="18"/>
                  </a:lnTo>
                  <a:lnTo>
                    <a:pt x="233" y="25"/>
                  </a:lnTo>
                  <a:lnTo>
                    <a:pt x="214" y="34"/>
                  </a:lnTo>
                  <a:lnTo>
                    <a:pt x="197" y="44"/>
                  </a:lnTo>
                  <a:lnTo>
                    <a:pt x="180" y="55"/>
                  </a:lnTo>
                  <a:lnTo>
                    <a:pt x="164" y="66"/>
                  </a:lnTo>
                  <a:lnTo>
                    <a:pt x="149" y="79"/>
                  </a:lnTo>
                  <a:lnTo>
                    <a:pt x="134" y="93"/>
                  </a:lnTo>
                  <a:lnTo>
                    <a:pt x="121" y="108"/>
                  </a:lnTo>
                  <a:lnTo>
                    <a:pt x="108" y="123"/>
                  </a:lnTo>
                  <a:lnTo>
                    <a:pt x="96" y="140"/>
                  </a:lnTo>
                  <a:lnTo>
                    <a:pt x="85" y="157"/>
                  </a:lnTo>
                  <a:lnTo>
                    <a:pt x="74" y="175"/>
                  </a:lnTo>
                  <a:lnTo>
                    <a:pt x="64" y="193"/>
                  </a:lnTo>
                  <a:lnTo>
                    <a:pt x="55" y="212"/>
                  </a:lnTo>
                  <a:lnTo>
                    <a:pt x="47" y="232"/>
                  </a:lnTo>
                  <a:lnTo>
                    <a:pt x="39" y="251"/>
                  </a:lnTo>
                  <a:lnTo>
                    <a:pt x="32" y="272"/>
                  </a:lnTo>
                  <a:lnTo>
                    <a:pt x="26" y="292"/>
                  </a:lnTo>
                  <a:lnTo>
                    <a:pt x="21" y="313"/>
                  </a:lnTo>
                  <a:lnTo>
                    <a:pt x="16" y="334"/>
                  </a:lnTo>
                  <a:lnTo>
                    <a:pt x="12" y="355"/>
                  </a:lnTo>
                  <a:lnTo>
                    <a:pt x="8" y="376"/>
                  </a:lnTo>
                  <a:lnTo>
                    <a:pt x="5" y="398"/>
                  </a:lnTo>
                  <a:lnTo>
                    <a:pt x="3" y="419"/>
                  </a:lnTo>
                  <a:lnTo>
                    <a:pt x="1" y="442"/>
                  </a:lnTo>
                  <a:lnTo>
                    <a:pt x="1" y="463"/>
                  </a:lnTo>
                  <a:lnTo>
                    <a:pt x="0" y="484"/>
                  </a:lnTo>
                  <a:lnTo>
                    <a:pt x="1" y="504"/>
                  </a:lnTo>
                  <a:lnTo>
                    <a:pt x="1" y="523"/>
                  </a:lnTo>
                  <a:lnTo>
                    <a:pt x="3" y="542"/>
                  </a:lnTo>
                  <a:lnTo>
                    <a:pt x="5" y="560"/>
                  </a:lnTo>
                  <a:lnTo>
                    <a:pt x="8" y="578"/>
                  </a:lnTo>
                  <a:lnTo>
                    <a:pt x="11" y="594"/>
                  </a:lnTo>
                  <a:lnTo>
                    <a:pt x="15" y="610"/>
                  </a:lnTo>
                  <a:lnTo>
                    <a:pt x="20" y="626"/>
                  </a:lnTo>
                  <a:lnTo>
                    <a:pt x="25" y="641"/>
                  </a:lnTo>
                  <a:lnTo>
                    <a:pt x="31" y="655"/>
                  </a:lnTo>
                  <a:lnTo>
                    <a:pt x="38" y="668"/>
                  </a:lnTo>
                  <a:lnTo>
                    <a:pt x="45" y="681"/>
                  </a:lnTo>
                  <a:lnTo>
                    <a:pt x="52" y="693"/>
                  </a:lnTo>
                  <a:lnTo>
                    <a:pt x="61" y="705"/>
                  </a:lnTo>
                  <a:lnTo>
                    <a:pt x="70" y="716"/>
                  </a:lnTo>
                  <a:lnTo>
                    <a:pt x="80" y="727"/>
                  </a:lnTo>
                  <a:lnTo>
                    <a:pt x="90" y="737"/>
                  </a:lnTo>
                  <a:lnTo>
                    <a:pt x="101" y="746"/>
                  </a:lnTo>
                  <a:lnTo>
                    <a:pt x="112" y="754"/>
                  </a:lnTo>
                  <a:lnTo>
                    <a:pt x="125" y="762"/>
                  </a:lnTo>
                  <a:lnTo>
                    <a:pt x="137" y="769"/>
                  </a:lnTo>
                  <a:lnTo>
                    <a:pt x="151" y="776"/>
                  </a:lnTo>
                  <a:lnTo>
                    <a:pt x="165" y="782"/>
                  </a:lnTo>
                  <a:lnTo>
                    <a:pt x="180" y="787"/>
                  </a:lnTo>
                  <a:lnTo>
                    <a:pt x="195" y="791"/>
                  </a:lnTo>
                  <a:lnTo>
                    <a:pt x="211" y="795"/>
                  </a:lnTo>
                  <a:lnTo>
                    <a:pt x="228" y="799"/>
                  </a:lnTo>
                  <a:lnTo>
                    <a:pt x="246" y="802"/>
                  </a:lnTo>
                  <a:lnTo>
                    <a:pt x="265" y="804"/>
                  </a:lnTo>
                  <a:lnTo>
                    <a:pt x="283" y="805"/>
                  </a:lnTo>
                  <a:lnTo>
                    <a:pt x="303" y="806"/>
                  </a:lnTo>
                  <a:lnTo>
                    <a:pt x="323" y="806"/>
                  </a:lnTo>
                  <a:lnTo>
                    <a:pt x="343" y="806"/>
                  </a:lnTo>
                  <a:lnTo>
                    <a:pt x="364" y="805"/>
                  </a:lnTo>
                  <a:lnTo>
                    <a:pt x="383" y="803"/>
                  </a:lnTo>
                  <a:lnTo>
                    <a:pt x="403" y="800"/>
                  </a:lnTo>
                  <a:lnTo>
                    <a:pt x="423" y="797"/>
                  </a:lnTo>
                  <a:lnTo>
                    <a:pt x="442" y="793"/>
                  </a:lnTo>
                  <a:lnTo>
                    <a:pt x="463" y="788"/>
                  </a:lnTo>
                  <a:lnTo>
                    <a:pt x="483" y="782"/>
                  </a:lnTo>
                  <a:lnTo>
                    <a:pt x="499" y="693"/>
                  </a:lnTo>
                  <a:lnTo>
                    <a:pt x="469" y="699"/>
                  </a:lnTo>
                  <a:lnTo>
                    <a:pt x="439" y="704"/>
                  </a:lnTo>
                  <a:lnTo>
                    <a:pt x="424" y="706"/>
                  </a:lnTo>
                  <a:lnTo>
                    <a:pt x="409" y="708"/>
                  </a:lnTo>
                  <a:lnTo>
                    <a:pt x="394" y="709"/>
                  </a:lnTo>
                  <a:lnTo>
                    <a:pt x="379" y="709"/>
                  </a:lnTo>
                  <a:lnTo>
                    <a:pt x="363" y="709"/>
                  </a:lnTo>
                  <a:lnTo>
                    <a:pt x="347" y="708"/>
                  </a:lnTo>
                  <a:lnTo>
                    <a:pt x="332" y="707"/>
                  </a:lnTo>
                  <a:lnTo>
                    <a:pt x="317" y="705"/>
                  </a:lnTo>
                  <a:lnTo>
                    <a:pt x="304" y="703"/>
                  </a:lnTo>
                  <a:lnTo>
                    <a:pt x="290" y="701"/>
                  </a:lnTo>
                  <a:lnTo>
                    <a:pt x="278" y="697"/>
                  </a:lnTo>
                  <a:lnTo>
                    <a:pt x="265" y="694"/>
                  </a:lnTo>
                  <a:lnTo>
                    <a:pt x="253" y="690"/>
                  </a:lnTo>
                  <a:lnTo>
                    <a:pt x="242" y="685"/>
                  </a:lnTo>
                  <a:lnTo>
                    <a:pt x="231" y="680"/>
                  </a:lnTo>
                  <a:lnTo>
                    <a:pt x="221" y="674"/>
                  </a:lnTo>
                  <a:lnTo>
                    <a:pt x="212" y="668"/>
                  </a:lnTo>
                  <a:lnTo>
                    <a:pt x="203" y="662"/>
                  </a:lnTo>
                  <a:lnTo>
                    <a:pt x="195" y="654"/>
                  </a:lnTo>
                  <a:lnTo>
                    <a:pt x="187" y="647"/>
                  </a:lnTo>
                  <a:lnTo>
                    <a:pt x="180" y="639"/>
                  </a:lnTo>
                  <a:lnTo>
                    <a:pt x="173" y="630"/>
                  </a:lnTo>
                  <a:lnTo>
                    <a:pt x="167" y="621"/>
                  </a:lnTo>
                  <a:lnTo>
                    <a:pt x="161" y="611"/>
                  </a:lnTo>
                  <a:lnTo>
                    <a:pt x="156" y="601"/>
                  </a:lnTo>
                  <a:lnTo>
                    <a:pt x="151" y="590"/>
                  </a:lnTo>
                  <a:lnTo>
                    <a:pt x="147" y="579"/>
                  </a:lnTo>
                  <a:lnTo>
                    <a:pt x="143" y="567"/>
                  </a:lnTo>
                  <a:lnTo>
                    <a:pt x="139" y="554"/>
                  </a:lnTo>
                  <a:lnTo>
                    <a:pt x="137" y="541"/>
                  </a:lnTo>
                  <a:lnTo>
                    <a:pt x="134" y="528"/>
                  </a:lnTo>
                  <a:lnTo>
                    <a:pt x="132" y="514"/>
                  </a:lnTo>
                  <a:lnTo>
                    <a:pt x="130" y="484"/>
                  </a:lnTo>
                  <a:lnTo>
                    <a:pt x="129" y="452"/>
                  </a:lnTo>
                  <a:lnTo>
                    <a:pt x="129" y="421"/>
                  </a:lnTo>
                  <a:lnTo>
                    <a:pt x="130" y="391"/>
                  </a:lnTo>
                  <a:lnTo>
                    <a:pt x="131" y="376"/>
                  </a:lnTo>
                  <a:lnTo>
                    <a:pt x="132" y="361"/>
                  </a:lnTo>
                  <a:lnTo>
                    <a:pt x="134" y="345"/>
                  </a:lnTo>
                  <a:lnTo>
                    <a:pt x="137" y="330"/>
                  </a:lnTo>
                  <a:lnTo>
                    <a:pt x="589" y="330"/>
                  </a:lnTo>
                  <a:lnTo>
                    <a:pt x="595" y="305"/>
                  </a:lnTo>
                  <a:lnTo>
                    <a:pt x="600" y="277"/>
                  </a:lnTo>
                  <a:lnTo>
                    <a:pt x="602" y="263"/>
                  </a:lnTo>
                  <a:lnTo>
                    <a:pt x="604" y="248"/>
                  </a:lnTo>
                  <a:lnTo>
                    <a:pt x="605" y="233"/>
                  </a:lnTo>
                  <a:lnTo>
                    <a:pt x="605" y="218"/>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51" name="Freeform 38"/>
            <p:cNvSpPr>
              <a:spLocks noEditPoints="1"/>
            </p:cNvSpPr>
            <p:nvPr userDrawn="1">
              <p:custDataLst>
                <p:tags r:id="rId37"/>
              </p:custDataLst>
            </p:nvPr>
          </p:nvSpPr>
          <p:spPr bwMode="gray">
            <a:xfrm>
              <a:off x="3808413" y="3679825"/>
              <a:ext cx="157162" cy="244475"/>
            </a:xfrm>
            <a:custGeom>
              <a:avLst/>
              <a:gdLst/>
              <a:ahLst/>
              <a:cxnLst>
                <a:cxn ang="0">
                  <a:pos x="481" y="686"/>
                </a:cxn>
                <a:cxn ang="0">
                  <a:pos x="464" y="786"/>
                </a:cxn>
                <a:cxn ang="0">
                  <a:pos x="444" y="854"/>
                </a:cxn>
                <a:cxn ang="0">
                  <a:pos x="423" y="902"/>
                </a:cxn>
                <a:cxn ang="0">
                  <a:pos x="398" y="946"/>
                </a:cxn>
                <a:cxn ang="0">
                  <a:pos x="369" y="984"/>
                </a:cxn>
                <a:cxn ang="0">
                  <a:pos x="334" y="1014"/>
                </a:cxn>
                <a:cxn ang="0">
                  <a:pos x="295" y="1033"/>
                </a:cxn>
                <a:cxn ang="0">
                  <a:pos x="250" y="1040"/>
                </a:cxn>
                <a:cxn ang="0">
                  <a:pos x="223" y="1037"/>
                </a:cxn>
                <a:cxn ang="0">
                  <a:pos x="200" y="1030"/>
                </a:cxn>
                <a:cxn ang="0">
                  <a:pos x="181" y="1018"/>
                </a:cxn>
                <a:cxn ang="0">
                  <a:pos x="166" y="1003"/>
                </a:cxn>
                <a:cxn ang="0">
                  <a:pos x="144" y="964"/>
                </a:cxn>
                <a:cxn ang="0">
                  <a:pos x="133" y="918"/>
                </a:cxn>
                <a:cxn ang="0">
                  <a:pos x="129" y="871"/>
                </a:cxn>
                <a:cxn ang="0">
                  <a:pos x="131" y="800"/>
                </a:cxn>
                <a:cxn ang="0">
                  <a:pos x="147" y="697"/>
                </a:cxn>
                <a:cxn ang="0">
                  <a:pos x="178" y="589"/>
                </a:cxn>
                <a:cxn ang="0">
                  <a:pos x="199" y="539"/>
                </a:cxn>
                <a:cxn ang="0">
                  <a:pos x="225" y="495"/>
                </a:cxn>
                <a:cxn ang="0">
                  <a:pos x="256" y="458"/>
                </a:cxn>
                <a:cxn ang="0">
                  <a:pos x="291" y="433"/>
                </a:cxn>
                <a:cxn ang="0">
                  <a:pos x="332" y="420"/>
                </a:cxn>
                <a:cxn ang="0">
                  <a:pos x="365" y="421"/>
                </a:cxn>
                <a:cxn ang="0">
                  <a:pos x="390" y="428"/>
                </a:cxn>
                <a:cxn ang="0">
                  <a:pos x="412" y="439"/>
                </a:cxn>
                <a:cxn ang="0">
                  <a:pos x="430" y="456"/>
                </a:cxn>
                <a:cxn ang="0">
                  <a:pos x="455" y="492"/>
                </a:cxn>
                <a:cxn ang="0">
                  <a:pos x="474" y="542"/>
                </a:cxn>
                <a:cxn ang="0">
                  <a:pos x="483" y="595"/>
                </a:cxn>
                <a:cxn ang="0">
                  <a:pos x="734" y="0"/>
                </a:cxn>
                <a:cxn ang="0">
                  <a:pos x="526" y="453"/>
                </a:cxn>
                <a:cxn ang="0">
                  <a:pos x="501" y="412"/>
                </a:cxn>
                <a:cxn ang="0">
                  <a:pos x="469" y="379"/>
                </a:cxn>
                <a:cxn ang="0">
                  <a:pos x="430" y="353"/>
                </a:cxn>
                <a:cxn ang="0">
                  <a:pos x="386" y="337"/>
                </a:cxn>
                <a:cxn ang="0">
                  <a:pos x="339" y="331"/>
                </a:cxn>
                <a:cxn ang="0">
                  <a:pos x="275" y="339"/>
                </a:cxn>
                <a:cxn ang="0">
                  <a:pos x="218" y="363"/>
                </a:cxn>
                <a:cxn ang="0">
                  <a:pos x="168" y="400"/>
                </a:cxn>
                <a:cxn ang="0">
                  <a:pos x="125" y="448"/>
                </a:cxn>
                <a:cxn ang="0">
                  <a:pos x="89" y="506"/>
                </a:cxn>
                <a:cxn ang="0">
                  <a:pos x="60" y="568"/>
                </a:cxn>
                <a:cxn ang="0">
                  <a:pos x="36" y="634"/>
                </a:cxn>
                <a:cxn ang="0">
                  <a:pos x="19" y="701"/>
                </a:cxn>
                <a:cxn ang="0">
                  <a:pos x="7" y="768"/>
                </a:cxn>
                <a:cxn ang="0">
                  <a:pos x="1" y="832"/>
                </a:cxn>
                <a:cxn ang="0">
                  <a:pos x="1" y="895"/>
                </a:cxn>
                <a:cxn ang="0">
                  <a:pos x="11" y="967"/>
                </a:cxn>
                <a:cxn ang="0">
                  <a:pos x="31" y="1022"/>
                </a:cxn>
                <a:cxn ang="0">
                  <a:pos x="47" y="1053"/>
                </a:cxn>
                <a:cxn ang="0">
                  <a:pos x="68" y="1080"/>
                </a:cxn>
                <a:cxn ang="0">
                  <a:pos x="93" y="1102"/>
                </a:cxn>
                <a:cxn ang="0">
                  <a:pos x="122" y="1119"/>
                </a:cxn>
                <a:cxn ang="0">
                  <a:pos x="156" y="1131"/>
                </a:cxn>
                <a:cxn ang="0">
                  <a:pos x="196" y="1137"/>
                </a:cxn>
                <a:cxn ang="0">
                  <a:pos x="250" y="1135"/>
                </a:cxn>
                <a:cxn ang="0">
                  <a:pos x="300" y="1122"/>
                </a:cxn>
                <a:cxn ang="0">
                  <a:pos x="343" y="1098"/>
                </a:cxn>
                <a:cxn ang="0">
                  <a:pos x="378" y="1066"/>
                </a:cxn>
                <a:cxn ang="0">
                  <a:pos x="408" y="1023"/>
                </a:cxn>
                <a:cxn ang="0">
                  <a:pos x="403" y="1121"/>
                </a:cxn>
              </a:cxnLst>
              <a:rect l="0" t="0" r="r" b="b"/>
              <a:pathLst>
                <a:path w="734" h="1137">
                  <a:moveTo>
                    <a:pt x="484" y="629"/>
                  </a:moveTo>
                  <a:lnTo>
                    <a:pt x="484" y="656"/>
                  </a:lnTo>
                  <a:lnTo>
                    <a:pt x="481" y="686"/>
                  </a:lnTo>
                  <a:lnTo>
                    <a:pt x="477" y="718"/>
                  </a:lnTo>
                  <a:lnTo>
                    <a:pt x="472" y="751"/>
                  </a:lnTo>
                  <a:lnTo>
                    <a:pt x="464" y="786"/>
                  </a:lnTo>
                  <a:lnTo>
                    <a:pt x="455" y="820"/>
                  </a:lnTo>
                  <a:lnTo>
                    <a:pt x="450" y="837"/>
                  </a:lnTo>
                  <a:lnTo>
                    <a:pt x="444" y="854"/>
                  </a:lnTo>
                  <a:lnTo>
                    <a:pt x="437" y="870"/>
                  </a:lnTo>
                  <a:lnTo>
                    <a:pt x="430" y="886"/>
                  </a:lnTo>
                  <a:lnTo>
                    <a:pt x="423" y="902"/>
                  </a:lnTo>
                  <a:lnTo>
                    <a:pt x="415" y="918"/>
                  </a:lnTo>
                  <a:lnTo>
                    <a:pt x="407" y="932"/>
                  </a:lnTo>
                  <a:lnTo>
                    <a:pt x="398" y="946"/>
                  </a:lnTo>
                  <a:lnTo>
                    <a:pt x="389" y="960"/>
                  </a:lnTo>
                  <a:lnTo>
                    <a:pt x="379" y="973"/>
                  </a:lnTo>
                  <a:lnTo>
                    <a:pt x="369" y="984"/>
                  </a:lnTo>
                  <a:lnTo>
                    <a:pt x="358" y="995"/>
                  </a:lnTo>
                  <a:lnTo>
                    <a:pt x="346" y="1005"/>
                  </a:lnTo>
                  <a:lnTo>
                    <a:pt x="334" y="1014"/>
                  </a:lnTo>
                  <a:lnTo>
                    <a:pt x="322" y="1022"/>
                  </a:lnTo>
                  <a:lnTo>
                    <a:pt x="309" y="1028"/>
                  </a:lnTo>
                  <a:lnTo>
                    <a:pt x="295" y="1033"/>
                  </a:lnTo>
                  <a:lnTo>
                    <a:pt x="281" y="1037"/>
                  </a:lnTo>
                  <a:lnTo>
                    <a:pt x="266" y="1039"/>
                  </a:lnTo>
                  <a:lnTo>
                    <a:pt x="250" y="1040"/>
                  </a:lnTo>
                  <a:lnTo>
                    <a:pt x="241" y="1040"/>
                  </a:lnTo>
                  <a:lnTo>
                    <a:pt x="232" y="1039"/>
                  </a:lnTo>
                  <a:lnTo>
                    <a:pt x="223" y="1037"/>
                  </a:lnTo>
                  <a:lnTo>
                    <a:pt x="215" y="1035"/>
                  </a:lnTo>
                  <a:lnTo>
                    <a:pt x="207" y="1033"/>
                  </a:lnTo>
                  <a:lnTo>
                    <a:pt x="200" y="1030"/>
                  </a:lnTo>
                  <a:lnTo>
                    <a:pt x="194" y="1026"/>
                  </a:lnTo>
                  <a:lnTo>
                    <a:pt x="187" y="1022"/>
                  </a:lnTo>
                  <a:lnTo>
                    <a:pt x="181" y="1018"/>
                  </a:lnTo>
                  <a:lnTo>
                    <a:pt x="176" y="1013"/>
                  </a:lnTo>
                  <a:lnTo>
                    <a:pt x="171" y="1008"/>
                  </a:lnTo>
                  <a:lnTo>
                    <a:pt x="166" y="1003"/>
                  </a:lnTo>
                  <a:lnTo>
                    <a:pt x="157" y="991"/>
                  </a:lnTo>
                  <a:lnTo>
                    <a:pt x="150" y="978"/>
                  </a:lnTo>
                  <a:lnTo>
                    <a:pt x="144" y="964"/>
                  </a:lnTo>
                  <a:lnTo>
                    <a:pt x="139" y="949"/>
                  </a:lnTo>
                  <a:lnTo>
                    <a:pt x="136" y="934"/>
                  </a:lnTo>
                  <a:lnTo>
                    <a:pt x="133" y="918"/>
                  </a:lnTo>
                  <a:lnTo>
                    <a:pt x="131" y="902"/>
                  </a:lnTo>
                  <a:lnTo>
                    <a:pt x="130" y="886"/>
                  </a:lnTo>
                  <a:lnTo>
                    <a:pt x="129" y="871"/>
                  </a:lnTo>
                  <a:lnTo>
                    <a:pt x="129" y="855"/>
                  </a:lnTo>
                  <a:lnTo>
                    <a:pt x="129" y="829"/>
                  </a:lnTo>
                  <a:lnTo>
                    <a:pt x="131" y="800"/>
                  </a:lnTo>
                  <a:lnTo>
                    <a:pt x="135" y="766"/>
                  </a:lnTo>
                  <a:lnTo>
                    <a:pt x="140" y="732"/>
                  </a:lnTo>
                  <a:lnTo>
                    <a:pt x="147" y="697"/>
                  </a:lnTo>
                  <a:lnTo>
                    <a:pt x="155" y="660"/>
                  </a:lnTo>
                  <a:lnTo>
                    <a:pt x="166" y="624"/>
                  </a:lnTo>
                  <a:lnTo>
                    <a:pt x="178" y="589"/>
                  </a:lnTo>
                  <a:lnTo>
                    <a:pt x="185" y="572"/>
                  </a:lnTo>
                  <a:lnTo>
                    <a:pt x="192" y="555"/>
                  </a:lnTo>
                  <a:lnTo>
                    <a:pt x="199" y="539"/>
                  </a:lnTo>
                  <a:lnTo>
                    <a:pt x="207" y="524"/>
                  </a:lnTo>
                  <a:lnTo>
                    <a:pt x="216" y="509"/>
                  </a:lnTo>
                  <a:lnTo>
                    <a:pt x="225" y="495"/>
                  </a:lnTo>
                  <a:lnTo>
                    <a:pt x="235" y="481"/>
                  </a:lnTo>
                  <a:lnTo>
                    <a:pt x="245" y="469"/>
                  </a:lnTo>
                  <a:lnTo>
                    <a:pt x="256" y="458"/>
                  </a:lnTo>
                  <a:lnTo>
                    <a:pt x="267" y="448"/>
                  </a:lnTo>
                  <a:lnTo>
                    <a:pt x="279" y="440"/>
                  </a:lnTo>
                  <a:lnTo>
                    <a:pt x="291" y="433"/>
                  </a:lnTo>
                  <a:lnTo>
                    <a:pt x="304" y="427"/>
                  </a:lnTo>
                  <a:lnTo>
                    <a:pt x="318" y="423"/>
                  </a:lnTo>
                  <a:lnTo>
                    <a:pt x="332" y="420"/>
                  </a:lnTo>
                  <a:lnTo>
                    <a:pt x="347" y="419"/>
                  </a:lnTo>
                  <a:lnTo>
                    <a:pt x="356" y="420"/>
                  </a:lnTo>
                  <a:lnTo>
                    <a:pt x="365" y="421"/>
                  </a:lnTo>
                  <a:lnTo>
                    <a:pt x="374" y="422"/>
                  </a:lnTo>
                  <a:lnTo>
                    <a:pt x="383" y="425"/>
                  </a:lnTo>
                  <a:lnTo>
                    <a:pt x="390" y="428"/>
                  </a:lnTo>
                  <a:lnTo>
                    <a:pt x="398" y="431"/>
                  </a:lnTo>
                  <a:lnTo>
                    <a:pt x="405" y="435"/>
                  </a:lnTo>
                  <a:lnTo>
                    <a:pt x="412" y="439"/>
                  </a:lnTo>
                  <a:lnTo>
                    <a:pt x="419" y="445"/>
                  </a:lnTo>
                  <a:lnTo>
                    <a:pt x="425" y="450"/>
                  </a:lnTo>
                  <a:lnTo>
                    <a:pt x="430" y="456"/>
                  </a:lnTo>
                  <a:lnTo>
                    <a:pt x="436" y="462"/>
                  </a:lnTo>
                  <a:lnTo>
                    <a:pt x="447" y="476"/>
                  </a:lnTo>
                  <a:lnTo>
                    <a:pt x="455" y="492"/>
                  </a:lnTo>
                  <a:lnTo>
                    <a:pt x="462" y="508"/>
                  </a:lnTo>
                  <a:lnTo>
                    <a:pt x="469" y="524"/>
                  </a:lnTo>
                  <a:lnTo>
                    <a:pt x="474" y="542"/>
                  </a:lnTo>
                  <a:lnTo>
                    <a:pt x="478" y="559"/>
                  </a:lnTo>
                  <a:lnTo>
                    <a:pt x="481" y="577"/>
                  </a:lnTo>
                  <a:lnTo>
                    <a:pt x="483" y="595"/>
                  </a:lnTo>
                  <a:lnTo>
                    <a:pt x="484" y="612"/>
                  </a:lnTo>
                  <a:lnTo>
                    <a:pt x="484" y="629"/>
                  </a:lnTo>
                  <a:close/>
                  <a:moveTo>
                    <a:pt x="734" y="0"/>
                  </a:moveTo>
                  <a:lnTo>
                    <a:pt x="621" y="0"/>
                  </a:lnTo>
                  <a:lnTo>
                    <a:pt x="533" y="467"/>
                  </a:lnTo>
                  <a:lnTo>
                    <a:pt x="526" y="453"/>
                  </a:lnTo>
                  <a:lnTo>
                    <a:pt x="519" y="439"/>
                  </a:lnTo>
                  <a:lnTo>
                    <a:pt x="510" y="425"/>
                  </a:lnTo>
                  <a:lnTo>
                    <a:pt x="501" y="412"/>
                  </a:lnTo>
                  <a:lnTo>
                    <a:pt x="491" y="400"/>
                  </a:lnTo>
                  <a:lnTo>
                    <a:pt x="481" y="389"/>
                  </a:lnTo>
                  <a:lnTo>
                    <a:pt x="469" y="379"/>
                  </a:lnTo>
                  <a:lnTo>
                    <a:pt x="457" y="369"/>
                  </a:lnTo>
                  <a:lnTo>
                    <a:pt x="444" y="361"/>
                  </a:lnTo>
                  <a:lnTo>
                    <a:pt x="430" y="353"/>
                  </a:lnTo>
                  <a:lnTo>
                    <a:pt x="416" y="346"/>
                  </a:lnTo>
                  <a:lnTo>
                    <a:pt x="402" y="341"/>
                  </a:lnTo>
                  <a:lnTo>
                    <a:pt x="386" y="337"/>
                  </a:lnTo>
                  <a:lnTo>
                    <a:pt x="371" y="333"/>
                  </a:lnTo>
                  <a:lnTo>
                    <a:pt x="355" y="332"/>
                  </a:lnTo>
                  <a:lnTo>
                    <a:pt x="339" y="331"/>
                  </a:lnTo>
                  <a:lnTo>
                    <a:pt x="316" y="332"/>
                  </a:lnTo>
                  <a:lnTo>
                    <a:pt x="295" y="335"/>
                  </a:lnTo>
                  <a:lnTo>
                    <a:pt x="275" y="339"/>
                  </a:lnTo>
                  <a:lnTo>
                    <a:pt x="255" y="346"/>
                  </a:lnTo>
                  <a:lnTo>
                    <a:pt x="236" y="354"/>
                  </a:lnTo>
                  <a:lnTo>
                    <a:pt x="218" y="363"/>
                  </a:lnTo>
                  <a:lnTo>
                    <a:pt x="201" y="374"/>
                  </a:lnTo>
                  <a:lnTo>
                    <a:pt x="184" y="387"/>
                  </a:lnTo>
                  <a:lnTo>
                    <a:pt x="168" y="400"/>
                  </a:lnTo>
                  <a:lnTo>
                    <a:pt x="153" y="415"/>
                  </a:lnTo>
                  <a:lnTo>
                    <a:pt x="138" y="431"/>
                  </a:lnTo>
                  <a:lnTo>
                    <a:pt x="125" y="448"/>
                  </a:lnTo>
                  <a:lnTo>
                    <a:pt x="112" y="466"/>
                  </a:lnTo>
                  <a:lnTo>
                    <a:pt x="100" y="485"/>
                  </a:lnTo>
                  <a:lnTo>
                    <a:pt x="89" y="506"/>
                  </a:lnTo>
                  <a:lnTo>
                    <a:pt x="79" y="526"/>
                  </a:lnTo>
                  <a:lnTo>
                    <a:pt x="69" y="547"/>
                  </a:lnTo>
                  <a:lnTo>
                    <a:pt x="60" y="568"/>
                  </a:lnTo>
                  <a:lnTo>
                    <a:pt x="51" y="590"/>
                  </a:lnTo>
                  <a:lnTo>
                    <a:pt x="43" y="612"/>
                  </a:lnTo>
                  <a:lnTo>
                    <a:pt x="36" y="634"/>
                  </a:lnTo>
                  <a:lnTo>
                    <a:pt x="30" y="656"/>
                  </a:lnTo>
                  <a:lnTo>
                    <a:pt x="24" y="679"/>
                  </a:lnTo>
                  <a:lnTo>
                    <a:pt x="19" y="701"/>
                  </a:lnTo>
                  <a:lnTo>
                    <a:pt x="14" y="724"/>
                  </a:lnTo>
                  <a:lnTo>
                    <a:pt x="11" y="746"/>
                  </a:lnTo>
                  <a:lnTo>
                    <a:pt x="7" y="768"/>
                  </a:lnTo>
                  <a:lnTo>
                    <a:pt x="5" y="791"/>
                  </a:lnTo>
                  <a:lnTo>
                    <a:pt x="3" y="812"/>
                  </a:lnTo>
                  <a:lnTo>
                    <a:pt x="1" y="832"/>
                  </a:lnTo>
                  <a:lnTo>
                    <a:pt x="0" y="852"/>
                  </a:lnTo>
                  <a:lnTo>
                    <a:pt x="0" y="871"/>
                  </a:lnTo>
                  <a:lnTo>
                    <a:pt x="1" y="895"/>
                  </a:lnTo>
                  <a:lnTo>
                    <a:pt x="3" y="920"/>
                  </a:lnTo>
                  <a:lnTo>
                    <a:pt x="6" y="944"/>
                  </a:lnTo>
                  <a:lnTo>
                    <a:pt x="11" y="967"/>
                  </a:lnTo>
                  <a:lnTo>
                    <a:pt x="18" y="990"/>
                  </a:lnTo>
                  <a:lnTo>
                    <a:pt x="26" y="1012"/>
                  </a:lnTo>
                  <a:lnTo>
                    <a:pt x="31" y="1022"/>
                  </a:lnTo>
                  <a:lnTo>
                    <a:pt x="36" y="1033"/>
                  </a:lnTo>
                  <a:lnTo>
                    <a:pt x="41" y="1043"/>
                  </a:lnTo>
                  <a:lnTo>
                    <a:pt x="47" y="1053"/>
                  </a:lnTo>
                  <a:lnTo>
                    <a:pt x="54" y="1062"/>
                  </a:lnTo>
                  <a:lnTo>
                    <a:pt x="61" y="1071"/>
                  </a:lnTo>
                  <a:lnTo>
                    <a:pt x="68" y="1080"/>
                  </a:lnTo>
                  <a:lnTo>
                    <a:pt x="76" y="1088"/>
                  </a:lnTo>
                  <a:lnTo>
                    <a:pt x="84" y="1095"/>
                  </a:lnTo>
                  <a:lnTo>
                    <a:pt x="93" y="1102"/>
                  </a:lnTo>
                  <a:lnTo>
                    <a:pt x="102" y="1108"/>
                  </a:lnTo>
                  <a:lnTo>
                    <a:pt x="112" y="1114"/>
                  </a:lnTo>
                  <a:lnTo>
                    <a:pt x="122" y="1119"/>
                  </a:lnTo>
                  <a:lnTo>
                    <a:pt x="133" y="1124"/>
                  </a:lnTo>
                  <a:lnTo>
                    <a:pt x="144" y="1128"/>
                  </a:lnTo>
                  <a:lnTo>
                    <a:pt x="156" y="1131"/>
                  </a:lnTo>
                  <a:lnTo>
                    <a:pt x="170" y="1134"/>
                  </a:lnTo>
                  <a:lnTo>
                    <a:pt x="183" y="1136"/>
                  </a:lnTo>
                  <a:lnTo>
                    <a:pt x="196" y="1137"/>
                  </a:lnTo>
                  <a:lnTo>
                    <a:pt x="210" y="1137"/>
                  </a:lnTo>
                  <a:lnTo>
                    <a:pt x="231" y="1137"/>
                  </a:lnTo>
                  <a:lnTo>
                    <a:pt x="250" y="1135"/>
                  </a:lnTo>
                  <a:lnTo>
                    <a:pt x="268" y="1132"/>
                  </a:lnTo>
                  <a:lnTo>
                    <a:pt x="285" y="1127"/>
                  </a:lnTo>
                  <a:lnTo>
                    <a:pt x="300" y="1122"/>
                  </a:lnTo>
                  <a:lnTo>
                    <a:pt x="315" y="1115"/>
                  </a:lnTo>
                  <a:lnTo>
                    <a:pt x="329" y="1107"/>
                  </a:lnTo>
                  <a:lnTo>
                    <a:pt x="343" y="1098"/>
                  </a:lnTo>
                  <a:lnTo>
                    <a:pt x="355" y="1088"/>
                  </a:lnTo>
                  <a:lnTo>
                    <a:pt x="367" y="1078"/>
                  </a:lnTo>
                  <a:lnTo>
                    <a:pt x="378" y="1066"/>
                  </a:lnTo>
                  <a:lnTo>
                    <a:pt x="389" y="1053"/>
                  </a:lnTo>
                  <a:lnTo>
                    <a:pt x="399" y="1038"/>
                  </a:lnTo>
                  <a:lnTo>
                    <a:pt x="408" y="1023"/>
                  </a:lnTo>
                  <a:lnTo>
                    <a:pt x="418" y="1008"/>
                  </a:lnTo>
                  <a:lnTo>
                    <a:pt x="427" y="992"/>
                  </a:lnTo>
                  <a:lnTo>
                    <a:pt x="403" y="1121"/>
                  </a:lnTo>
                  <a:lnTo>
                    <a:pt x="516" y="1121"/>
                  </a:lnTo>
                  <a:lnTo>
                    <a:pt x="734" y="0"/>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sp>
          <p:nvSpPr>
            <p:cNvPr id="52" name="Freeform 39"/>
            <p:cNvSpPr>
              <a:spLocks/>
            </p:cNvSpPr>
            <p:nvPr userDrawn="1">
              <p:custDataLst>
                <p:tags r:id="rId38"/>
              </p:custDataLst>
            </p:nvPr>
          </p:nvSpPr>
          <p:spPr bwMode="gray">
            <a:xfrm>
              <a:off x="3951288" y="3887788"/>
              <a:ext cx="38100" cy="33337"/>
            </a:xfrm>
            <a:custGeom>
              <a:avLst/>
              <a:gdLst/>
              <a:ahLst/>
              <a:cxnLst>
                <a:cxn ang="0">
                  <a:pos x="154" y="161"/>
                </a:cxn>
                <a:cxn ang="0">
                  <a:pos x="0" y="161"/>
                </a:cxn>
                <a:cxn ang="0">
                  <a:pos x="24" y="0"/>
                </a:cxn>
                <a:cxn ang="0">
                  <a:pos x="186" y="0"/>
                </a:cxn>
                <a:cxn ang="0">
                  <a:pos x="154" y="161"/>
                </a:cxn>
              </a:cxnLst>
              <a:rect l="0" t="0" r="r" b="b"/>
              <a:pathLst>
                <a:path w="186" h="161">
                  <a:moveTo>
                    <a:pt x="154" y="161"/>
                  </a:moveTo>
                  <a:lnTo>
                    <a:pt x="0" y="161"/>
                  </a:lnTo>
                  <a:lnTo>
                    <a:pt x="24" y="0"/>
                  </a:lnTo>
                  <a:lnTo>
                    <a:pt x="186" y="0"/>
                  </a:lnTo>
                  <a:lnTo>
                    <a:pt x="154" y="161"/>
                  </a:lnTo>
                  <a:close/>
                </a:path>
              </a:pathLst>
            </a:custGeom>
            <a:solidFill>
              <a:schemeClr val="tx2"/>
            </a:solidFill>
            <a:ln w="9525">
              <a:noFill/>
              <a:round/>
              <a:headEnd/>
              <a:tailEnd/>
            </a:ln>
          </p:spPr>
          <p:txBody>
            <a:bodyPr/>
            <a:lstStyle/>
            <a:p>
              <a:pPr>
                <a:defRPr/>
              </a:pPr>
              <a:endParaRPr lang="de-DE" dirty="0">
                <a:solidFill>
                  <a:prstClr val="black"/>
                </a:solidFill>
                <a:cs typeface="Arial" charset="0"/>
              </a:endParaRPr>
            </a:p>
          </p:txBody>
        </p:sp>
      </p:grpSp>
      <p:sp>
        <p:nvSpPr>
          <p:cNvPr id="53" name="AMC_Footer"/>
          <p:cNvSpPr txBox="1">
            <a:spLocks/>
          </p:cNvSpPr>
          <p:nvPr userDrawn="1"/>
        </p:nvSpPr>
        <p:spPr>
          <a:xfrm>
            <a:off x="250823" y="6669360"/>
            <a:ext cx="6264000"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GB" sz="800" b="1" dirty="0" smtClean="0">
                <a:solidFill>
                  <a:prstClr val="black"/>
                </a:solidFill>
                <a:cs typeface="Arial" charset="0"/>
              </a:rPr>
              <a:t>Confidential - Do Not forward  - For Internal Management Planning purposes. </a:t>
            </a:r>
            <a:r>
              <a:rPr lang="en-GB" sz="800" dirty="0" smtClean="0">
                <a:solidFill>
                  <a:prstClr val="black"/>
                </a:solidFill>
                <a:cs typeface="Arial" pitchFamily="34" charset="0"/>
              </a:rPr>
              <a:t>Copyright © 2013 Accenture. All rights reserved.</a:t>
            </a:r>
            <a:endParaRPr lang="en-GB" sz="800" dirty="0">
              <a:solidFill>
                <a:prstClr val="black"/>
              </a:solidFill>
              <a:cs typeface="Arial" pitchFamily="34" charset="0"/>
            </a:endParaRPr>
          </a:p>
        </p:txBody>
      </p:sp>
    </p:spTree>
    <p:extLst>
      <p:ext uri="{BB962C8B-B14F-4D97-AF65-F5344CB8AC3E}">
        <p14:creationId xmlns:p14="http://schemas.microsoft.com/office/powerpoint/2010/main" val="146234711"/>
      </p:ext>
    </p:extLst>
  </p:cSld>
  <p:clrMapOvr>
    <a:masterClrMapping/>
  </p:clrMapOvr>
  <p:timing>
    <p:tnLst>
      <p:par>
        <p:cTn id="1" dur="indefinite" restart="never" nodeType="tmRoot"/>
      </p:par>
    </p:tnLst>
  </p:timing>
  <p:hf hd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Rectangle 4"/>
          <p:cNvSpPr>
            <a:spLocks noGrp="1" noChangeArrowheads="1"/>
          </p:cNvSpPr>
          <p:nvPr>
            <p:ph idx="1"/>
          </p:nvPr>
        </p:nvSpPr>
        <p:spPr bwMode="gray">
          <a:xfrm>
            <a:off x="323527" y="1052740"/>
            <a:ext cx="8496945" cy="5472607"/>
          </a:xfrm>
          <a:prstGeom prst="rect">
            <a:avLst/>
          </a:prstGeom>
          <a:noFill/>
          <a:ln w="12700">
            <a:noFill/>
            <a:miter lim="800000"/>
            <a:headEnd/>
            <a:tailEnd/>
          </a:ln>
          <a:effectLst/>
        </p:spPr>
        <p:txBody>
          <a:bodyPr vert="horz" wrap="square" lIns="90488" tIns="44450" rIns="90488" bIns="44450" numCol="1" anchor="t" anchorCtr="0" compatLnSpc="1">
            <a:prstTxWarp prst="textNoShape">
              <a:avLst/>
            </a:prstTxWarp>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7" name="Rectangle 5"/>
          <p:cNvSpPr>
            <a:spLocks noGrp="1" noChangeArrowheads="1"/>
          </p:cNvSpPr>
          <p:nvPr>
            <p:ph type="sldNum" sz="quarter" idx="4"/>
          </p:nvPr>
        </p:nvSpPr>
        <p:spPr bwMode="gray">
          <a:xfrm>
            <a:off x="7164388" y="6511929"/>
            <a:ext cx="1693862" cy="269875"/>
          </a:xfrm>
          <a:prstGeom prst="rect">
            <a:avLst/>
          </a:prstGeom>
          <a:noFill/>
          <a:ln w="12700">
            <a:noFill/>
            <a:miter lim="800000"/>
            <a:headEnd/>
            <a:tailEnd/>
          </a:ln>
          <a:effectLst/>
        </p:spPr>
        <p:txBody>
          <a:bodyPr vert="horz" wrap="square" lIns="90488" tIns="44450" rIns="90488" bIns="44450" numCol="1" anchor="b" anchorCtr="0" compatLnSpc="1">
            <a:prstTxWarp prst="textNoShape">
              <a:avLst/>
            </a:prstTxWarp>
          </a:bodyPr>
          <a:lstStyle>
            <a:lvl1pPr algn="r">
              <a:defRPr sz="1000" b="0"/>
            </a:lvl1pPr>
          </a:lstStyle>
          <a:p>
            <a:fld id="{46E3B560-07B0-4853-AE85-4967240282D4}" type="slidenum">
              <a:rPr lang="en-GB" smtClean="0">
                <a:solidFill>
                  <a:srgbClr val="000000"/>
                </a:solidFill>
              </a:rPr>
              <a:pPr/>
              <a:t>‹#›</a:t>
            </a:fld>
            <a:endParaRPr lang="en-GB" dirty="0">
              <a:solidFill>
                <a:srgbClr val="000000"/>
              </a:solidFill>
            </a:endParaRPr>
          </a:p>
        </p:txBody>
      </p:sp>
      <p:sp>
        <p:nvSpPr>
          <p:cNvPr id="8" name="Rectangle 6"/>
          <p:cNvSpPr>
            <a:spLocks noGrp="1" noChangeArrowheads="1"/>
          </p:cNvSpPr>
          <p:nvPr>
            <p:ph type="ftr" sz="quarter" idx="3"/>
          </p:nvPr>
        </p:nvSpPr>
        <p:spPr bwMode="gray">
          <a:xfrm>
            <a:off x="458788" y="6324600"/>
            <a:ext cx="4489450" cy="457200"/>
          </a:xfrm>
          <a:prstGeom prst="rect">
            <a:avLst/>
          </a:prstGeom>
          <a:noFill/>
          <a:ln w="12700">
            <a:noFill/>
            <a:miter lim="800000"/>
            <a:headEnd/>
            <a:tailEnd/>
          </a:ln>
          <a:effectLst/>
        </p:spPr>
        <p:txBody>
          <a:bodyPr vert="horz" wrap="square" lIns="91440" tIns="45720" rIns="91440" bIns="45720" numCol="1" anchor="b" anchorCtr="0" compatLnSpc="1">
            <a:prstTxWarp prst="textNoShape">
              <a:avLst/>
            </a:prstTxWarp>
          </a:bodyPr>
          <a:lstStyle>
            <a:lvl1pPr>
              <a:lnSpc>
                <a:spcPct val="100000"/>
              </a:lnSpc>
              <a:defRPr sz="1000" b="0"/>
            </a:lvl1pPr>
          </a:lstStyle>
          <a:p>
            <a:r>
              <a:rPr lang="en-GB" dirty="0" smtClean="0">
                <a:solidFill>
                  <a:srgbClr val="000000"/>
                </a:solidFill>
              </a:rPr>
              <a:t>Copyright © 2013 Accenture All Rights Reserved.</a:t>
            </a:r>
            <a:endParaRPr lang="en-GB" dirty="0">
              <a:solidFill>
                <a:srgbClr val="000000"/>
              </a:solidFill>
            </a:endParaRPr>
          </a:p>
        </p:txBody>
      </p:sp>
      <p:sp>
        <p:nvSpPr>
          <p:cNvPr id="9" name="Rectangle 7"/>
          <p:cNvSpPr>
            <a:spLocks noGrp="1" noChangeArrowheads="1"/>
          </p:cNvSpPr>
          <p:nvPr>
            <p:ph type="title"/>
          </p:nvPr>
        </p:nvSpPr>
        <p:spPr bwMode="gray">
          <a:xfrm>
            <a:off x="296228" y="129310"/>
            <a:ext cx="8524244" cy="779410"/>
          </a:xfrm>
          <a:prstGeom prst="rect">
            <a:avLst/>
          </a:prstGeom>
          <a:noFill/>
          <a:ln w="12700">
            <a:noFill/>
            <a:miter lim="800000"/>
            <a:headEnd/>
            <a:tailEnd/>
          </a:ln>
          <a:effectLst/>
        </p:spPr>
        <p:txBody>
          <a:bodyPr vert="horz" wrap="square" lIns="90488" tIns="44450" rIns="90488" bIns="44450" numCol="1" anchor="b" anchorCtr="0" compatLnSpc="1">
            <a:prstTxWarp prst="textNoShape">
              <a:avLst/>
            </a:prstTxWarp>
          </a:bodyPr>
          <a:lstStyle>
            <a:lvl1pPr>
              <a:defRPr sz="2800">
                <a:latin typeface="+mj-lt"/>
              </a:defRPr>
            </a:lvl1pPr>
          </a:lstStyle>
          <a:p>
            <a:pPr lvl="0"/>
            <a:r>
              <a:rPr lang="en-GB" dirty="0" smtClean="0"/>
              <a:t>Click to edit Master title style</a:t>
            </a:r>
          </a:p>
        </p:txBody>
      </p:sp>
      <p:cxnSp>
        <p:nvCxnSpPr>
          <p:cNvPr id="10" name="Straight Connector 9"/>
          <p:cNvCxnSpPr/>
          <p:nvPr/>
        </p:nvCxnSpPr>
        <p:spPr bwMode="auto">
          <a:xfrm>
            <a:off x="395536" y="908720"/>
            <a:ext cx="8748464" cy="0"/>
          </a:xfrm>
          <a:prstGeom prst="line">
            <a:avLst/>
          </a:prstGeom>
          <a:solidFill>
            <a:schemeClr val="accent1"/>
          </a:solidFill>
          <a:ln w="9525" cap="flat" cmpd="sng" algn="ctr">
            <a:solidFill>
              <a:srgbClr val="0070C0"/>
            </a:solidFill>
            <a:prstDash val="solid"/>
            <a:round/>
            <a:headEnd type="none" w="med" len="med"/>
            <a:tailEnd type="none" w="med" len="med"/>
          </a:ln>
          <a:effectLst/>
        </p:spPr>
      </p:cxnSp>
    </p:spTree>
    <p:extLst>
      <p:ext uri="{BB962C8B-B14F-4D97-AF65-F5344CB8AC3E}">
        <p14:creationId xmlns:p14="http://schemas.microsoft.com/office/powerpoint/2010/main" val="2612719382"/>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250824" y="1448780"/>
            <a:ext cx="8642279" cy="4931980"/>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79388" algn="l" rtl="0" eaLnBrk="1" fontAlgn="base" hangingPunct="1">
              <a:spcBef>
                <a:spcPts val="1800"/>
              </a:spcBef>
              <a:spcAft>
                <a:spcPct val="0"/>
              </a:spcAft>
              <a:buClr>
                <a:schemeClr val="tx1"/>
              </a:buClr>
              <a:buFont typeface="Arial" pitchFamily="34" charset="0"/>
              <a:defRPr lang="de-DE" sz="1800" dirty="0" smtClean="0">
                <a:solidFill>
                  <a:schemeClr val="tx1"/>
                </a:solidFill>
                <a:latin typeface="+mn-lt"/>
                <a:ea typeface="+mn-ea"/>
                <a:cs typeface="+mn-cs"/>
              </a:defRPr>
            </a:lvl1pPr>
            <a:lvl2pPr marL="360000" indent="-179388" algn="l" rtl="0" eaLnBrk="1" fontAlgn="base" hangingPunct="1">
              <a:spcBef>
                <a:spcPts val="600"/>
              </a:spcBef>
              <a:spcAft>
                <a:spcPct val="0"/>
              </a:spcAft>
              <a:buClr>
                <a:schemeClr val="tx1"/>
              </a:buClr>
              <a:buFont typeface="Arial" pitchFamily="34" charset="0"/>
              <a:defRPr lang="de-DE" sz="1600" dirty="0" smtClean="0">
                <a:solidFill>
                  <a:schemeClr val="tx1"/>
                </a:solidFill>
                <a:latin typeface="+mn-lt"/>
                <a:ea typeface="+mn-ea"/>
                <a:cs typeface="+mn-cs"/>
              </a:defRPr>
            </a:lvl2pPr>
            <a:lvl3pPr marL="541338" indent="-179388" algn="l" rtl="0" eaLnBrk="1" fontAlgn="base" hangingPunct="1">
              <a:spcBef>
                <a:spcPts val="800"/>
              </a:spcBef>
              <a:spcAft>
                <a:spcPct val="0"/>
              </a:spcAft>
              <a:buClr>
                <a:schemeClr val="tx1"/>
              </a:buClr>
              <a:buFont typeface="Arial" pitchFamily="34" charset="0"/>
              <a:defRPr lang="de-DE" sz="1400" baseline="0" dirty="0" smtClean="0">
                <a:solidFill>
                  <a:schemeClr val="tx1"/>
                </a:solidFill>
                <a:latin typeface="+mn-lt"/>
                <a:ea typeface="+mn-ea"/>
                <a:cs typeface="+mn-cs"/>
              </a:defRPr>
            </a:lvl3pPr>
            <a:lvl4pPr marL="720000" indent="-179388" algn="l" rtl="0" eaLnBrk="1" fontAlgn="base" hangingPunct="1">
              <a:spcBef>
                <a:spcPts val="800"/>
              </a:spcBef>
              <a:spcAft>
                <a:spcPct val="0"/>
              </a:spcAft>
              <a:buClr>
                <a:schemeClr val="tx1"/>
              </a:buClr>
              <a:buFont typeface="Arial" pitchFamily="34" charset="0"/>
              <a:defRPr lang="de-DE" sz="1200" dirty="0" smtClean="0">
                <a:solidFill>
                  <a:schemeClr val="tx1"/>
                </a:solidFill>
                <a:latin typeface="+mn-lt"/>
                <a:ea typeface="+mn-ea"/>
                <a:cs typeface="+mn-cs"/>
              </a:defRPr>
            </a:lvl4pPr>
            <a:lvl5pPr marL="900000" indent="-179388" algn="l" rtl="0" eaLnBrk="1" fontAlgn="base" hangingPunct="1">
              <a:spcBef>
                <a:spcPts val="800"/>
              </a:spcBef>
              <a:spcAft>
                <a:spcPct val="0"/>
              </a:spcAft>
              <a:buClr>
                <a:schemeClr val="tx1"/>
              </a:buClr>
              <a:buFont typeface="Arial" pitchFamily="34" charset="0"/>
              <a:defRPr lang="de-DE" sz="1100" dirty="0">
                <a:solidFill>
                  <a:schemeClr val="tx1"/>
                </a:solidFill>
                <a:latin typeface="+mn-lt"/>
                <a:ea typeface="+mn-ea"/>
                <a:cs typeface="+mn-cs"/>
              </a:defRPr>
            </a:lvl5pPr>
          </a:lstStyle>
          <a:p>
            <a:pPr lvl="0"/>
            <a:r>
              <a:rPr lang="en-GB" dirty="0" smtClean="0"/>
              <a:t>Bullet 1</a:t>
            </a:r>
          </a:p>
          <a:p>
            <a:pPr lvl="0"/>
            <a:r>
              <a:rPr lang="en-GB" dirty="0" err="1" smtClean="0"/>
              <a:t>ghjgjhgjh</a:t>
            </a:r>
            <a:endParaRPr lang="en-GB" dirty="0" smtClean="0"/>
          </a:p>
          <a:p>
            <a:pPr lvl="1"/>
            <a:r>
              <a:rPr lang="en-GB" dirty="0" smtClean="0"/>
              <a:t>Bullet 2</a:t>
            </a:r>
          </a:p>
          <a:p>
            <a:pPr lvl="2"/>
            <a:r>
              <a:rPr lang="en-GB" dirty="0" smtClean="0"/>
              <a:t>Bullet 3</a:t>
            </a:r>
          </a:p>
          <a:p>
            <a:pPr lvl="3"/>
            <a:r>
              <a:rPr lang="en-GB" dirty="0" smtClean="0"/>
              <a:t>Bullet 4</a:t>
            </a:r>
          </a:p>
          <a:p>
            <a:pPr lvl="4"/>
            <a:r>
              <a:rPr lang="en-GB" dirty="0" smtClean="0"/>
              <a:t>Bullet 5</a:t>
            </a:r>
            <a:endParaRPr lang="en-GB" dirty="0"/>
          </a:p>
        </p:txBody>
      </p:sp>
      <p:sp>
        <p:nvSpPr>
          <p:cNvPr id="6" name="Titel 5"/>
          <p:cNvSpPr>
            <a:spLocks noGrp="1"/>
          </p:cNvSpPr>
          <p:nvPr>
            <p:ph type="title" hasCustomPrompt="1"/>
          </p:nvPr>
        </p:nvSpPr>
        <p:spPr/>
        <p:txBody>
          <a:bodyPr/>
          <a:lstStyle/>
          <a:p>
            <a:r>
              <a:rPr lang="en-GB" dirty="0" smtClean="0"/>
              <a:t>Click to add text</a:t>
            </a:r>
            <a:endParaRPr lang="en-GB" dirty="0"/>
          </a:p>
        </p:txBody>
      </p:sp>
    </p:spTree>
    <p:extLst>
      <p:ext uri="{BB962C8B-B14F-4D97-AF65-F5344CB8AC3E}">
        <p14:creationId xmlns:p14="http://schemas.microsoft.com/office/powerpoint/2010/main" val="3706563687"/>
      </p:ext>
    </p:extLst>
  </p:cSld>
  <p:clrMapOvr>
    <a:masterClrMapping/>
  </p:clrMapOvr>
  <p:timing>
    <p:tnLst>
      <p:par>
        <p:cTn id="1" dur="indefinite" restart="never" nodeType="tmRoot"/>
      </p:par>
    </p:tnLst>
  </p:timing>
  <p:hf hd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itel 3"/>
          <p:cNvSpPr>
            <a:spLocks noGrp="1"/>
          </p:cNvSpPr>
          <p:nvPr>
            <p:ph type="title" hasCustomPrompt="1"/>
          </p:nvPr>
        </p:nvSpPr>
        <p:spPr/>
        <p:txBody>
          <a:bodyPr/>
          <a:lstStyle/>
          <a:p>
            <a:r>
              <a:rPr lang="en-GB" dirty="0" smtClean="0"/>
              <a:t>Click to add text</a:t>
            </a:r>
            <a:endParaRPr lang="en-GB" dirty="0"/>
          </a:p>
        </p:txBody>
      </p:sp>
      <p:sp>
        <p:nvSpPr>
          <p:cNvPr id="5" name="Inhaltsplatzhalter 2"/>
          <p:cNvSpPr>
            <a:spLocks noGrp="1"/>
          </p:cNvSpPr>
          <p:nvPr>
            <p:ph idx="1" hasCustomPrompt="1"/>
          </p:nvPr>
        </p:nvSpPr>
        <p:spPr>
          <a:xfrm>
            <a:off x="250824" y="1448780"/>
            <a:ext cx="8642279" cy="4931980"/>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marR="0" indent="-179388" algn="l" defTabSz="914400" rtl="0" eaLnBrk="1" fontAlgn="base" latinLnBrk="0" hangingPunct="1">
              <a:lnSpc>
                <a:spcPct val="100000"/>
              </a:lnSpc>
              <a:spcBef>
                <a:spcPts val="1800"/>
              </a:spcBef>
              <a:spcAft>
                <a:spcPct val="0"/>
              </a:spcAft>
              <a:buClr>
                <a:schemeClr val="tx1"/>
              </a:buClr>
              <a:buSzTx/>
              <a:buFont typeface="Arial" pitchFamily="34" charset="0"/>
              <a:buChar char="•"/>
              <a:tabLst/>
              <a:defRPr lang="de-DE" sz="1800" dirty="0" smtClean="0">
                <a:solidFill>
                  <a:schemeClr val="tx1"/>
                </a:solidFill>
                <a:latin typeface="+mn-lt"/>
                <a:ea typeface="+mn-ea"/>
                <a:cs typeface="+mn-cs"/>
              </a:defRPr>
            </a:lvl1pPr>
            <a:lvl2pPr marL="360000" indent="-179388" algn="l" rtl="0" eaLnBrk="1" fontAlgn="base" hangingPunct="1">
              <a:spcBef>
                <a:spcPts val="600"/>
              </a:spcBef>
              <a:spcAft>
                <a:spcPct val="0"/>
              </a:spcAft>
              <a:buClr>
                <a:schemeClr val="tx1"/>
              </a:buClr>
              <a:buFont typeface="Arial" pitchFamily="34" charset="0"/>
              <a:defRPr lang="de-DE" sz="1600" dirty="0" smtClean="0">
                <a:solidFill>
                  <a:schemeClr val="tx1"/>
                </a:solidFill>
                <a:latin typeface="+mn-lt"/>
                <a:ea typeface="+mn-ea"/>
                <a:cs typeface="+mn-cs"/>
              </a:defRPr>
            </a:lvl2pPr>
            <a:lvl3pPr marL="541338" indent="-179388" algn="l" rtl="0" eaLnBrk="1" fontAlgn="base" hangingPunct="1">
              <a:spcBef>
                <a:spcPts val="800"/>
              </a:spcBef>
              <a:spcAft>
                <a:spcPct val="0"/>
              </a:spcAft>
              <a:buClr>
                <a:schemeClr val="tx1"/>
              </a:buClr>
              <a:buFont typeface="Arial" pitchFamily="34" charset="0"/>
              <a:defRPr lang="de-DE" sz="1400" baseline="0" dirty="0" smtClean="0">
                <a:solidFill>
                  <a:schemeClr val="tx1"/>
                </a:solidFill>
                <a:latin typeface="+mn-lt"/>
                <a:ea typeface="+mn-ea"/>
                <a:cs typeface="+mn-cs"/>
              </a:defRPr>
            </a:lvl3pPr>
            <a:lvl4pPr marL="720000" indent="-179388" algn="l" rtl="0" eaLnBrk="1" fontAlgn="base" hangingPunct="1">
              <a:spcBef>
                <a:spcPts val="800"/>
              </a:spcBef>
              <a:spcAft>
                <a:spcPct val="0"/>
              </a:spcAft>
              <a:buClr>
                <a:schemeClr val="tx1"/>
              </a:buClr>
              <a:buFont typeface="Arial" pitchFamily="34" charset="0"/>
              <a:defRPr lang="de-DE" sz="1200" dirty="0" smtClean="0">
                <a:solidFill>
                  <a:schemeClr val="tx1"/>
                </a:solidFill>
                <a:latin typeface="+mn-lt"/>
                <a:ea typeface="+mn-ea"/>
                <a:cs typeface="+mn-cs"/>
              </a:defRPr>
            </a:lvl4pPr>
            <a:lvl5pPr marL="900000" indent="-179388" algn="l" rtl="0" eaLnBrk="1" fontAlgn="base" hangingPunct="1">
              <a:spcBef>
                <a:spcPts val="800"/>
              </a:spcBef>
              <a:spcAft>
                <a:spcPct val="0"/>
              </a:spcAft>
              <a:buClr>
                <a:schemeClr val="tx1"/>
              </a:buClr>
              <a:buFont typeface="Arial" pitchFamily="34" charset="0"/>
              <a:defRPr lang="de-DE" sz="1100" dirty="0">
                <a:solidFill>
                  <a:schemeClr val="tx1"/>
                </a:solidFill>
                <a:latin typeface="+mn-lt"/>
                <a:ea typeface="+mn-ea"/>
                <a:cs typeface="+mn-cs"/>
              </a:defRPr>
            </a:lvl5pPr>
          </a:lstStyle>
          <a:p>
            <a:pPr lvl="0"/>
            <a:r>
              <a:rPr lang="en-GB" dirty="0" smtClean="0"/>
              <a:t>Bullet 1</a:t>
            </a:r>
          </a:p>
          <a:p>
            <a:pPr lvl="0"/>
            <a:r>
              <a:rPr lang="en-GB" dirty="0" err="1" smtClean="0"/>
              <a:t>ghjgjhgjh</a:t>
            </a:r>
            <a:endParaRPr lang="en-GB" dirty="0" smtClean="0"/>
          </a:p>
          <a:p>
            <a:pPr lvl="1"/>
            <a:r>
              <a:rPr lang="en-GB" dirty="0" smtClean="0"/>
              <a:t>Bullet 2</a:t>
            </a:r>
          </a:p>
          <a:p>
            <a:pPr lvl="2"/>
            <a:r>
              <a:rPr lang="en-GB" dirty="0" smtClean="0"/>
              <a:t>Bullet 3</a:t>
            </a:r>
          </a:p>
          <a:p>
            <a:pPr lvl="3"/>
            <a:r>
              <a:rPr lang="en-GB" dirty="0" smtClean="0"/>
              <a:t>Bullet 4</a:t>
            </a:r>
          </a:p>
          <a:p>
            <a:pPr lvl="4"/>
            <a:r>
              <a:rPr lang="en-GB" dirty="0" smtClean="0"/>
              <a:t>Bullet 5</a:t>
            </a:r>
          </a:p>
          <a:p>
            <a:pPr lvl="0"/>
            <a:endParaRPr lang="en-GB" dirty="0"/>
          </a:p>
        </p:txBody>
      </p:sp>
    </p:spTree>
    <p:extLst>
      <p:ext uri="{BB962C8B-B14F-4D97-AF65-F5344CB8AC3E}">
        <p14:creationId xmlns:p14="http://schemas.microsoft.com/office/powerpoint/2010/main" val="1523325221"/>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ub-Title and Two Columns Content">
    <p:spTree>
      <p:nvGrpSpPr>
        <p:cNvPr id="1" name=""/>
        <p:cNvGrpSpPr/>
        <p:nvPr/>
      </p:nvGrpSpPr>
      <p:grpSpPr>
        <a:xfrm>
          <a:off x="0" y="0"/>
          <a:ext cx="0" cy="0"/>
          <a:chOff x="0" y="0"/>
          <a:chExt cx="0" cy="0"/>
        </a:xfrm>
      </p:grpSpPr>
      <p:graphicFrame>
        <p:nvGraphicFramePr>
          <p:cNvPr id="10" name="Objekt 9"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53"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Textplatzhalter 2"/>
          <p:cNvSpPr>
            <a:spLocks noGrp="1"/>
          </p:cNvSpPr>
          <p:nvPr>
            <p:ph idx="17" hasCustomPrompt="1"/>
          </p:nvPr>
        </p:nvSpPr>
        <p:spPr>
          <a:xfrm>
            <a:off x="250826" y="1448780"/>
            <a:ext cx="4141173" cy="4931980"/>
          </a:xfrm>
          <a:prstGeom prst="rect">
            <a:avLst/>
          </a:prstGeom>
          <a:noFill/>
          <a:ln w="12700">
            <a:noFill/>
            <a:miter lim="800000"/>
            <a:headEnd/>
            <a:tailEnd/>
          </a:ln>
        </p:spPr>
        <p:txBody>
          <a:bodyPr vert="horz" wrap="square" lIns="0" tIns="36000" rIns="0" bIns="0" numCol="1" anchor="t" anchorCtr="0" compatLnSpc="1">
            <a:prstTxWarp prst="textNoShape">
              <a:avLst/>
            </a:prstTxWarp>
            <a:noAutofit/>
          </a:bodyPr>
          <a:lstStyle>
            <a:lvl1pPr marL="180000" indent="-180000" algn="l" rtl="0" eaLnBrk="1" fontAlgn="base" hangingPunct="1">
              <a:spcBef>
                <a:spcPts val="800"/>
              </a:spcBef>
              <a:spcAft>
                <a:spcPct val="0"/>
              </a:spcAft>
              <a:buClr>
                <a:schemeClr val="tx1"/>
              </a:buClr>
              <a:buFont typeface="Arial" charset="0"/>
              <a:defRPr lang="de-DE" sz="2000" dirty="0" smtClean="0">
                <a:solidFill>
                  <a:schemeClr val="tx1"/>
                </a:solidFill>
                <a:latin typeface="+mn-lt"/>
                <a:ea typeface="+mn-ea"/>
                <a:cs typeface="+mn-cs"/>
              </a:defRPr>
            </a:lvl1pPr>
            <a:lvl2pPr marL="352425" indent="-169863" algn="l" rtl="0" eaLnBrk="1" fontAlgn="base" hangingPunct="1">
              <a:spcBef>
                <a:spcPts val="800"/>
              </a:spcBef>
              <a:spcAft>
                <a:spcPct val="0"/>
              </a:spcAft>
              <a:buClr>
                <a:schemeClr val="tx1"/>
              </a:buClr>
              <a:buFont typeface="Arial" pitchFamily="34" charset="0"/>
              <a:buChar char="–"/>
              <a:defRPr lang="de-DE" sz="1800" dirty="0" smtClean="0">
                <a:solidFill>
                  <a:schemeClr val="tx1"/>
                </a:solidFill>
                <a:latin typeface="+mn-lt"/>
              </a:defRPr>
            </a:lvl2pPr>
            <a:lvl3pPr marL="541338" indent="-180000" algn="l" rtl="0" eaLnBrk="1" fontAlgn="base" hangingPunct="1">
              <a:spcBef>
                <a:spcPts val="800"/>
              </a:spcBef>
              <a:spcAft>
                <a:spcPct val="0"/>
              </a:spcAft>
              <a:buClr>
                <a:schemeClr val="tx1"/>
              </a:buClr>
              <a:buFont typeface="Arial" charset="0"/>
              <a:buChar char="•"/>
              <a:defRPr lang="de-DE" sz="1600" dirty="0" smtClean="0">
                <a:solidFill>
                  <a:schemeClr val="tx1"/>
                </a:solidFill>
                <a:latin typeface="+mn-lt"/>
              </a:defRPr>
            </a:lvl3pPr>
            <a:lvl4pPr marL="715963" indent="-174625" algn="l" rtl="0" eaLnBrk="1" fontAlgn="base" hangingPunct="1">
              <a:spcBef>
                <a:spcPts val="800"/>
              </a:spcBef>
              <a:spcAft>
                <a:spcPct val="0"/>
              </a:spcAft>
              <a:buClr>
                <a:schemeClr val="tx1"/>
              </a:buClr>
              <a:buFont typeface="Arial" pitchFamily="34" charset="0"/>
              <a:buChar char="–"/>
              <a:defRPr lang="de-DE" sz="1400" dirty="0" smtClean="0">
                <a:solidFill>
                  <a:schemeClr val="tx1"/>
                </a:solidFill>
                <a:latin typeface="+mn-lt"/>
              </a:defRPr>
            </a:lvl4pPr>
            <a:lvl5pPr marL="901700" indent="-185738" algn="l" rtl="0" eaLnBrk="1" fontAlgn="base" hangingPunct="1">
              <a:spcBef>
                <a:spcPts val="800"/>
              </a:spcBef>
              <a:spcAft>
                <a:spcPct val="0"/>
              </a:spcAft>
              <a:buClr>
                <a:schemeClr val="tx1"/>
              </a:buClr>
              <a:buFont typeface="Arial" charset="0"/>
              <a:buChar char="•"/>
              <a:defRPr lang="de-DE" sz="1200" dirty="0">
                <a:solidFill>
                  <a:schemeClr val="tx1"/>
                </a:solidFill>
                <a:latin typeface="+mn-lt"/>
              </a:defRPr>
            </a:lvl5pPr>
          </a:lstStyle>
          <a:p>
            <a:pPr lvl="0"/>
            <a:r>
              <a:rPr lang="en-GB" dirty="0" smtClean="0"/>
              <a:t>Bullet 1</a:t>
            </a:r>
          </a:p>
          <a:p>
            <a:pPr lvl="1"/>
            <a:r>
              <a:rPr lang="en-GB" dirty="0" smtClean="0"/>
              <a:t>Bullet 2</a:t>
            </a:r>
          </a:p>
          <a:p>
            <a:pPr lvl="2"/>
            <a:r>
              <a:rPr lang="en-GB" dirty="0" smtClean="0"/>
              <a:t>Bullet 3</a:t>
            </a:r>
          </a:p>
          <a:p>
            <a:pPr lvl="3"/>
            <a:r>
              <a:rPr lang="en-GB" dirty="0" smtClean="0"/>
              <a:t>Bullet 4</a:t>
            </a:r>
          </a:p>
          <a:p>
            <a:pPr lvl="4"/>
            <a:r>
              <a:rPr lang="en-GB" dirty="0" smtClean="0"/>
              <a:t>Bullet 5</a:t>
            </a:r>
            <a:endParaRPr lang="en-GB" dirty="0"/>
          </a:p>
        </p:txBody>
      </p:sp>
      <p:sp>
        <p:nvSpPr>
          <p:cNvPr id="15" name="Textplatzhalter 2"/>
          <p:cNvSpPr>
            <a:spLocks noGrp="1"/>
          </p:cNvSpPr>
          <p:nvPr>
            <p:ph idx="20" hasCustomPrompt="1"/>
          </p:nvPr>
        </p:nvSpPr>
        <p:spPr>
          <a:xfrm>
            <a:off x="4751999" y="1448780"/>
            <a:ext cx="4141176" cy="4931980"/>
          </a:xfrm>
          <a:prstGeom prst="rect">
            <a:avLst/>
          </a:prstGeom>
        </p:spPr>
        <p:txBody>
          <a:bodyPr lIns="0" tIns="0" rIns="0" bIns="0">
            <a:noAutofit/>
          </a:bodyPr>
          <a:lstStyle>
            <a:lvl1pPr marL="180000" indent="-180000" algn="l" rtl="0" eaLnBrk="1" fontAlgn="base" hangingPunct="1">
              <a:spcBef>
                <a:spcPts val="800"/>
              </a:spcBef>
              <a:spcAft>
                <a:spcPct val="0"/>
              </a:spcAft>
              <a:buClr>
                <a:schemeClr val="tx1"/>
              </a:buClr>
              <a:buFont typeface="Arial" charset="0"/>
              <a:defRPr lang="de-DE" sz="2000" kern="1200" dirty="0" smtClean="0">
                <a:solidFill>
                  <a:schemeClr val="tx1"/>
                </a:solidFill>
                <a:latin typeface="+mn-lt"/>
                <a:ea typeface="+mn-ea"/>
                <a:cs typeface="+mn-cs"/>
              </a:defRPr>
            </a:lvl1pPr>
            <a:lvl2pPr marL="361950" indent="-179388" algn="l" rtl="0" eaLnBrk="1" fontAlgn="base" hangingPunct="1">
              <a:spcBef>
                <a:spcPts val="800"/>
              </a:spcBef>
              <a:spcAft>
                <a:spcPct val="0"/>
              </a:spcAft>
              <a:buClr>
                <a:schemeClr val="tx1"/>
              </a:buClr>
              <a:buFont typeface="Arial" pitchFamily="34" charset="0"/>
              <a:buChar char="–"/>
              <a:defRPr lang="de-DE" sz="1800" dirty="0" smtClean="0">
                <a:solidFill>
                  <a:schemeClr val="tx1"/>
                </a:solidFill>
                <a:latin typeface="+mn-lt"/>
              </a:defRPr>
            </a:lvl2pPr>
            <a:lvl3pPr marL="541338" indent="-180000" algn="l" rtl="0" eaLnBrk="1" fontAlgn="base" hangingPunct="1">
              <a:spcBef>
                <a:spcPts val="800"/>
              </a:spcBef>
              <a:spcAft>
                <a:spcPct val="0"/>
              </a:spcAft>
              <a:buClr>
                <a:schemeClr val="tx1"/>
              </a:buClr>
              <a:buFont typeface="Arial" charset="0"/>
              <a:buChar char="•"/>
              <a:defRPr lang="de-DE" sz="1600" dirty="0" smtClean="0">
                <a:solidFill>
                  <a:schemeClr val="tx1"/>
                </a:solidFill>
                <a:latin typeface="+mn-lt"/>
              </a:defRPr>
            </a:lvl3pPr>
            <a:lvl4pPr marL="715963" indent="-174625" algn="l" rtl="0" eaLnBrk="1" fontAlgn="base" hangingPunct="1">
              <a:spcBef>
                <a:spcPts val="800"/>
              </a:spcBef>
              <a:spcAft>
                <a:spcPct val="0"/>
              </a:spcAft>
              <a:buClr>
                <a:schemeClr val="tx1"/>
              </a:buClr>
              <a:buFont typeface="Arial" pitchFamily="34" charset="0"/>
              <a:buChar char="–"/>
              <a:defRPr lang="de-DE" sz="1400" dirty="0" smtClean="0">
                <a:solidFill>
                  <a:schemeClr val="tx1"/>
                </a:solidFill>
                <a:latin typeface="+mn-lt"/>
              </a:defRPr>
            </a:lvl4pPr>
            <a:lvl5pPr marL="901700" indent="-185738" algn="l" rtl="0" eaLnBrk="1" fontAlgn="base" hangingPunct="1">
              <a:spcBef>
                <a:spcPts val="800"/>
              </a:spcBef>
              <a:spcAft>
                <a:spcPct val="0"/>
              </a:spcAft>
              <a:buClr>
                <a:schemeClr val="tx1"/>
              </a:buClr>
              <a:buFont typeface="Arial" charset="0"/>
              <a:buChar char="•"/>
              <a:defRPr lang="de-DE" sz="1200" dirty="0">
                <a:solidFill>
                  <a:schemeClr val="tx1"/>
                </a:solidFill>
                <a:latin typeface="+mn-lt"/>
              </a:defRPr>
            </a:lvl5pPr>
          </a:lstStyle>
          <a:p>
            <a:pPr lvl="0"/>
            <a:r>
              <a:rPr lang="en-GB" dirty="0" smtClean="0"/>
              <a:t>Bullet 1</a:t>
            </a:r>
          </a:p>
          <a:p>
            <a:pPr lvl="1"/>
            <a:r>
              <a:rPr lang="en-GB" dirty="0" smtClean="0"/>
              <a:t>Bullet 2</a:t>
            </a:r>
          </a:p>
          <a:p>
            <a:pPr lvl="2"/>
            <a:r>
              <a:rPr lang="en-GB" dirty="0" smtClean="0"/>
              <a:t>Bullet 3</a:t>
            </a:r>
          </a:p>
          <a:p>
            <a:pPr lvl="3"/>
            <a:r>
              <a:rPr lang="en-GB" dirty="0" smtClean="0"/>
              <a:t>Bullet 4</a:t>
            </a:r>
          </a:p>
          <a:p>
            <a:pPr lvl="4"/>
            <a:r>
              <a:rPr lang="en-GB" dirty="0" smtClean="0"/>
              <a:t>Bullet 5</a:t>
            </a:r>
            <a:endParaRPr lang="en-GB" dirty="0"/>
          </a:p>
        </p:txBody>
      </p:sp>
      <p:sp>
        <p:nvSpPr>
          <p:cNvPr id="9" name="Titel 8"/>
          <p:cNvSpPr>
            <a:spLocks noGrp="1"/>
          </p:cNvSpPr>
          <p:nvPr>
            <p:ph type="title" hasCustomPrompt="1"/>
          </p:nvPr>
        </p:nvSpPr>
        <p:spPr/>
        <p:txBody>
          <a:bodyPr/>
          <a:lstStyle/>
          <a:p>
            <a:r>
              <a:rPr lang="en-GB" dirty="0" smtClean="0"/>
              <a:t>Click to add text</a:t>
            </a:r>
            <a:endParaRPr lang="en-GB" dirty="0"/>
          </a:p>
        </p:txBody>
      </p:sp>
    </p:spTree>
    <p:extLst>
      <p:ext uri="{BB962C8B-B14F-4D97-AF65-F5344CB8AC3E}">
        <p14:creationId xmlns:p14="http://schemas.microsoft.com/office/powerpoint/2010/main" val="3246809043"/>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ivider Slide Option 1">
    <p:spTree>
      <p:nvGrpSpPr>
        <p:cNvPr id="1" name=""/>
        <p:cNvGrpSpPr/>
        <p:nvPr/>
      </p:nvGrpSpPr>
      <p:grpSpPr>
        <a:xfrm>
          <a:off x="0" y="0"/>
          <a:ext cx="0" cy="0"/>
          <a:chOff x="0" y="0"/>
          <a:chExt cx="0" cy="0"/>
        </a:xfrm>
      </p:grpSpPr>
      <p:sp>
        <p:nvSpPr>
          <p:cNvPr id="8" name="AC Banner"/>
          <p:cNvSpPr>
            <a:spLocks noChangeArrowheads="1"/>
          </p:cNvSpPr>
          <p:nvPr>
            <p:custDataLst>
              <p:tags r:id="rId2"/>
            </p:custDataLst>
          </p:nvPr>
        </p:nvSpPr>
        <p:spPr bwMode="ltGray">
          <a:xfrm>
            <a:off x="0" y="0"/>
            <a:ext cx="9144000" cy="6858000"/>
          </a:xfrm>
          <a:prstGeom prst="rect">
            <a:avLst/>
          </a:prstGeom>
          <a:solidFill>
            <a:schemeClr val="accent1"/>
          </a:solidFill>
          <a:ln w="12700">
            <a:noFill/>
            <a:miter lim="800000"/>
            <a:headEnd/>
            <a:tailEnd/>
          </a:ln>
          <a:effectLst/>
        </p:spPr>
        <p:txBody>
          <a:bodyPr wrap="none" anchor="ctr"/>
          <a:lstStyle/>
          <a:p>
            <a:pPr algn="ctr" fontAlgn="base">
              <a:spcBef>
                <a:spcPct val="0"/>
              </a:spcBef>
              <a:spcAft>
                <a:spcPct val="0"/>
              </a:spcAft>
              <a:defRPr/>
            </a:pPr>
            <a:endParaRPr lang="en-GB" dirty="0">
              <a:solidFill>
                <a:prstClr val="black"/>
              </a:solidFill>
              <a:cs typeface="Arial" charset="0"/>
            </a:endParaRPr>
          </a:p>
        </p:txBody>
      </p:sp>
      <p:graphicFrame>
        <p:nvGraphicFramePr>
          <p:cNvPr id="14" name="Objekt 13"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77" name="think-cell Slide" r:id="rId7" imgW="0" imgH="0" progId="TCLayout.ActiveDocument.1">
                  <p:embed/>
                </p:oleObj>
              </mc:Choice>
              <mc:Fallback>
                <p:oleObj name="think-cell Slide" r:id="rId7"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3" name="Straight Connector 12"/>
          <p:cNvCxnSpPr/>
          <p:nvPr>
            <p:custDataLst>
              <p:tags r:id="rId4"/>
            </p:custDataLst>
          </p:nvPr>
        </p:nvCxnSpPr>
        <p:spPr bwMode="auto">
          <a:xfrm>
            <a:off x="0" y="3429000"/>
            <a:ext cx="9144000" cy="0"/>
          </a:xfrm>
          <a:prstGeom prst="line">
            <a:avLst/>
          </a:prstGeom>
          <a:solidFill>
            <a:schemeClr val="accent1"/>
          </a:solidFill>
          <a:ln w="12700" cap="flat" cmpd="sng" algn="ctr">
            <a:solidFill>
              <a:schemeClr val="bg1"/>
            </a:solidFill>
            <a:prstDash val="solid"/>
            <a:round/>
            <a:headEnd type="none" w="med" len="med"/>
            <a:tailEnd type="none" w="med" len="med"/>
          </a:ln>
          <a:effectLst/>
        </p:spPr>
      </p:cxnSp>
      <p:sp>
        <p:nvSpPr>
          <p:cNvPr id="10" name="Titel 9"/>
          <p:cNvSpPr>
            <a:spLocks noGrp="1"/>
          </p:cNvSpPr>
          <p:nvPr>
            <p:ph type="title" hasCustomPrompt="1"/>
          </p:nvPr>
        </p:nvSpPr>
        <p:spPr bwMode="white">
          <a:xfrm>
            <a:off x="250825" y="2105025"/>
            <a:ext cx="8642350" cy="1323975"/>
          </a:xfrm>
        </p:spPr>
        <p:txBody>
          <a:bodyPr/>
          <a:lstStyle>
            <a:lvl1pPr marL="0">
              <a:spcBef>
                <a:spcPts val="800"/>
              </a:spcBef>
              <a:defRPr>
                <a:solidFill>
                  <a:schemeClr val="bg1"/>
                </a:solidFill>
              </a:defRPr>
            </a:lvl1pPr>
          </a:lstStyle>
          <a:p>
            <a:r>
              <a:rPr lang="en-GB" dirty="0" smtClean="0"/>
              <a:t>Click to add text</a:t>
            </a:r>
            <a:endParaRPr lang="en-GB" dirty="0"/>
          </a:p>
        </p:txBody>
      </p:sp>
      <p:sp>
        <p:nvSpPr>
          <p:cNvPr id="19" name="Inhaltsplatzhalter 13"/>
          <p:cNvSpPr txBox="1">
            <a:spLocks/>
          </p:cNvSpPr>
          <p:nvPr userDrawn="1"/>
        </p:nvSpPr>
        <p:spPr bwMode="gray">
          <a:xfrm>
            <a:off x="8496436"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EB578BD5-E3A8-4354-91BC-79CE4598B8D1}" type="slidenum">
              <a:rPr lang="en-GB" sz="800" smtClean="0">
                <a:solidFill>
                  <a:prstClr val="white"/>
                </a:solidFill>
                <a:cs typeface="Arial" pitchFamily="34" charset="0"/>
              </a:rPr>
              <a:pPr algn="r">
                <a:defRPr/>
              </a:pPr>
              <a:t>‹#›</a:t>
            </a:fld>
            <a:endParaRPr lang="en-GB" sz="800" dirty="0">
              <a:solidFill>
                <a:prstClr val="white"/>
              </a:solidFill>
              <a:cs typeface="Arial" pitchFamily="34" charset="0"/>
            </a:endParaRPr>
          </a:p>
        </p:txBody>
      </p:sp>
      <p:cxnSp>
        <p:nvCxnSpPr>
          <p:cNvPr id="9" name="Straight Connector 12"/>
          <p:cNvCxnSpPr/>
          <p:nvPr userDrawn="1">
            <p:custDataLst>
              <p:tags r:id="rId5"/>
            </p:custDataLst>
          </p:nvPr>
        </p:nvCxnSpPr>
        <p:spPr bwMode="ltGray">
          <a:xfrm>
            <a:off x="0" y="3429000"/>
            <a:ext cx="9144000" cy="0"/>
          </a:xfrm>
          <a:prstGeom prst="line">
            <a:avLst/>
          </a:prstGeom>
          <a:solidFill>
            <a:schemeClr val="accent1"/>
          </a:solidFill>
          <a:ln w="12700" cap="flat" cmpd="sng" algn="ctr">
            <a:solidFill>
              <a:schemeClr val="bg1"/>
            </a:solidFill>
            <a:prstDash val="solid"/>
            <a:round/>
            <a:headEnd type="none" w="med" len="med"/>
            <a:tailEnd type="none" w="med" len="med"/>
          </a:ln>
          <a:effectLst/>
        </p:spPr>
      </p:cxnSp>
      <p:sp>
        <p:nvSpPr>
          <p:cNvPr id="11" name="AMC_Footer"/>
          <p:cNvSpPr txBox="1">
            <a:spLocks/>
          </p:cNvSpPr>
          <p:nvPr userDrawn="1"/>
        </p:nvSpPr>
        <p:spPr>
          <a:xfrm>
            <a:off x="250823" y="6622367"/>
            <a:ext cx="6264000"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GB" sz="800" b="1" dirty="0" smtClean="0">
                <a:solidFill>
                  <a:prstClr val="white"/>
                </a:solidFill>
                <a:cs typeface="Arial" charset="0"/>
              </a:rPr>
              <a:t>Confidential - Do Not forward  - For Internal Management Planning purposes. </a:t>
            </a:r>
            <a:r>
              <a:rPr lang="en-GB" sz="800" dirty="0" smtClean="0">
                <a:solidFill>
                  <a:prstClr val="white"/>
                </a:solidFill>
                <a:cs typeface="Arial" pitchFamily="34" charset="0"/>
              </a:rPr>
              <a:t>Copyright © 2013 Accenture. All rights reserved.</a:t>
            </a:r>
            <a:endParaRPr lang="en-GB" sz="800" dirty="0">
              <a:solidFill>
                <a:prstClr val="white"/>
              </a:solidFill>
              <a:cs typeface="Arial" pitchFamily="34" charset="0"/>
            </a:endParaRPr>
          </a:p>
        </p:txBody>
      </p:sp>
    </p:spTree>
    <p:extLst>
      <p:ext uri="{BB962C8B-B14F-4D97-AF65-F5344CB8AC3E}">
        <p14:creationId xmlns:p14="http://schemas.microsoft.com/office/powerpoint/2010/main" val="3424405125"/>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vider Slide Option 2">
    <p:spTree>
      <p:nvGrpSpPr>
        <p:cNvPr id="1" name=""/>
        <p:cNvGrpSpPr/>
        <p:nvPr/>
      </p:nvGrpSpPr>
      <p:grpSpPr>
        <a:xfrm>
          <a:off x="0" y="0"/>
          <a:ext cx="0" cy="0"/>
          <a:chOff x="0" y="0"/>
          <a:chExt cx="0" cy="0"/>
        </a:xfrm>
      </p:grpSpPr>
      <p:pic>
        <p:nvPicPr>
          <p:cNvPr id="10" name="Picture 9" descr="AMC00169.jpg"/>
          <p:cNvPicPr>
            <a:picLocks noChangeAspect="1"/>
          </p:cNvPicPr>
          <p:nvPr userDrawn="1"/>
        </p:nvPicPr>
        <p:blipFill>
          <a:blip r:embed="rId7" cstate="print">
            <a:lum bright="6000"/>
          </a:blip>
          <a:stretch>
            <a:fillRect/>
          </a:stretch>
        </p:blipFill>
        <p:spPr>
          <a:xfrm>
            <a:off x="3965575" y="-3043"/>
            <a:ext cx="5148064" cy="3432043"/>
          </a:xfrm>
          <a:prstGeom prst="rect">
            <a:avLst/>
          </a:prstGeom>
        </p:spPr>
      </p:pic>
      <p:graphicFrame>
        <p:nvGraphicFramePr>
          <p:cNvPr id="9" name="Objekt 8"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01" name="think-cell Slide" r:id="rId8" imgW="0" imgH="0" progId="TCLayout.ActiveDocument.1">
                  <p:embed/>
                </p:oleObj>
              </mc:Choice>
              <mc:Fallback>
                <p:oleObj name="think-cell Slide" r:id="rId8"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Titel 17"/>
          <p:cNvSpPr>
            <a:spLocks noGrp="1"/>
          </p:cNvSpPr>
          <p:nvPr>
            <p:ph type="title" hasCustomPrompt="1"/>
            <p:custDataLst>
              <p:tags r:id="rId3"/>
            </p:custDataLst>
          </p:nvPr>
        </p:nvSpPr>
        <p:spPr>
          <a:xfrm>
            <a:off x="250825" y="2105025"/>
            <a:ext cx="4321175" cy="1323975"/>
          </a:xfrm>
        </p:spPr>
        <p:txBody>
          <a:bodyPr/>
          <a:lstStyle>
            <a:lvl1pPr>
              <a:spcBef>
                <a:spcPts val="800"/>
              </a:spcBef>
              <a:defRPr/>
            </a:lvl1pPr>
          </a:lstStyle>
          <a:p>
            <a:r>
              <a:rPr lang="en-GB" dirty="0" smtClean="0"/>
              <a:t>Click to add text</a:t>
            </a:r>
            <a:endParaRPr lang="en-GB" dirty="0"/>
          </a:p>
        </p:txBody>
      </p:sp>
      <p:cxnSp>
        <p:nvCxnSpPr>
          <p:cNvPr id="13" name="Straight Connector 12"/>
          <p:cNvCxnSpPr/>
          <p:nvPr userDrawn="1">
            <p:custDataLst>
              <p:tags r:id="rId4"/>
            </p:custDataLst>
          </p:nvPr>
        </p:nvCxnSpPr>
        <p:spPr bwMode="ltGray">
          <a:xfrm>
            <a:off x="0" y="3429000"/>
            <a:ext cx="9144000" cy="0"/>
          </a:xfrm>
          <a:prstGeom prst="line">
            <a:avLst/>
          </a:prstGeom>
          <a:solidFill>
            <a:schemeClr val="accent1"/>
          </a:solidFill>
          <a:ln w="12700" cap="flat" cmpd="sng" algn="ctr">
            <a:solidFill>
              <a:schemeClr val="accent1"/>
            </a:solidFill>
            <a:prstDash val="solid"/>
            <a:round/>
            <a:headEnd type="none" w="med" len="med"/>
            <a:tailEnd type="none" w="med" len="med"/>
          </a:ln>
          <a:effectLst/>
        </p:spPr>
      </p:cxnSp>
      <p:sp>
        <p:nvSpPr>
          <p:cNvPr id="20" name="Inhaltsplatzhalter 13"/>
          <p:cNvSpPr txBox="1">
            <a:spLocks/>
          </p:cNvSpPr>
          <p:nvPr userDrawn="1">
            <p:custDataLst>
              <p:tags r:id="rId5"/>
            </p:custDataLst>
          </p:nvPr>
        </p:nvSpPr>
        <p:spPr>
          <a:xfrm>
            <a:off x="8496436"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EB578BD5-E3A8-4354-91BC-79CE4598B8D1}" type="slidenum">
              <a:rPr lang="en-GB" sz="800" smtClean="0">
                <a:solidFill>
                  <a:prstClr val="black"/>
                </a:solidFill>
                <a:cs typeface="Arial" pitchFamily="34" charset="0"/>
              </a:rPr>
              <a:pPr algn="r">
                <a:defRPr/>
              </a:pPr>
              <a:t>‹#›</a:t>
            </a:fld>
            <a:endParaRPr lang="en-GB" sz="800" dirty="0">
              <a:solidFill>
                <a:prstClr val="black"/>
              </a:solidFill>
              <a:cs typeface="Arial" pitchFamily="34" charset="0"/>
            </a:endParaRPr>
          </a:p>
        </p:txBody>
      </p:sp>
      <p:sp>
        <p:nvSpPr>
          <p:cNvPr id="11" name="AMC_Footer"/>
          <p:cNvSpPr txBox="1">
            <a:spLocks/>
          </p:cNvSpPr>
          <p:nvPr userDrawn="1"/>
        </p:nvSpPr>
        <p:spPr>
          <a:xfrm>
            <a:off x="250823" y="6622367"/>
            <a:ext cx="6264000"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GB" sz="800" b="1" dirty="0" smtClean="0">
                <a:solidFill>
                  <a:prstClr val="black"/>
                </a:solidFill>
                <a:cs typeface="Arial" charset="0"/>
              </a:rPr>
              <a:t>Confidential - Do Not forward  - For Internal Management Planning purposes. </a:t>
            </a:r>
            <a:r>
              <a:rPr lang="en-GB" sz="800" dirty="0" smtClean="0">
                <a:solidFill>
                  <a:prstClr val="black"/>
                </a:solidFill>
                <a:cs typeface="Arial" pitchFamily="34" charset="0"/>
              </a:rPr>
              <a:t>Copyright © 2013 Accenture. All rights reserved.</a:t>
            </a:r>
            <a:endParaRPr lang="en-GB" sz="800" dirty="0">
              <a:solidFill>
                <a:prstClr val="black"/>
              </a:solidFill>
              <a:cs typeface="Arial" pitchFamily="34" charset="0"/>
            </a:endParaRPr>
          </a:p>
        </p:txBody>
      </p:sp>
    </p:spTree>
    <p:extLst>
      <p:ext uri="{BB962C8B-B14F-4D97-AF65-F5344CB8AC3E}">
        <p14:creationId xmlns:p14="http://schemas.microsoft.com/office/powerpoint/2010/main" val="1189214929"/>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vider Slide Option 3">
    <p:spTree>
      <p:nvGrpSpPr>
        <p:cNvPr id="1" name=""/>
        <p:cNvGrpSpPr/>
        <p:nvPr/>
      </p:nvGrpSpPr>
      <p:grpSpPr>
        <a:xfrm>
          <a:off x="0" y="0"/>
          <a:ext cx="0" cy="0"/>
          <a:chOff x="0" y="0"/>
          <a:chExt cx="0" cy="0"/>
        </a:xfrm>
      </p:grpSpPr>
      <p:sp>
        <p:nvSpPr>
          <p:cNvPr id="8" name="AC Banner"/>
          <p:cNvSpPr>
            <a:spLocks noChangeArrowheads="1"/>
          </p:cNvSpPr>
          <p:nvPr userDrawn="1">
            <p:custDataLst>
              <p:tags r:id="rId2"/>
            </p:custDataLst>
          </p:nvPr>
        </p:nvSpPr>
        <p:spPr bwMode="ltGray">
          <a:xfrm>
            <a:off x="0" y="0"/>
            <a:ext cx="9144000" cy="6858000"/>
          </a:xfrm>
          <a:prstGeom prst="rect">
            <a:avLst/>
          </a:prstGeom>
          <a:solidFill>
            <a:schemeClr val="accent2"/>
          </a:solidFill>
          <a:ln w="12700">
            <a:noFill/>
            <a:miter lim="800000"/>
            <a:headEnd/>
            <a:tailEnd/>
          </a:ln>
          <a:effectLst/>
        </p:spPr>
        <p:txBody>
          <a:bodyPr wrap="none" anchor="ctr"/>
          <a:lstStyle/>
          <a:p>
            <a:pPr algn="ctr" fontAlgn="base">
              <a:spcBef>
                <a:spcPct val="0"/>
              </a:spcBef>
              <a:spcAft>
                <a:spcPct val="0"/>
              </a:spcAft>
              <a:defRPr/>
            </a:pPr>
            <a:endParaRPr lang="en-GB" dirty="0">
              <a:solidFill>
                <a:prstClr val="black"/>
              </a:solidFill>
              <a:cs typeface="Arial" charset="0"/>
            </a:endParaRPr>
          </a:p>
        </p:txBody>
      </p:sp>
      <p:graphicFrame>
        <p:nvGraphicFramePr>
          <p:cNvPr id="14" name="Objekt 13"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25" name="think-cell Slide" r:id="rId7" imgW="0" imgH="0" progId="TCLayout.ActiveDocument.1">
                  <p:embed/>
                </p:oleObj>
              </mc:Choice>
              <mc:Fallback>
                <p:oleObj name="think-cell Slide" r:id="rId7"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3" name="Straight Connector 12"/>
          <p:cNvCxnSpPr/>
          <p:nvPr>
            <p:custDataLst>
              <p:tags r:id="rId4"/>
            </p:custDataLst>
          </p:nvPr>
        </p:nvCxnSpPr>
        <p:spPr bwMode="gray">
          <a:xfrm>
            <a:off x="0" y="3429000"/>
            <a:ext cx="9144000" cy="0"/>
          </a:xfrm>
          <a:prstGeom prst="line">
            <a:avLst/>
          </a:prstGeom>
          <a:solidFill>
            <a:schemeClr val="accent1"/>
          </a:solidFill>
          <a:ln w="12700" cap="flat" cmpd="sng" algn="ctr">
            <a:solidFill>
              <a:schemeClr val="bg1"/>
            </a:solidFill>
            <a:prstDash val="solid"/>
            <a:round/>
            <a:headEnd type="none" w="med" len="med"/>
            <a:tailEnd type="none" w="med" len="med"/>
          </a:ln>
          <a:effectLst/>
        </p:spPr>
      </p:cxnSp>
      <p:sp>
        <p:nvSpPr>
          <p:cNvPr id="18" name="Titel 17"/>
          <p:cNvSpPr>
            <a:spLocks noGrp="1"/>
          </p:cNvSpPr>
          <p:nvPr>
            <p:ph type="title" hasCustomPrompt="1"/>
          </p:nvPr>
        </p:nvSpPr>
        <p:spPr bwMode="gray">
          <a:xfrm>
            <a:off x="250825" y="2105025"/>
            <a:ext cx="8642350" cy="1323975"/>
          </a:xfrm>
        </p:spPr>
        <p:txBody>
          <a:bodyPr/>
          <a:lstStyle>
            <a:lvl1pPr>
              <a:spcBef>
                <a:spcPts val="800"/>
              </a:spcBef>
              <a:defRPr>
                <a:solidFill>
                  <a:schemeClr val="bg1"/>
                </a:solidFill>
              </a:defRPr>
            </a:lvl1pPr>
          </a:lstStyle>
          <a:p>
            <a:r>
              <a:rPr lang="en-GB" dirty="0" smtClean="0"/>
              <a:t>Click to add text</a:t>
            </a:r>
            <a:endParaRPr lang="en-GB" dirty="0"/>
          </a:p>
        </p:txBody>
      </p:sp>
      <p:cxnSp>
        <p:nvCxnSpPr>
          <p:cNvPr id="9" name="Straight Connector 12"/>
          <p:cNvCxnSpPr/>
          <p:nvPr userDrawn="1">
            <p:custDataLst>
              <p:tags r:id="rId5"/>
            </p:custDataLst>
          </p:nvPr>
        </p:nvCxnSpPr>
        <p:spPr bwMode="gray">
          <a:xfrm>
            <a:off x="0" y="3429000"/>
            <a:ext cx="9144000" cy="0"/>
          </a:xfrm>
          <a:prstGeom prst="line">
            <a:avLst/>
          </a:prstGeom>
          <a:solidFill>
            <a:schemeClr val="accent1"/>
          </a:solidFill>
          <a:ln w="12700" cap="flat" cmpd="sng" algn="ctr">
            <a:solidFill>
              <a:schemeClr val="bg1"/>
            </a:solidFill>
            <a:prstDash val="solid"/>
            <a:round/>
            <a:headEnd type="none" w="med" len="med"/>
            <a:tailEnd type="none" w="med" len="med"/>
          </a:ln>
          <a:effectLst/>
        </p:spPr>
      </p:cxnSp>
      <p:sp>
        <p:nvSpPr>
          <p:cNvPr id="20" name="Inhaltsplatzhalter 13"/>
          <p:cNvSpPr txBox="1">
            <a:spLocks/>
          </p:cNvSpPr>
          <p:nvPr userDrawn="1"/>
        </p:nvSpPr>
        <p:spPr bwMode="gray">
          <a:xfrm>
            <a:off x="8496436"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EB578BD5-E3A8-4354-91BC-79CE4598B8D1}" type="slidenum">
              <a:rPr lang="en-GB" sz="800" smtClean="0">
                <a:solidFill>
                  <a:prstClr val="white"/>
                </a:solidFill>
                <a:cs typeface="Arial" pitchFamily="34" charset="0"/>
              </a:rPr>
              <a:pPr algn="r">
                <a:defRPr/>
              </a:pPr>
              <a:t>‹#›</a:t>
            </a:fld>
            <a:endParaRPr lang="en-GB" sz="800" dirty="0">
              <a:solidFill>
                <a:prstClr val="white"/>
              </a:solidFill>
              <a:cs typeface="Arial" pitchFamily="34" charset="0"/>
            </a:endParaRPr>
          </a:p>
        </p:txBody>
      </p:sp>
      <p:sp>
        <p:nvSpPr>
          <p:cNvPr id="10" name="AMC_Footer"/>
          <p:cNvSpPr txBox="1">
            <a:spLocks/>
          </p:cNvSpPr>
          <p:nvPr userDrawn="1"/>
        </p:nvSpPr>
        <p:spPr>
          <a:xfrm>
            <a:off x="250823" y="6622367"/>
            <a:ext cx="6264000"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GB" sz="800" b="1" dirty="0" smtClean="0">
                <a:solidFill>
                  <a:prstClr val="white"/>
                </a:solidFill>
                <a:cs typeface="Arial" charset="0"/>
              </a:rPr>
              <a:t>Confidential - Do Not forward  - For Internal Management Planning purposes. </a:t>
            </a:r>
            <a:r>
              <a:rPr lang="en-GB" sz="800" dirty="0" smtClean="0">
                <a:solidFill>
                  <a:prstClr val="white"/>
                </a:solidFill>
                <a:cs typeface="Arial" pitchFamily="34" charset="0"/>
              </a:rPr>
              <a:t>Copyright © 2013 Accenture. All rights reserved.</a:t>
            </a:r>
            <a:endParaRPr lang="en-GB" sz="800" dirty="0">
              <a:solidFill>
                <a:prstClr val="white"/>
              </a:solidFill>
              <a:cs typeface="Arial" pitchFamily="34" charset="0"/>
            </a:endParaRPr>
          </a:p>
        </p:txBody>
      </p:sp>
    </p:spTree>
    <p:extLst>
      <p:ext uri="{BB962C8B-B14F-4D97-AF65-F5344CB8AC3E}">
        <p14:creationId xmlns:p14="http://schemas.microsoft.com/office/powerpoint/2010/main" val="2956716236"/>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_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bwMode="auto">
          <a:xfrm>
            <a:off x="468313" y="1162051"/>
            <a:ext cx="8207375" cy="386054"/>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None/>
              <a:defRPr lang="de-DE" sz="2000" b="1" dirty="0" smtClean="0">
                <a:solidFill>
                  <a:schemeClr val="accent2"/>
                </a:solidFill>
              </a:defRPr>
            </a:lvl1pPr>
          </a:lstStyle>
          <a:p>
            <a:pPr marL="0" lvl="0" indent="0" eaLnBrk="1" hangingPunct="1">
              <a:spcBef>
                <a:spcPts val="800"/>
              </a:spcBef>
              <a:spcAft>
                <a:spcPct val="0"/>
              </a:spcAft>
              <a:buClr>
                <a:schemeClr val="tx1"/>
              </a:buClr>
            </a:pPr>
            <a:endParaRPr lang="en-GB" dirty="0" smtClean="0"/>
          </a:p>
        </p:txBody>
      </p:sp>
      <p:sp>
        <p:nvSpPr>
          <p:cNvPr id="2" name="Titel 1"/>
          <p:cNvSpPr>
            <a:spLocks noGrp="1"/>
          </p:cNvSpPr>
          <p:nvPr>
            <p:ph type="title"/>
          </p:nvPr>
        </p:nvSpPr>
        <p:spPr bwMode="auto"/>
        <p:txBody>
          <a:bodyPr/>
          <a:lstStyle/>
          <a:p>
            <a:endParaRPr lang="en-GB" dirty="0"/>
          </a:p>
        </p:txBody>
      </p:sp>
      <p:sp>
        <p:nvSpPr>
          <p:cNvPr id="5" name="Textplatzhalter 4"/>
          <p:cNvSpPr>
            <a:spLocks noGrp="1"/>
          </p:cNvSpPr>
          <p:nvPr>
            <p:ph type="body" sz="quarter" idx="14"/>
          </p:nvPr>
        </p:nvSpPr>
        <p:spPr>
          <a:xfrm>
            <a:off x="468313" y="1628775"/>
            <a:ext cx="8207375"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6700" indent="-266700">
              <a:defRPr lang="de-DE" sz="2000" dirty="0" smtClean="0"/>
            </a:lvl1pPr>
            <a:lvl2pPr marL="271712" indent="0">
              <a:buNone/>
              <a:defRPr lang="de-DE" sz="1800" dirty="0" smtClean="0"/>
            </a:lvl2pPr>
            <a:lvl3pPr marL="719138" indent="-179388">
              <a:defRPr lang="de-DE" sz="1600" dirty="0" smtClean="0"/>
            </a:lvl3pPr>
            <a:lvl4pPr marL="895350" indent="-176213">
              <a:defRPr lang="de-DE" sz="1400" dirty="0" smtClean="0"/>
            </a:lvl4pPr>
            <a:lvl5pPr marL="1079500" indent="-179388">
              <a:defRPr lang="en-AU" sz="1200" dirty="0"/>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cxnSp>
        <p:nvCxnSpPr>
          <p:cNvPr id="6" name="Straight Connector 5"/>
          <p:cNvCxnSpPr/>
          <p:nvPr userDrawn="1"/>
        </p:nvCxnSpPr>
        <p:spPr bwMode="auto">
          <a:xfrm>
            <a:off x="468313" y="1162050"/>
            <a:ext cx="86756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3460510"/>
      </p:ext>
    </p:extLst>
  </p:cSld>
  <p:clrMapOvr>
    <a:masterClrMapping/>
  </p:clrMapOvr>
  <p:timing>
    <p:tnLst>
      <p:par>
        <p:cTn id="1" dur="indefinite" restart="never" nodeType="tmRoot"/>
      </p:par>
    </p:tnLst>
  </p:timing>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itel 3"/>
          <p:cNvSpPr>
            <a:spLocks noGrp="1"/>
          </p:cNvSpPr>
          <p:nvPr>
            <p:ph type="title" hasCustomPrompt="1"/>
          </p:nvPr>
        </p:nvSpPr>
        <p:spPr/>
        <p:txBody>
          <a:bodyPr/>
          <a:lstStyle/>
          <a:p>
            <a:r>
              <a:rPr lang="en-GB" dirty="0" smtClean="0"/>
              <a:t>Click to add text</a:t>
            </a:r>
            <a:endParaRPr lang="en-GB" dirty="0"/>
          </a:p>
        </p:txBody>
      </p:sp>
      <p:sp>
        <p:nvSpPr>
          <p:cNvPr id="5" name="Inhaltsplatzhalter 2"/>
          <p:cNvSpPr>
            <a:spLocks noGrp="1"/>
          </p:cNvSpPr>
          <p:nvPr>
            <p:ph idx="1" hasCustomPrompt="1"/>
          </p:nvPr>
        </p:nvSpPr>
        <p:spPr>
          <a:xfrm>
            <a:off x="250824" y="1448780"/>
            <a:ext cx="8642279" cy="4931980"/>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marR="0" indent="-179388" algn="l" defTabSz="914400" rtl="0" eaLnBrk="1" fontAlgn="base" latinLnBrk="0" hangingPunct="1">
              <a:lnSpc>
                <a:spcPct val="100000"/>
              </a:lnSpc>
              <a:spcBef>
                <a:spcPts val="1800"/>
              </a:spcBef>
              <a:spcAft>
                <a:spcPct val="0"/>
              </a:spcAft>
              <a:buClr>
                <a:schemeClr val="tx1"/>
              </a:buClr>
              <a:buSzTx/>
              <a:buFont typeface="Arial" pitchFamily="34" charset="0"/>
              <a:buChar char="•"/>
              <a:tabLst/>
              <a:defRPr lang="de-DE" sz="1800" dirty="0" smtClean="0">
                <a:solidFill>
                  <a:schemeClr val="tx1"/>
                </a:solidFill>
                <a:latin typeface="+mn-lt"/>
                <a:ea typeface="+mn-ea"/>
                <a:cs typeface="+mn-cs"/>
              </a:defRPr>
            </a:lvl1pPr>
            <a:lvl2pPr marL="360000" indent="-179388" algn="l" rtl="0" eaLnBrk="1" fontAlgn="base" hangingPunct="1">
              <a:spcBef>
                <a:spcPts val="600"/>
              </a:spcBef>
              <a:spcAft>
                <a:spcPct val="0"/>
              </a:spcAft>
              <a:buClr>
                <a:schemeClr val="tx1"/>
              </a:buClr>
              <a:buFont typeface="Arial" pitchFamily="34" charset="0"/>
              <a:defRPr lang="de-DE" sz="1600" dirty="0" smtClean="0">
                <a:solidFill>
                  <a:schemeClr val="tx1"/>
                </a:solidFill>
                <a:latin typeface="+mn-lt"/>
                <a:ea typeface="+mn-ea"/>
                <a:cs typeface="+mn-cs"/>
              </a:defRPr>
            </a:lvl2pPr>
            <a:lvl3pPr marL="541338" indent="-179388" algn="l" rtl="0" eaLnBrk="1" fontAlgn="base" hangingPunct="1">
              <a:spcBef>
                <a:spcPts val="800"/>
              </a:spcBef>
              <a:spcAft>
                <a:spcPct val="0"/>
              </a:spcAft>
              <a:buClr>
                <a:schemeClr val="tx1"/>
              </a:buClr>
              <a:buFont typeface="Arial" pitchFamily="34" charset="0"/>
              <a:defRPr lang="de-DE" sz="1400" baseline="0" dirty="0" smtClean="0">
                <a:solidFill>
                  <a:schemeClr val="tx1"/>
                </a:solidFill>
                <a:latin typeface="+mn-lt"/>
                <a:ea typeface="+mn-ea"/>
                <a:cs typeface="+mn-cs"/>
              </a:defRPr>
            </a:lvl3pPr>
            <a:lvl4pPr marL="720000" indent="-179388" algn="l" rtl="0" eaLnBrk="1" fontAlgn="base" hangingPunct="1">
              <a:spcBef>
                <a:spcPts val="800"/>
              </a:spcBef>
              <a:spcAft>
                <a:spcPct val="0"/>
              </a:spcAft>
              <a:buClr>
                <a:schemeClr val="tx1"/>
              </a:buClr>
              <a:buFont typeface="Arial" pitchFamily="34" charset="0"/>
              <a:defRPr lang="de-DE" sz="1200" dirty="0" smtClean="0">
                <a:solidFill>
                  <a:schemeClr val="tx1"/>
                </a:solidFill>
                <a:latin typeface="+mn-lt"/>
                <a:ea typeface="+mn-ea"/>
                <a:cs typeface="+mn-cs"/>
              </a:defRPr>
            </a:lvl4pPr>
            <a:lvl5pPr marL="900000" indent="-179388" algn="l" rtl="0" eaLnBrk="1" fontAlgn="base" hangingPunct="1">
              <a:spcBef>
                <a:spcPts val="800"/>
              </a:spcBef>
              <a:spcAft>
                <a:spcPct val="0"/>
              </a:spcAft>
              <a:buClr>
                <a:schemeClr val="tx1"/>
              </a:buClr>
              <a:buFont typeface="Arial" pitchFamily="34" charset="0"/>
              <a:defRPr lang="de-DE" sz="1100" dirty="0">
                <a:solidFill>
                  <a:schemeClr val="tx1"/>
                </a:solidFill>
                <a:latin typeface="+mn-lt"/>
                <a:ea typeface="+mn-ea"/>
                <a:cs typeface="+mn-cs"/>
              </a:defRPr>
            </a:lvl5pPr>
          </a:lstStyle>
          <a:p>
            <a:pPr lvl="0"/>
            <a:r>
              <a:rPr lang="en-GB" dirty="0" smtClean="0"/>
              <a:t>Bullet 1</a:t>
            </a:r>
          </a:p>
          <a:p>
            <a:pPr lvl="0"/>
            <a:r>
              <a:rPr lang="en-GB" dirty="0" err="1" smtClean="0"/>
              <a:t>ghjgjhgjh</a:t>
            </a:r>
            <a:endParaRPr lang="en-GB" dirty="0" smtClean="0"/>
          </a:p>
          <a:p>
            <a:pPr lvl="1"/>
            <a:r>
              <a:rPr lang="en-GB" dirty="0" smtClean="0"/>
              <a:t>Bullet 2</a:t>
            </a:r>
          </a:p>
          <a:p>
            <a:pPr lvl="2"/>
            <a:r>
              <a:rPr lang="en-GB" dirty="0" smtClean="0"/>
              <a:t>Bullet 3</a:t>
            </a:r>
          </a:p>
          <a:p>
            <a:pPr lvl="3"/>
            <a:r>
              <a:rPr lang="en-GB" dirty="0" smtClean="0"/>
              <a:t>Bullet 4</a:t>
            </a:r>
          </a:p>
          <a:p>
            <a:pPr lvl="4"/>
            <a:r>
              <a:rPr lang="en-GB" dirty="0" smtClean="0"/>
              <a:t>Bullet 5</a:t>
            </a:r>
          </a:p>
          <a:p>
            <a:pPr lvl="0"/>
            <a:endParaRPr lang="en-GB"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Two Columns Content">
    <p:spTree>
      <p:nvGrpSpPr>
        <p:cNvPr id="1" name=""/>
        <p:cNvGrpSpPr/>
        <p:nvPr/>
      </p:nvGrpSpPr>
      <p:grpSpPr>
        <a:xfrm>
          <a:off x="0" y="0"/>
          <a:ext cx="0" cy="0"/>
          <a:chOff x="0" y="0"/>
          <a:chExt cx="0" cy="0"/>
        </a:xfrm>
      </p:grpSpPr>
      <p:graphicFrame>
        <p:nvGraphicFramePr>
          <p:cNvPr id="10" name="Objekt 9"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78" name="think-cell Slide" r:id="rId4" imgW="0" imgH="0" progId="TCLayout.ActiveDocument.1">
                  <p:embed/>
                </p:oleObj>
              </mc:Choice>
              <mc:Fallback>
                <p:oleObj name="think-cell Slide" r:id="rId4" imgW="0" imgH="0" progId="TCLayout.ActiveDocument.1">
                  <p:embed/>
                  <p:pic>
                    <p:nvPicPr>
                      <p:cNvPr id="0" name="AutoShape 18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Textplatzhalter 2"/>
          <p:cNvSpPr>
            <a:spLocks noGrp="1"/>
          </p:cNvSpPr>
          <p:nvPr>
            <p:ph idx="17" hasCustomPrompt="1"/>
          </p:nvPr>
        </p:nvSpPr>
        <p:spPr>
          <a:xfrm>
            <a:off x="250826" y="1448780"/>
            <a:ext cx="4141173" cy="4931980"/>
          </a:xfrm>
          <a:prstGeom prst="rect">
            <a:avLst/>
          </a:prstGeom>
          <a:noFill/>
          <a:ln w="12700">
            <a:noFill/>
            <a:miter lim="800000"/>
            <a:headEnd/>
            <a:tailEnd/>
          </a:ln>
        </p:spPr>
        <p:txBody>
          <a:bodyPr vert="horz" wrap="square" lIns="0" tIns="36000" rIns="0" bIns="0" numCol="1" anchor="t" anchorCtr="0" compatLnSpc="1">
            <a:prstTxWarp prst="textNoShape">
              <a:avLst/>
            </a:prstTxWarp>
            <a:noAutofit/>
          </a:bodyPr>
          <a:lstStyle>
            <a:lvl1pPr marL="180000" indent="-180000" algn="l" rtl="0" eaLnBrk="1" fontAlgn="base" hangingPunct="1">
              <a:spcBef>
                <a:spcPts val="800"/>
              </a:spcBef>
              <a:spcAft>
                <a:spcPct val="0"/>
              </a:spcAft>
              <a:buClr>
                <a:schemeClr val="tx1"/>
              </a:buClr>
              <a:buFont typeface="Arial" charset="0"/>
              <a:defRPr lang="de-DE" sz="2000" dirty="0" smtClean="0">
                <a:solidFill>
                  <a:schemeClr val="tx1"/>
                </a:solidFill>
                <a:latin typeface="+mn-lt"/>
                <a:ea typeface="+mn-ea"/>
                <a:cs typeface="+mn-cs"/>
              </a:defRPr>
            </a:lvl1pPr>
            <a:lvl2pPr marL="352425" indent="-169863" algn="l" rtl="0" eaLnBrk="1" fontAlgn="base" hangingPunct="1">
              <a:spcBef>
                <a:spcPts val="800"/>
              </a:spcBef>
              <a:spcAft>
                <a:spcPct val="0"/>
              </a:spcAft>
              <a:buClr>
                <a:schemeClr val="tx1"/>
              </a:buClr>
              <a:buFont typeface="Arial" pitchFamily="34" charset="0"/>
              <a:buChar char="–"/>
              <a:defRPr lang="de-DE" sz="1800" dirty="0" smtClean="0">
                <a:solidFill>
                  <a:schemeClr val="tx1"/>
                </a:solidFill>
                <a:latin typeface="+mn-lt"/>
              </a:defRPr>
            </a:lvl2pPr>
            <a:lvl3pPr marL="541338" indent="-180000" algn="l" rtl="0" eaLnBrk="1" fontAlgn="base" hangingPunct="1">
              <a:spcBef>
                <a:spcPts val="800"/>
              </a:spcBef>
              <a:spcAft>
                <a:spcPct val="0"/>
              </a:spcAft>
              <a:buClr>
                <a:schemeClr val="tx1"/>
              </a:buClr>
              <a:buFont typeface="Arial" charset="0"/>
              <a:buChar char="•"/>
              <a:defRPr lang="de-DE" sz="1600" dirty="0" smtClean="0">
                <a:solidFill>
                  <a:schemeClr val="tx1"/>
                </a:solidFill>
                <a:latin typeface="+mn-lt"/>
              </a:defRPr>
            </a:lvl3pPr>
            <a:lvl4pPr marL="715963" indent="-174625" algn="l" rtl="0" eaLnBrk="1" fontAlgn="base" hangingPunct="1">
              <a:spcBef>
                <a:spcPts val="800"/>
              </a:spcBef>
              <a:spcAft>
                <a:spcPct val="0"/>
              </a:spcAft>
              <a:buClr>
                <a:schemeClr val="tx1"/>
              </a:buClr>
              <a:buFont typeface="Arial" pitchFamily="34" charset="0"/>
              <a:buChar char="–"/>
              <a:defRPr lang="de-DE" sz="1400" dirty="0" smtClean="0">
                <a:solidFill>
                  <a:schemeClr val="tx1"/>
                </a:solidFill>
                <a:latin typeface="+mn-lt"/>
              </a:defRPr>
            </a:lvl4pPr>
            <a:lvl5pPr marL="901700" indent="-185738" algn="l" rtl="0" eaLnBrk="1" fontAlgn="base" hangingPunct="1">
              <a:spcBef>
                <a:spcPts val="800"/>
              </a:spcBef>
              <a:spcAft>
                <a:spcPct val="0"/>
              </a:spcAft>
              <a:buClr>
                <a:schemeClr val="tx1"/>
              </a:buClr>
              <a:buFont typeface="Arial" charset="0"/>
              <a:buChar char="•"/>
              <a:defRPr lang="de-DE" sz="1200" dirty="0">
                <a:solidFill>
                  <a:schemeClr val="tx1"/>
                </a:solidFill>
                <a:latin typeface="+mn-lt"/>
              </a:defRPr>
            </a:lvl5pPr>
          </a:lstStyle>
          <a:p>
            <a:pPr lvl="0"/>
            <a:r>
              <a:rPr lang="en-GB" dirty="0" smtClean="0"/>
              <a:t>Bullet 1</a:t>
            </a:r>
          </a:p>
          <a:p>
            <a:pPr lvl="1"/>
            <a:r>
              <a:rPr lang="en-GB" dirty="0" smtClean="0"/>
              <a:t>Bullet 2</a:t>
            </a:r>
          </a:p>
          <a:p>
            <a:pPr lvl="2"/>
            <a:r>
              <a:rPr lang="en-GB" dirty="0" smtClean="0"/>
              <a:t>Bullet 3</a:t>
            </a:r>
          </a:p>
          <a:p>
            <a:pPr lvl="3"/>
            <a:r>
              <a:rPr lang="en-GB" dirty="0" smtClean="0"/>
              <a:t>Bullet 4</a:t>
            </a:r>
          </a:p>
          <a:p>
            <a:pPr lvl="4"/>
            <a:r>
              <a:rPr lang="en-GB" dirty="0" smtClean="0"/>
              <a:t>Bullet 5</a:t>
            </a:r>
            <a:endParaRPr lang="en-GB" dirty="0"/>
          </a:p>
        </p:txBody>
      </p:sp>
      <p:sp>
        <p:nvSpPr>
          <p:cNvPr id="15" name="Textplatzhalter 2"/>
          <p:cNvSpPr>
            <a:spLocks noGrp="1"/>
          </p:cNvSpPr>
          <p:nvPr>
            <p:ph idx="20" hasCustomPrompt="1"/>
          </p:nvPr>
        </p:nvSpPr>
        <p:spPr>
          <a:xfrm>
            <a:off x="4751999" y="1448780"/>
            <a:ext cx="4141176" cy="4931980"/>
          </a:xfrm>
          <a:prstGeom prst="rect">
            <a:avLst/>
          </a:prstGeom>
        </p:spPr>
        <p:txBody>
          <a:bodyPr lIns="0" tIns="0" rIns="0" bIns="0">
            <a:noAutofit/>
          </a:bodyPr>
          <a:lstStyle>
            <a:lvl1pPr marL="180000" indent="-180000" algn="l" rtl="0" eaLnBrk="1" fontAlgn="base" hangingPunct="1">
              <a:spcBef>
                <a:spcPts val="800"/>
              </a:spcBef>
              <a:spcAft>
                <a:spcPct val="0"/>
              </a:spcAft>
              <a:buClr>
                <a:schemeClr val="tx1"/>
              </a:buClr>
              <a:buFont typeface="Arial" charset="0"/>
              <a:defRPr lang="de-DE" sz="2000" kern="1200" dirty="0" smtClean="0">
                <a:solidFill>
                  <a:schemeClr val="tx1"/>
                </a:solidFill>
                <a:latin typeface="+mn-lt"/>
                <a:ea typeface="+mn-ea"/>
                <a:cs typeface="+mn-cs"/>
              </a:defRPr>
            </a:lvl1pPr>
            <a:lvl2pPr marL="361950" indent="-179388" algn="l" rtl="0" eaLnBrk="1" fontAlgn="base" hangingPunct="1">
              <a:spcBef>
                <a:spcPts val="800"/>
              </a:spcBef>
              <a:spcAft>
                <a:spcPct val="0"/>
              </a:spcAft>
              <a:buClr>
                <a:schemeClr val="tx1"/>
              </a:buClr>
              <a:buFont typeface="Arial" pitchFamily="34" charset="0"/>
              <a:buChar char="–"/>
              <a:defRPr lang="de-DE" sz="1800" dirty="0" smtClean="0">
                <a:solidFill>
                  <a:schemeClr val="tx1"/>
                </a:solidFill>
                <a:latin typeface="+mn-lt"/>
              </a:defRPr>
            </a:lvl2pPr>
            <a:lvl3pPr marL="541338" indent="-180000" algn="l" rtl="0" eaLnBrk="1" fontAlgn="base" hangingPunct="1">
              <a:spcBef>
                <a:spcPts val="800"/>
              </a:spcBef>
              <a:spcAft>
                <a:spcPct val="0"/>
              </a:spcAft>
              <a:buClr>
                <a:schemeClr val="tx1"/>
              </a:buClr>
              <a:buFont typeface="Arial" charset="0"/>
              <a:buChar char="•"/>
              <a:defRPr lang="de-DE" sz="1600" dirty="0" smtClean="0">
                <a:solidFill>
                  <a:schemeClr val="tx1"/>
                </a:solidFill>
                <a:latin typeface="+mn-lt"/>
              </a:defRPr>
            </a:lvl3pPr>
            <a:lvl4pPr marL="715963" indent="-174625" algn="l" rtl="0" eaLnBrk="1" fontAlgn="base" hangingPunct="1">
              <a:spcBef>
                <a:spcPts val="800"/>
              </a:spcBef>
              <a:spcAft>
                <a:spcPct val="0"/>
              </a:spcAft>
              <a:buClr>
                <a:schemeClr val="tx1"/>
              </a:buClr>
              <a:buFont typeface="Arial" pitchFamily="34" charset="0"/>
              <a:buChar char="–"/>
              <a:defRPr lang="de-DE" sz="1400" dirty="0" smtClean="0">
                <a:solidFill>
                  <a:schemeClr val="tx1"/>
                </a:solidFill>
                <a:latin typeface="+mn-lt"/>
              </a:defRPr>
            </a:lvl4pPr>
            <a:lvl5pPr marL="901700" indent="-185738" algn="l" rtl="0" eaLnBrk="1" fontAlgn="base" hangingPunct="1">
              <a:spcBef>
                <a:spcPts val="800"/>
              </a:spcBef>
              <a:spcAft>
                <a:spcPct val="0"/>
              </a:spcAft>
              <a:buClr>
                <a:schemeClr val="tx1"/>
              </a:buClr>
              <a:buFont typeface="Arial" charset="0"/>
              <a:buChar char="•"/>
              <a:defRPr lang="de-DE" sz="1200" dirty="0">
                <a:solidFill>
                  <a:schemeClr val="tx1"/>
                </a:solidFill>
                <a:latin typeface="+mn-lt"/>
              </a:defRPr>
            </a:lvl5pPr>
          </a:lstStyle>
          <a:p>
            <a:pPr lvl="0"/>
            <a:r>
              <a:rPr lang="en-GB" dirty="0" smtClean="0"/>
              <a:t>Bullet 1</a:t>
            </a:r>
          </a:p>
          <a:p>
            <a:pPr lvl="1"/>
            <a:r>
              <a:rPr lang="en-GB" dirty="0" smtClean="0"/>
              <a:t>Bullet 2</a:t>
            </a:r>
          </a:p>
          <a:p>
            <a:pPr lvl="2"/>
            <a:r>
              <a:rPr lang="en-GB" dirty="0" smtClean="0"/>
              <a:t>Bullet 3</a:t>
            </a:r>
          </a:p>
          <a:p>
            <a:pPr lvl="3"/>
            <a:r>
              <a:rPr lang="en-GB" dirty="0" smtClean="0"/>
              <a:t>Bullet 4</a:t>
            </a:r>
          </a:p>
          <a:p>
            <a:pPr lvl="4"/>
            <a:r>
              <a:rPr lang="en-GB" dirty="0" smtClean="0"/>
              <a:t>Bullet 5</a:t>
            </a:r>
            <a:endParaRPr lang="en-GB" dirty="0"/>
          </a:p>
        </p:txBody>
      </p:sp>
      <p:sp>
        <p:nvSpPr>
          <p:cNvPr id="9" name="Titel 8"/>
          <p:cNvSpPr>
            <a:spLocks noGrp="1"/>
          </p:cNvSpPr>
          <p:nvPr>
            <p:ph type="title" hasCustomPrompt="1"/>
          </p:nvPr>
        </p:nvSpPr>
        <p:spPr/>
        <p:txBody>
          <a:bodyPr/>
          <a:lstStyle/>
          <a:p>
            <a:r>
              <a:rPr lang="en-GB" dirty="0" smtClean="0"/>
              <a:t>Click to add text</a:t>
            </a:r>
            <a:endParaRPr lang="en-GB"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Slide Option 1">
    <p:spTree>
      <p:nvGrpSpPr>
        <p:cNvPr id="1" name=""/>
        <p:cNvGrpSpPr/>
        <p:nvPr/>
      </p:nvGrpSpPr>
      <p:grpSpPr>
        <a:xfrm>
          <a:off x="0" y="0"/>
          <a:ext cx="0" cy="0"/>
          <a:chOff x="0" y="0"/>
          <a:chExt cx="0" cy="0"/>
        </a:xfrm>
      </p:grpSpPr>
      <p:sp>
        <p:nvSpPr>
          <p:cNvPr id="8" name="AC Banner"/>
          <p:cNvSpPr>
            <a:spLocks noChangeArrowheads="1"/>
          </p:cNvSpPr>
          <p:nvPr>
            <p:custDataLst>
              <p:tags r:id="rId2"/>
            </p:custDataLst>
          </p:nvPr>
        </p:nvSpPr>
        <p:spPr bwMode="ltGray">
          <a:xfrm>
            <a:off x="0" y="0"/>
            <a:ext cx="9144000" cy="6858000"/>
          </a:xfrm>
          <a:prstGeom prst="rect">
            <a:avLst/>
          </a:prstGeom>
          <a:solidFill>
            <a:schemeClr val="accent1"/>
          </a:solidFill>
          <a:ln w="12700">
            <a:noFill/>
            <a:miter lim="800000"/>
            <a:headEnd/>
            <a:tailEnd/>
          </a:ln>
          <a:effectLst/>
        </p:spPr>
        <p:txBody>
          <a:bodyPr wrap="none" anchor="ctr"/>
          <a:lstStyle/>
          <a:p>
            <a:pPr algn="ctr" fontAlgn="base">
              <a:spcBef>
                <a:spcPct val="0"/>
              </a:spcBef>
              <a:spcAft>
                <a:spcPct val="0"/>
              </a:spcAft>
              <a:defRPr/>
            </a:pPr>
            <a:endParaRPr lang="en-GB" dirty="0">
              <a:solidFill>
                <a:prstClr val="black"/>
              </a:solidFill>
              <a:cs typeface="Arial" charset="0"/>
            </a:endParaRPr>
          </a:p>
        </p:txBody>
      </p:sp>
      <p:graphicFrame>
        <p:nvGraphicFramePr>
          <p:cNvPr id="14" name="Objekt 13"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02" name="think-cell Slide" r:id="rId7" imgW="0" imgH="0" progId="TCLayout.ActiveDocument.1">
                  <p:embed/>
                </p:oleObj>
              </mc:Choice>
              <mc:Fallback>
                <p:oleObj name="think-cell Slide" r:id="rId7" imgW="0" imgH="0" progId="TCLayout.ActiveDocument.1">
                  <p:embed/>
                  <p:pic>
                    <p:nvPicPr>
                      <p:cNvPr id="0" name="AutoShape 18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3" name="Straight Connector 12"/>
          <p:cNvCxnSpPr/>
          <p:nvPr>
            <p:custDataLst>
              <p:tags r:id="rId4"/>
            </p:custDataLst>
          </p:nvPr>
        </p:nvCxnSpPr>
        <p:spPr bwMode="auto">
          <a:xfrm>
            <a:off x="0" y="3429000"/>
            <a:ext cx="9144000" cy="0"/>
          </a:xfrm>
          <a:prstGeom prst="line">
            <a:avLst/>
          </a:prstGeom>
          <a:solidFill>
            <a:schemeClr val="accent1"/>
          </a:solidFill>
          <a:ln w="12700" cap="flat" cmpd="sng" algn="ctr">
            <a:solidFill>
              <a:schemeClr val="bg1"/>
            </a:solidFill>
            <a:prstDash val="solid"/>
            <a:round/>
            <a:headEnd type="none" w="med" len="med"/>
            <a:tailEnd type="none" w="med" len="med"/>
          </a:ln>
          <a:effectLst/>
        </p:spPr>
      </p:cxnSp>
      <p:sp>
        <p:nvSpPr>
          <p:cNvPr id="10" name="Titel 9"/>
          <p:cNvSpPr>
            <a:spLocks noGrp="1"/>
          </p:cNvSpPr>
          <p:nvPr>
            <p:ph type="title" hasCustomPrompt="1"/>
          </p:nvPr>
        </p:nvSpPr>
        <p:spPr bwMode="white">
          <a:xfrm>
            <a:off x="250825" y="2105025"/>
            <a:ext cx="8642350" cy="1323975"/>
          </a:xfrm>
        </p:spPr>
        <p:txBody>
          <a:bodyPr/>
          <a:lstStyle>
            <a:lvl1pPr marL="0">
              <a:spcBef>
                <a:spcPts val="800"/>
              </a:spcBef>
              <a:defRPr>
                <a:solidFill>
                  <a:schemeClr val="bg1"/>
                </a:solidFill>
              </a:defRPr>
            </a:lvl1pPr>
          </a:lstStyle>
          <a:p>
            <a:r>
              <a:rPr lang="en-GB" dirty="0" smtClean="0"/>
              <a:t>Click to add text</a:t>
            </a:r>
            <a:endParaRPr lang="en-GB" dirty="0"/>
          </a:p>
        </p:txBody>
      </p:sp>
      <p:sp>
        <p:nvSpPr>
          <p:cNvPr id="19" name="Inhaltsplatzhalter 13"/>
          <p:cNvSpPr txBox="1">
            <a:spLocks/>
          </p:cNvSpPr>
          <p:nvPr userDrawn="1"/>
        </p:nvSpPr>
        <p:spPr bwMode="gray">
          <a:xfrm>
            <a:off x="8496436"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EB578BD5-E3A8-4354-91BC-79CE4598B8D1}" type="slidenum">
              <a:rPr lang="en-GB" sz="800" smtClean="0">
                <a:solidFill>
                  <a:prstClr val="white"/>
                </a:solidFill>
                <a:cs typeface="Arial" pitchFamily="34" charset="0"/>
              </a:rPr>
              <a:pPr algn="r">
                <a:defRPr/>
              </a:pPr>
              <a:t>‹#›</a:t>
            </a:fld>
            <a:endParaRPr lang="en-GB" sz="800" dirty="0">
              <a:solidFill>
                <a:prstClr val="white"/>
              </a:solidFill>
              <a:cs typeface="Arial" pitchFamily="34" charset="0"/>
            </a:endParaRPr>
          </a:p>
        </p:txBody>
      </p:sp>
      <p:cxnSp>
        <p:nvCxnSpPr>
          <p:cNvPr id="9" name="Straight Connector 12"/>
          <p:cNvCxnSpPr/>
          <p:nvPr userDrawn="1">
            <p:custDataLst>
              <p:tags r:id="rId5"/>
            </p:custDataLst>
          </p:nvPr>
        </p:nvCxnSpPr>
        <p:spPr bwMode="ltGray">
          <a:xfrm>
            <a:off x="0" y="3429000"/>
            <a:ext cx="9144000" cy="0"/>
          </a:xfrm>
          <a:prstGeom prst="line">
            <a:avLst/>
          </a:prstGeom>
          <a:solidFill>
            <a:schemeClr val="accent1"/>
          </a:solidFill>
          <a:ln w="12700" cap="flat" cmpd="sng" algn="ctr">
            <a:solidFill>
              <a:schemeClr val="bg1"/>
            </a:solidFill>
            <a:prstDash val="solid"/>
            <a:round/>
            <a:headEnd type="none" w="med" len="med"/>
            <a:tailEnd type="none" w="med" len="med"/>
          </a:ln>
          <a:effectLst/>
        </p:spPr>
      </p:cxnSp>
      <p:sp>
        <p:nvSpPr>
          <p:cNvPr id="11" name="AMC_Footer"/>
          <p:cNvSpPr txBox="1">
            <a:spLocks/>
          </p:cNvSpPr>
          <p:nvPr userDrawn="1"/>
        </p:nvSpPr>
        <p:spPr>
          <a:xfrm>
            <a:off x="250823" y="6622367"/>
            <a:ext cx="6264000"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GB" sz="800" b="1" dirty="0" smtClean="0">
                <a:solidFill>
                  <a:prstClr val="white"/>
                </a:solidFill>
                <a:cs typeface="Arial" charset="0"/>
              </a:rPr>
              <a:t>Confidential - Do Not forward  - For Internal Management Planning purposes. </a:t>
            </a:r>
            <a:r>
              <a:rPr lang="en-GB" sz="800" dirty="0" smtClean="0">
                <a:solidFill>
                  <a:prstClr val="white"/>
                </a:solidFill>
                <a:cs typeface="Arial" pitchFamily="34" charset="0"/>
              </a:rPr>
              <a:t>Copyright © 2013 Accenture. All rights reserved.</a:t>
            </a:r>
            <a:endParaRPr lang="en-GB" sz="800" dirty="0">
              <a:solidFill>
                <a:prstClr val="white"/>
              </a:solidFill>
              <a:cs typeface="Arial" pitchFamily="34" charset="0"/>
            </a:endParaRP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Slide Option 2">
    <p:spTree>
      <p:nvGrpSpPr>
        <p:cNvPr id="1" name=""/>
        <p:cNvGrpSpPr/>
        <p:nvPr/>
      </p:nvGrpSpPr>
      <p:grpSpPr>
        <a:xfrm>
          <a:off x="0" y="0"/>
          <a:ext cx="0" cy="0"/>
          <a:chOff x="0" y="0"/>
          <a:chExt cx="0" cy="0"/>
        </a:xfrm>
      </p:grpSpPr>
      <p:pic>
        <p:nvPicPr>
          <p:cNvPr id="10" name="Picture 9" descr="AMC00169.jpg"/>
          <p:cNvPicPr>
            <a:picLocks noChangeAspect="1"/>
          </p:cNvPicPr>
          <p:nvPr userDrawn="1"/>
        </p:nvPicPr>
        <p:blipFill>
          <a:blip r:embed="rId7" cstate="print">
            <a:lum bright="6000"/>
          </a:blip>
          <a:stretch>
            <a:fillRect/>
          </a:stretch>
        </p:blipFill>
        <p:spPr>
          <a:xfrm>
            <a:off x="3965575" y="-3043"/>
            <a:ext cx="5148064" cy="3432043"/>
          </a:xfrm>
          <a:prstGeom prst="rect">
            <a:avLst/>
          </a:prstGeom>
        </p:spPr>
      </p:pic>
      <p:graphicFrame>
        <p:nvGraphicFramePr>
          <p:cNvPr id="9" name="Objekt 8"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26" name="think-cell Slide" r:id="rId8" imgW="0" imgH="0" progId="TCLayout.ActiveDocument.1">
                  <p:embed/>
                </p:oleObj>
              </mc:Choice>
              <mc:Fallback>
                <p:oleObj name="think-cell Slide" r:id="rId8" imgW="0" imgH="0" progId="TCLayout.ActiveDocument.1">
                  <p:embed/>
                  <p:pic>
                    <p:nvPicPr>
                      <p:cNvPr id="0" name="AutoShape 18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Titel 17"/>
          <p:cNvSpPr>
            <a:spLocks noGrp="1"/>
          </p:cNvSpPr>
          <p:nvPr>
            <p:ph type="title" hasCustomPrompt="1"/>
            <p:custDataLst>
              <p:tags r:id="rId3"/>
            </p:custDataLst>
          </p:nvPr>
        </p:nvSpPr>
        <p:spPr>
          <a:xfrm>
            <a:off x="250825" y="2105025"/>
            <a:ext cx="4321175" cy="1323975"/>
          </a:xfrm>
        </p:spPr>
        <p:txBody>
          <a:bodyPr/>
          <a:lstStyle>
            <a:lvl1pPr>
              <a:spcBef>
                <a:spcPts val="800"/>
              </a:spcBef>
              <a:defRPr/>
            </a:lvl1pPr>
          </a:lstStyle>
          <a:p>
            <a:r>
              <a:rPr lang="en-GB" dirty="0" smtClean="0"/>
              <a:t>Click to add text</a:t>
            </a:r>
            <a:endParaRPr lang="en-GB" dirty="0"/>
          </a:p>
        </p:txBody>
      </p:sp>
      <p:cxnSp>
        <p:nvCxnSpPr>
          <p:cNvPr id="13" name="Straight Connector 12"/>
          <p:cNvCxnSpPr/>
          <p:nvPr userDrawn="1">
            <p:custDataLst>
              <p:tags r:id="rId4"/>
            </p:custDataLst>
          </p:nvPr>
        </p:nvCxnSpPr>
        <p:spPr bwMode="ltGray">
          <a:xfrm>
            <a:off x="0" y="3429000"/>
            <a:ext cx="9144000" cy="0"/>
          </a:xfrm>
          <a:prstGeom prst="line">
            <a:avLst/>
          </a:prstGeom>
          <a:solidFill>
            <a:schemeClr val="accent1"/>
          </a:solidFill>
          <a:ln w="12700" cap="flat" cmpd="sng" algn="ctr">
            <a:solidFill>
              <a:schemeClr val="accent1"/>
            </a:solidFill>
            <a:prstDash val="solid"/>
            <a:round/>
            <a:headEnd type="none" w="med" len="med"/>
            <a:tailEnd type="none" w="med" len="med"/>
          </a:ln>
          <a:effectLst/>
        </p:spPr>
      </p:cxnSp>
      <p:sp>
        <p:nvSpPr>
          <p:cNvPr id="20" name="Inhaltsplatzhalter 13"/>
          <p:cNvSpPr txBox="1">
            <a:spLocks/>
          </p:cNvSpPr>
          <p:nvPr userDrawn="1">
            <p:custDataLst>
              <p:tags r:id="rId5"/>
            </p:custDataLst>
          </p:nvPr>
        </p:nvSpPr>
        <p:spPr>
          <a:xfrm>
            <a:off x="8496436"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EB578BD5-E3A8-4354-91BC-79CE4598B8D1}" type="slidenum">
              <a:rPr lang="en-GB" sz="800" smtClean="0">
                <a:solidFill>
                  <a:prstClr val="black"/>
                </a:solidFill>
                <a:cs typeface="Arial" pitchFamily="34" charset="0"/>
              </a:rPr>
              <a:pPr algn="r">
                <a:defRPr/>
              </a:pPr>
              <a:t>‹#›</a:t>
            </a:fld>
            <a:endParaRPr lang="en-GB" sz="800" dirty="0">
              <a:solidFill>
                <a:prstClr val="black"/>
              </a:solidFill>
              <a:cs typeface="Arial" pitchFamily="34" charset="0"/>
            </a:endParaRPr>
          </a:p>
        </p:txBody>
      </p:sp>
      <p:sp>
        <p:nvSpPr>
          <p:cNvPr id="11" name="AMC_Footer"/>
          <p:cNvSpPr txBox="1">
            <a:spLocks/>
          </p:cNvSpPr>
          <p:nvPr userDrawn="1"/>
        </p:nvSpPr>
        <p:spPr>
          <a:xfrm>
            <a:off x="250823" y="6622367"/>
            <a:ext cx="6264000"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GB" sz="800" b="1" dirty="0" smtClean="0">
                <a:solidFill>
                  <a:prstClr val="black"/>
                </a:solidFill>
                <a:cs typeface="Arial" charset="0"/>
              </a:rPr>
              <a:t>Confidential - Do Not forward  - For Internal Management Planning purposes. </a:t>
            </a:r>
            <a:r>
              <a:rPr lang="en-GB" sz="800" dirty="0" smtClean="0">
                <a:solidFill>
                  <a:prstClr val="black"/>
                </a:solidFill>
                <a:cs typeface="Arial" pitchFamily="34" charset="0"/>
              </a:rPr>
              <a:t>Copyright © 2013 Accenture. All rights reserved.</a:t>
            </a:r>
            <a:endParaRPr lang="en-GB" sz="800" dirty="0">
              <a:solidFill>
                <a:prstClr val="black"/>
              </a:solidFill>
              <a:cs typeface="Arial" pitchFamily="34" charset="0"/>
            </a:endParaRP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Slide Option 3">
    <p:spTree>
      <p:nvGrpSpPr>
        <p:cNvPr id="1" name=""/>
        <p:cNvGrpSpPr/>
        <p:nvPr/>
      </p:nvGrpSpPr>
      <p:grpSpPr>
        <a:xfrm>
          <a:off x="0" y="0"/>
          <a:ext cx="0" cy="0"/>
          <a:chOff x="0" y="0"/>
          <a:chExt cx="0" cy="0"/>
        </a:xfrm>
      </p:grpSpPr>
      <p:sp>
        <p:nvSpPr>
          <p:cNvPr id="8" name="AC Banner"/>
          <p:cNvSpPr>
            <a:spLocks noChangeArrowheads="1"/>
          </p:cNvSpPr>
          <p:nvPr userDrawn="1">
            <p:custDataLst>
              <p:tags r:id="rId2"/>
            </p:custDataLst>
          </p:nvPr>
        </p:nvSpPr>
        <p:spPr bwMode="ltGray">
          <a:xfrm>
            <a:off x="0" y="0"/>
            <a:ext cx="9144000" cy="6858000"/>
          </a:xfrm>
          <a:prstGeom prst="rect">
            <a:avLst/>
          </a:prstGeom>
          <a:solidFill>
            <a:schemeClr val="accent2"/>
          </a:solidFill>
          <a:ln w="12700">
            <a:noFill/>
            <a:miter lim="800000"/>
            <a:headEnd/>
            <a:tailEnd/>
          </a:ln>
          <a:effectLst/>
        </p:spPr>
        <p:txBody>
          <a:bodyPr wrap="none" anchor="ctr"/>
          <a:lstStyle/>
          <a:p>
            <a:pPr algn="ctr" fontAlgn="base">
              <a:spcBef>
                <a:spcPct val="0"/>
              </a:spcBef>
              <a:spcAft>
                <a:spcPct val="0"/>
              </a:spcAft>
              <a:defRPr/>
            </a:pPr>
            <a:endParaRPr lang="en-GB" dirty="0">
              <a:solidFill>
                <a:prstClr val="black"/>
              </a:solidFill>
              <a:cs typeface="Arial" charset="0"/>
            </a:endParaRPr>
          </a:p>
        </p:txBody>
      </p:sp>
      <p:graphicFrame>
        <p:nvGraphicFramePr>
          <p:cNvPr id="14" name="Objekt 13"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50" name="think-cell Slide" r:id="rId7" imgW="0" imgH="0" progId="TCLayout.ActiveDocument.1">
                  <p:embed/>
                </p:oleObj>
              </mc:Choice>
              <mc:Fallback>
                <p:oleObj name="think-cell Slide" r:id="rId7" imgW="0" imgH="0" progId="TCLayout.ActiveDocument.1">
                  <p:embed/>
                  <p:pic>
                    <p:nvPicPr>
                      <p:cNvPr id="0" name="AutoShape 18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3" name="Straight Connector 12"/>
          <p:cNvCxnSpPr/>
          <p:nvPr>
            <p:custDataLst>
              <p:tags r:id="rId4"/>
            </p:custDataLst>
          </p:nvPr>
        </p:nvCxnSpPr>
        <p:spPr bwMode="gray">
          <a:xfrm>
            <a:off x="0" y="3429000"/>
            <a:ext cx="9144000" cy="0"/>
          </a:xfrm>
          <a:prstGeom prst="line">
            <a:avLst/>
          </a:prstGeom>
          <a:solidFill>
            <a:schemeClr val="accent1"/>
          </a:solidFill>
          <a:ln w="12700" cap="flat" cmpd="sng" algn="ctr">
            <a:solidFill>
              <a:schemeClr val="bg1"/>
            </a:solidFill>
            <a:prstDash val="solid"/>
            <a:round/>
            <a:headEnd type="none" w="med" len="med"/>
            <a:tailEnd type="none" w="med" len="med"/>
          </a:ln>
          <a:effectLst/>
        </p:spPr>
      </p:cxnSp>
      <p:sp>
        <p:nvSpPr>
          <p:cNvPr id="18" name="Titel 17"/>
          <p:cNvSpPr>
            <a:spLocks noGrp="1"/>
          </p:cNvSpPr>
          <p:nvPr>
            <p:ph type="title" hasCustomPrompt="1"/>
          </p:nvPr>
        </p:nvSpPr>
        <p:spPr bwMode="gray">
          <a:xfrm>
            <a:off x="250825" y="2105025"/>
            <a:ext cx="8642350" cy="1323975"/>
          </a:xfrm>
        </p:spPr>
        <p:txBody>
          <a:bodyPr/>
          <a:lstStyle>
            <a:lvl1pPr>
              <a:spcBef>
                <a:spcPts val="800"/>
              </a:spcBef>
              <a:defRPr>
                <a:solidFill>
                  <a:schemeClr val="bg1"/>
                </a:solidFill>
              </a:defRPr>
            </a:lvl1pPr>
          </a:lstStyle>
          <a:p>
            <a:r>
              <a:rPr lang="en-GB" dirty="0" smtClean="0"/>
              <a:t>Click to add text</a:t>
            </a:r>
            <a:endParaRPr lang="en-GB" dirty="0"/>
          </a:p>
        </p:txBody>
      </p:sp>
      <p:cxnSp>
        <p:nvCxnSpPr>
          <p:cNvPr id="9" name="Straight Connector 12"/>
          <p:cNvCxnSpPr/>
          <p:nvPr userDrawn="1">
            <p:custDataLst>
              <p:tags r:id="rId5"/>
            </p:custDataLst>
          </p:nvPr>
        </p:nvCxnSpPr>
        <p:spPr bwMode="gray">
          <a:xfrm>
            <a:off x="0" y="3429000"/>
            <a:ext cx="9144000" cy="0"/>
          </a:xfrm>
          <a:prstGeom prst="line">
            <a:avLst/>
          </a:prstGeom>
          <a:solidFill>
            <a:schemeClr val="accent1"/>
          </a:solidFill>
          <a:ln w="12700" cap="flat" cmpd="sng" algn="ctr">
            <a:solidFill>
              <a:schemeClr val="bg1"/>
            </a:solidFill>
            <a:prstDash val="solid"/>
            <a:round/>
            <a:headEnd type="none" w="med" len="med"/>
            <a:tailEnd type="none" w="med" len="med"/>
          </a:ln>
          <a:effectLst/>
        </p:spPr>
      </p:cxnSp>
      <p:sp>
        <p:nvSpPr>
          <p:cNvPr id="20" name="Inhaltsplatzhalter 13"/>
          <p:cNvSpPr txBox="1">
            <a:spLocks/>
          </p:cNvSpPr>
          <p:nvPr userDrawn="1"/>
        </p:nvSpPr>
        <p:spPr bwMode="gray">
          <a:xfrm>
            <a:off x="8496436"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EB578BD5-E3A8-4354-91BC-79CE4598B8D1}" type="slidenum">
              <a:rPr lang="en-GB" sz="800" smtClean="0">
                <a:solidFill>
                  <a:prstClr val="white"/>
                </a:solidFill>
                <a:cs typeface="Arial" pitchFamily="34" charset="0"/>
              </a:rPr>
              <a:pPr algn="r">
                <a:defRPr/>
              </a:pPr>
              <a:t>‹#›</a:t>
            </a:fld>
            <a:endParaRPr lang="en-GB" sz="800" dirty="0">
              <a:solidFill>
                <a:prstClr val="white"/>
              </a:solidFill>
              <a:cs typeface="Arial" pitchFamily="34" charset="0"/>
            </a:endParaRPr>
          </a:p>
        </p:txBody>
      </p:sp>
      <p:sp>
        <p:nvSpPr>
          <p:cNvPr id="10" name="AMC_Footer"/>
          <p:cNvSpPr txBox="1">
            <a:spLocks/>
          </p:cNvSpPr>
          <p:nvPr userDrawn="1"/>
        </p:nvSpPr>
        <p:spPr>
          <a:xfrm>
            <a:off x="250823" y="6622367"/>
            <a:ext cx="6264000"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GB" sz="800" b="1" dirty="0" smtClean="0">
                <a:solidFill>
                  <a:prstClr val="white"/>
                </a:solidFill>
                <a:cs typeface="Arial" charset="0"/>
              </a:rPr>
              <a:t>Confidential - Do Not forward  - For Internal Management Planning purposes. </a:t>
            </a:r>
            <a:r>
              <a:rPr lang="en-GB" sz="800" dirty="0" smtClean="0">
                <a:solidFill>
                  <a:prstClr val="white"/>
                </a:solidFill>
                <a:cs typeface="Arial" pitchFamily="34" charset="0"/>
              </a:rPr>
              <a:t>Copyright © 2013 Accenture. All rights reserved.</a:t>
            </a:r>
            <a:endParaRPr lang="en-GB" sz="800" dirty="0">
              <a:solidFill>
                <a:prstClr val="white"/>
              </a:solidFill>
              <a:cs typeface="Arial" pitchFamily="34" charset="0"/>
            </a:endParaRP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3_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bwMode="auto">
          <a:xfrm>
            <a:off x="468313" y="1162051"/>
            <a:ext cx="8207375" cy="386054"/>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None/>
              <a:defRPr lang="de-DE" sz="2000" b="1" dirty="0" smtClean="0">
                <a:solidFill>
                  <a:schemeClr val="accent2"/>
                </a:solidFill>
              </a:defRPr>
            </a:lvl1pPr>
          </a:lstStyle>
          <a:p>
            <a:pPr marL="0" lvl="0" indent="0" eaLnBrk="1" hangingPunct="1">
              <a:spcBef>
                <a:spcPts val="800"/>
              </a:spcBef>
              <a:spcAft>
                <a:spcPct val="0"/>
              </a:spcAft>
              <a:buClr>
                <a:schemeClr val="tx1"/>
              </a:buClr>
            </a:pPr>
            <a:endParaRPr lang="en-GB" dirty="0" smtClean="0"/>
          </a:p>
        </p:txBody>
      </p:sp>
      <p:sp>
        <p:nvSpPr>
          <p:cNvPr id="2" name="Titel 1"/>
          <p:cNvSpPr>
            <a:spLocks noGrp="1"/>
          </p:cNvSpPr>
          <p:nvPr>
            <p:ph type="title"/>
          </p:nvPr>
        </p:nvSpPr>
        <p:spPr bwMode="auto"/>
        <p:txBody>
          <a:bodyPr/>
          <a:lstStyle/>
          <a:p>
            <a:endParaRPr lang="en-GB" dirty="0"/>
          </a:p>
        </p:txBody>
      </p:sp>
      <p:sp>
        <p:nvSpPr>
          <p:cNvPr id="5" name="Textplatzhalter 4"/>
          <p:cNvSpPr>
            <a:spLocks noGrp="1"/>
          </p:cNvSpPr>
          <p:nvPr>
            <p:ph type="body" sz="quarter" idx="14"/>
          </p:nvPr>
        </p:nvSpPr>
        <p:spPr>
          <a:xfrm>
            <a:off x="468313" y="1628775"/>
            <a:ext cx="8207375"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6700" indent="-266700">
              <a:defRPr lang="de-DE" sz="2000" dirty="0" smtClean="0"/>
            </a:lvl1pPr>
            <a:lvl2pPr marL="271712" indent="0">
              <a:buNone/>
              <a:defRPr lang="de-DE" sz="1800" dirty="0" smtClean="0"/>
            </a:lvl2pPr>
            <a:lvl3pPr marL="719138" indent="-179388">
              <a:defRPr lang="de-DE" sz="1600" dirty="0" smtClean="0"/>
            </a:lvl3pPr>
            <a:lvl4pPr marL="895350" indent="-176213">
              <a:defRPr lang="de-DE" sz="1400" dirty="0" smtClean="0"/>
            </a:lvl4pPr>
            <a:lvl5pPr marL="1079500" indent="-179388">
              <a:defRPr lang="en-AU" sz="1200" dirty="0"/>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Tree>
    <p:extLst>
      <p:ext uri="{BB962C8B-B14F-4D97-AF65-F5344CB8AC3E}">
        <p14:creationId xmlns:p14="http://schemas.microsoft.com/office/powerpoint/2010/main" val="4152618400"/>
      </p:ext>
    </p:extLst>
  </p:cSld>
  <p:clrMapOvr>
    <a:masterClrMapping/>
  </p:clrMapOvr>
  <p:timing>
    <p:tnLst>
      <p:par>
        <p:cTn id="1" dur="indefinite" restart="never" nodeType="tmRoot"/>
      </p:par>
    </p:tnLst>
  </p:timing>
  <p:hf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23.xml"/><Relationship Id="rId1" Type="http://schemas.openxmlformats.org/officeDocument/2006/relationships/slideLayout" Target="../slideLayouts/slideLayout22.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6.xml"/><Relationship Id="rId7" Type="http://schemas.openxmlformats.org/officeDocument/2006/relationships/theme" Target="../theme/theme4.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5" Type="http://schemas.openxmlformats.org/officeDocument/2006/relationships/slideLayout" Target="../slideLayouts/slideLayout28.xml"/><Relationship Id="rId4" Type="http://schemas.openxmlformats.org/officeDocument/2006/relationships/slideLayout" Target="../slideLayouts/slideLayout2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tags" Target="../tags/tag54.xml"/><Relationship Id="rId5" Type="http://schemas.openxmlformats.org/officeDocument/2006/relationships/slideLayout" Target="../slideLayouts/slideLayout34.xml"/><Relationship Id="rId10" Type="http://schemas.openxmlformats.org/officeDocument/2006/relationships/theme" Target="../theme/theme5.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0484" name="Rectangle 4"/>
          <p:cNvSpPr>
            <a:spLocks noGrp="1" noChangeArrowheads="1"/>
          </p:cNvSpPr>
          <p:nvPr>
            <p:ph type="body" idx="1"/>
          </p:nvPr>
        </p:nvSpPr>
        <p:spPr bwMode="gray">
          <a:xfrm>
            <a:off x="323528" y="1052740"/>
            <a:ext cx="8496944" cy="5472607"/>
          </a:xfrm>
          <a:prstGeom prst="rect">
            <a:avLst/>
          </a:prstGeom>
          <a:noFill/>
          <a:ln w="12700">
            <a:noFill/>
            <a:miter lim="800000"/>
            <a:headEnd/>
            <a:tailEnd/>
          </a:ln>
          <a:effectLst/>
        </p:spPr>
        <p:txBody>
          <a:bodyPr vert="horz" wrap="square" lIns="90488" tIns="44450" rIns="90488" bIns="44450" numCol="1" anchor="t" anchorCtr="0" compatLnSpc="1">
            <a:prstTxWarp prst="textNoShape">
              <a:avLst/>
            </a:prstTxWarp>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0485" name="Rectangle 5"/>
          <p:cNvSpPr>
            <a:spLocks noGrp="1" noChangeArrowheads="1"/>
          </p:cNvSpPr>
          <p:nvPr>
            <p:ph type="sldNum" sz="quarter" idx="4"/>
          </p:nvPr>
        </p:nvSpPr>
        <p:spPr bwMode="gray">
          <a:xfrm>
            <a:off x="7164388" y="6511929"/>
            <a:ext cx="1693862" cy="269875"/>
          </a:xfrm>
          <a:prstGeom prst="rect">
            <a:avLst/>
          </a:prstGeom>
          <a:noFill/>
          <a:ln w="12700">
            <a:noFill/>
            <a:miter lim="800000"/>
            <a:headEnd/>
            <a:tailEnd/>
          </a:ln>
          <a:effectLst/>
        </p:spPr>
        <p:txBody>
          <a:bodyPr vert="horz" wrap="square" lIns="90488" tIns="44450" rIns="90488" bIns="44450" numCol="1" anchor="b" anchorCtr="0" compatLnSpc="1">
            <a:prstTxWarp prst="textNoShape">
              <a:avLst/>
            </a:prstTxWarp>
          </a:bodyPr>
          <a:lstStyle>
            <a:lvl1pPr algn="r">
              <a:defRPr sz="1000" b="0"/>
            </a:lvl1pPr>
          </a:lstStyle>
          <a:p>
            <a:fld id="{46E3B560-07B0-4853-AE85-4967240282D4}" type="slidenum">
              <a:rPr lang="en-GB" smtClean="0"/>
              <a:pPr/>
              <a:t>‹#›</a:t>
            </a:fld>
            <a:endParaRPr lang="en-GB" dirty="0"/>
          </a:p>
        </p:txBody>
      </p:sp>
      <p:sp>
        <p:nvSpPr>
          <p:cNvPr id="20487" name="Rectangle 7"/>
          <p:cNvSpPr>
            <a:spLocks noGrp="1" noChangeArrowheads="1"/>
          </p:cNvSpPr>
          <p:nvPr>
            <p:ph type="title"/>
          </p:nvPr>
        </p:nvSpPr>
        <p:spPr bwMode="gray">
          <a:xfrm>
            <a:off x="296228" y="129310"/>
            <a:ext cx="8524244" cy="779410"/>
          </a:xfrm>
          <a:prstGeom prst="rect">
            <a:avLst/>
          </a:prstGeom>
          <a:noFill/>
          <a:ln w="12700">
            <a:noFill/>
            <a:miter lim="800000"/>
            <a:headEnd/>
            <a:tailEnd/>
          </a:ln>
          <a:effectLst/>
        </p:spPr>
        <p:txBody>
          <a:bodyPr vert="horz" wrap="square" lIns="90488" tIns="44450" rIns="90488" bIns="44450" numCol="1" anchor="b" anchorCtr="0" compatLnSpc="1">
            <a:prstTxWarp prst="textNoShape">
              <a:avLst/>
            </a:prstTxWarp>
          </a:bodyPr>
          <a:lstStyle/>
          <a:p>
            <a:pPr lvl="0"/>
            <a:r>
              <a:rPr lang="en-GB" dirty="0" smtClean="0"/>
              <a:t>Click to edit Master title style</a:t>
            </a:r>
          </a:p>
        </p:txBody>
      </p:sp>
      <p:cxnSp>
        <p:nvCxnSpPr>
          <p:cNvPr id="7" name="Gerade Verbindung 4"/>
          <p:cNvCxnSpPr/>
          <p:nvPr>
            <p:custDataLst>
              <p:tags r:id="rId12"/>
            </p:custDataLst>
          </p:nvPr>
        </p:nvCxnSpPr>
        <p:spPr bwMode="ltGray">
          <a:xfrm>
            <a:off x="0" y="1123186"/>
            <a:ext cx="9144000" cy="1558"/>
          </a:xfrm>
          <a:prstGeom prst="line">
            <a:avLst/>
          </a:prstGeom>
          <a:solidFill>
            <a:schemeClr val="accent1"/>
          </a:solidFill>
          <a:ln w="12700" cap="flat" cmpd="sng" algn="ctr">
            <a:solidFill>
              <a:schemeClr val="accent1"/>
            </a:solidFill>
            <a:prstDash val="solid"/>
            <a:round/>
            <a:headEnd type="none" w="med" len="med"/>
            <a:tailEnd type="none" w="med" len="med"/>
          </a:ln>
          <a:effectLst/>
        </p:spPr>
      </p:cxnSp>
      <p:sp>
        <p:nvSpPr>
          <p:cNvPr id="9" name="AMC_Footer"/>
          <p:cNvSpPr txBox="1">
            <a:spLocks/>
          </p:cNvSpPr>
          <p:nvPr/>
        </p:nvSpPr>
        <p:spPr>
          <a:xfrm>
            <a:off x="250822" y="6669360"/>
            <a:ext cx="712948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GB" sz="800" dirty="0" smtClean="0">
                <a:solidFill>
                  <a:prstClr val="black"/>
                </a:solidFill>
                <a:cs typeface="Arial" pitchFamily="34" charset="0"/>
              </a:rPr>
              <a:t>Copyright © 2014</a:t>
            </a:r>
            <a:r>
              <a:rPr lang="en-GB" sz="800" baseline="0" dirty="0" smtClean="0">
                <a:solidFill>
                  <a:prstClr val="black"/>
                </a:solidFill>
                <a:cs typeface="Arial" pitchFamily="34" charset="0"/>
              </a:rPr>
              <a:t> </a:t>
            </a:r>
            <a:r>
              <a:rPr lang="en-GB" sz="800" dirty="0" smtClean="0">
                <a:solidFill>
                  <a:prstClr val="black"/>
                </a:solidFill>
                <a:cs typeface="Arial" pitchFamily="34" charset="0"/>
              </a:rPr>
              <a:t>Accenture. All rights reserved.</a:t>
            </a:r>
            <a:endParaRPr lang="en-GB" sz="800" dirty="0">
              <a:solidFill>
                <a:prstClr val="black"/>
              </a:solidFill>
              <a:cs typeface="Arial" pitchFamily="34" charset="0"/>
            </a:endParaRPr>
          </a:p>
        </p:txBody>
      </p:sp>
      <p:sp>
        <p:nvSpPr>
          <p:cNvPr id="10" name="Inhaltsplatzhalter 13"/>
          <p:cNvSpPr txBox="1">
            <a:spLocks/>
          </p:cNvSpPr>
          <p:nvPr/>
        </p:nvSpPr>
        <p:spPr>
          <a:xfrm>
            <a:off x="8496436"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EB578BD5-E3A8-4354-91BC-79CE4598B8D1}" type="slidenum">
              <a:rPr lang="en-GB" sz="800" smtClean="0">
                <a:solidFill>
                  <a:prstClr val="black"/>
                </a:solidFill>
                <a:cs typeface="Arial" pitchFamily="34" charset="0"/>
              </a:rPr>
              <a:pPr algn="r">
                <a:defRPr/>
              </a:pPr>
              <a:t>‹#›</a:t>
            </a:fld>
            <a:endParaRPr lang="en-GB" sz="800" dirty="0">
              <a:solidFill>
                <a:prstClr val="black"/>
              </a:solidFill>
              <a:cs typeface="Arial" pitchFamily="34" charset="0"/>
            </a:endParaRPr>
          </a:p>
        </p:txBody>
      </p:sp>
    </p:spTree>
    <p:extLst>
      <p:ext uri="{BB962C8B-B14F-4D97-AF65-F5344CB8AC3E}">
        <p14:creationId xmlns:p14="http://schemas.microsoft.com/office/powerpoint/2010/main" val="344284521"/>
      </p:ext>
    </p:extLst>
  </p:cSld>
  <p:clrMap bg1="dk1" tx1="lt1" bg2="dk2" tx2="lt2" accent1="accent1" accent2="accent2" accent3="accent3" accent4="accent4" accent5="accent5" accent6="accent6" hlink="hlink" folHlink="folHlink"/>
  <p:sldLayoutIdLst>
    <p:sldLayoutId id="2147483669" r:id="rId1"/>
    <p:sldLayoutId id="2147483670" r:id="rId2"/>
    <p:sldLayoutId id="2147483671" r:id="rId3"/>
    <p:sldLayoutId id="2147483663" r:id="rId4"/>
    <p:sldLayoutId id="2147483664" r:id="rId5"/>
    <p:sldLayoutId id="2147483665" r:id="rId6"/>
    <p:sldLayoutId id="2147483666" r:id="rId7"/>
    <p:sldLayoutId id="2147483667" r:id="rId8"/>
    <p:sldLayoutId id="2147483730" r:id="rId9"/>
    <p:sldLayoutId id="2147483742" r:id="rId10"/>
  </p:sldLayoutIdLst>
  <p:timing>
    <p:tnLst>
      <p:par>
        <p:cTn id="1" dur="indefinite" restart="never" nodeType="tmRoot"/>
      </p:par>
    </p:tnLst>
  </p:timing>
  <p:hf hdr="0" dt="0"/>
  <p:txStyles>
    <p:titleStyle>
      <a:lvl1pPr algn="l" rtl="0" eaLnBrk="1" fontAlgn="base" hangingPunct="1">
        <a:lnSpc>
          <a:spcPct val="95000"/>
        </a:lnSpc>
        <a:spcBef>
          <a:spcPct val="0"/>
        </a:spcBef>
        <a:spcAft>
          <a:spcPct val="0"/>
        </a:spcAft>
        <a:defRPr sz="2800" b="1">
          <a:solidFill>
            <a:schemeClr val="accent1"/>
          </a:solidFill>
          <a:latin typeface="+mj-lt"/>
          <a:ea typeface="+mj-ea"/>
          <a:cs typeface="+mj-cs"/>
        </a:defRPr>
      </a:lvl1pPr>
      <a:lvl2pPr algn="l" rtl="0" eaLnBrk="1" fontAlgn="base" hangingPunct="1">
        <a:lnSpc>
          <a:spcPct val="95000"/>
        </a:lnSpc>
        <a:spcBef>
          <a:spcPct val="0"/>
        </a:spcBef>
        <a:spcAft>
          <a:spcPct val="0"/>
        </a:spcAft>
        <a:defRPr sz="3200" b="1">
          <a:solidFill>
            <a:schemeClr val="bg1"/>
          </a:solidFill>
          <a:latin typeface="Arial" charset="0"/>
        </a:defRPr>
      </a:lvl2pPr>
      <a:lvl3pPr algn="l" rtl="0" eaLnBrk="1" fontAlgn="base" hangingPunct="1">
        <a:lnSpc>
          <a:spcPct val="95000"/>
        </a:lnSpc>
        <a:spcBef>
          <a:spcPct val="0"/>
        </a:spcBef>
        <a:spcAft>
          <a:spcPct val="0"/>
        </a:spcAft>
        <a:defRPr sz="3200" b="1">
          <a:solidFill>
            <a:schemeClr val="bg1"/>
          </a:solidFill>
          <a:latin typeface="Arial" charset="0"/>
        </a:defRPr>
      </a:lvl3pPr>
      <a:lvl4pPr algn="l" rtl="0" eaLnBrk="1" fontAlgn="base" hangingPunct="1">
        <a:lnSpc>
          <a:spcPct val="95000"/>
        </a:lnSpc>
        <a:spcBef>
          <a:spcPct val="0"/>
        </a:spcBef>
        <a:spcAft>
          <a:spcPct val="0"/>
        </a:spcAft>
        <a:defRPr sz="3200" b="1">
          <a:solidFill>
            <a:schemeClr val="bg1"/>
          </a:solidFill>
          <a:latin typeface="Arial" charset="0"/>
        </a:defRPr>
      </a:lvl4pPr>
      <a:lvl5pPr algn="l" rtl="0" eaLnBrk="1" fontAlgn="base" hangingPunct="1">
        <a:lnSpc>
          <a:spcPct val="95000"/>
        </a:lnSpc>
        <a:spcBef>
          <a:spcPct val="0"/>
        </a:spcBef>
        <a:spcAft>
          <a:spcPct val="0"/>
        </a:spcAft>
        <a:defRPr sz="3200" b="1">
          <a:solidFill>
            <a:schemeClr val="bg1"/>
          </a:solidFill>
          <a:latin typeface="Arial" charset="0"/>
        </a:defRPr>
      </a:lvl5pPr>
      <a:lvl6pPr marL="457200" algn="l" rtl="0" eaLnBrk="1" fontAlgn="base" hangingPunct="1">
        <a:lnSpc>
          <a:spcPct val="95000"/>
        </a:lnSpc>
        <a:spcBef>
          <a:spcPct val="0"/>
        </a:spcBef>
        <a:spcAft>
          <a:spcPct val="0"/>
        </a:spcAft>
        <a:defRPr sz="3200" b="1">
          <a:solidFill>
            <a:schemeClr val="bg1"/>
          </a:solidFill>
          <a:latin typeface="Arial" charset="0"/>
        </a:defRPr>
      </a:lvl6pPr>
      <a:lvl7pPr marL="914400" algn="l" rtl="0" eaLnBrk="1" fontAlgn="base" hangingPunct="1">
        <a:lnSpc>
          <a:spcPct val="95000"/>
        </a:lnSpc>
        <a:spcBef>
          <a:spcPct val="0"/>
        </a:spcBef>
        <a:spcAft>
          <a:spcPct val="0"/>
        </a:spcAft>
        <a:defRPr sz="3200" b="1">
          <a:solidFill>
            <a:schemeClr val="bg1"/>
          </a:solidFill>
          <a:latin typeface="Arial" charset="0"/>
        </a:defRPr>
      </a:lvl7pPr>
      <a:lvl8pPr marL="1371600" algn="l" rtl="0" eaLnBrk="1" fontAlgn="base" hangingPunct="1">
        <a:lnSpc>
          <a:spcPct val="95000"/>
        </a:lnSpc>
        <a:spcBef>
          <a:spcPct val="0"/>
        </a:spcBef>
        <a:spcAft>
          <a:spcPct val="0"/>
        </a:spcAft>
        <a:defRPr sz="3200" b="1">
          <a:solidFill>
            <a:schemeClr val="bg1"/>
          </a:solidFill>
          <a:latin typeface="Arial" charset="0"/>
        </a:defRPr>
      </a:lvl8pPr>
      <a:lvl9pPr marL="1828800" algn="l" rtl="0" eaLnBrk="1" fontAlgn="base" hangingPunct="1">
        <a:lnSpc>
          <a:spcPct val="95000"/>
        </a:lnSpc>
        <a:spcBef>
          <a:spcPct val="0"/>
        </a:spcBef>
        <a:spcAft>
          <a:spcPct val="0"/>
        </a:spcAft>
        <a:defRPr sz="3200" b="1">
          <a:solidFill>
            <a:schemeClr val="bg1"/>
          </a:solidFill>
          <a:latin typeface="Arial" charset="0"/>
        </a:defRPr>
      </a:lvl9pPr>
    </p:titleStyle>
    <p:bodyStyle>
      <a:lvl1pPr marL="176213" indent="-176213" algn="l" rtl="0" eaLnBrk="1" fontAlgn="base" hangingPunct="1">
        <a:lnSpc>
          <a:spcPct val="90000"/>
        </a:lnSpc>
        <a:spcBef>
          <a:spcPct val="40000"/>
        </a:spcBef>
        <a:spcAft>
          <a:spcPct val="0"/>
        </a:spcAft>
        <a:buClr>
          <a:schemeClr val="tx1"/>
        </a:buClr>
        <a:buChar char="•"/>
        <a:defRPr sz="2400">
          <a:solidFill>
            <a:schemeClr val="tx1"/>
          </a:solidFill>
          <a:latin typeface="+mn-lt"/>
          <a:ea typeface="+mn-ea"/>
          <a:cs typeface="+mn-cs"/>
        </a:defRPr>
      </a:lvl1pPr>
      <a:lvl2pPr marL="466725" indent="-285750" algn="l" rtl="0" eaLnBrk="1" fontAlgn="base" hangingPunct="1">
        <a:lnSpc>
          <a:spcPct val="90000"/>
        </a:lnSpc>
        <a:spcBef>
          <a:spcPct val="20000"/>
        </a:spcBef>
        <a:spcAft>
          <a:spcPct val="0"/>
        </a:spcAft>
        <a:buClr>
          <a:schemeClr val="tx1"/>
        </a:buClr>
        <a:buChar char="–"/>
        <a:defRPr sz="2000">
          <a:solidFill>
            <a:schemeClr val="tx1"/>
          </a:solidFill>
          <a:latin typeface="+mn-lt"/>
        </a:defRPr>
      </a:lvl2pPr>
      <a:lvl3pPr marL="630238" indent="-168275" algn="l" rtl="0" eaLnBrk="1" fontAlgn="base" hangingPunct="1">
        <a:lnSpc>
          <a:spcPct val="90000"/>
        </a:lnSpc>
        <a:spcBef>
          <a:spcPct val="20000"/>
        </a:spcBef>
        <a:spcAft>
          <a:spcPct val="0"/>
        </a:spcAft>
        <a:buClr>
          <a:schemeClr val="tx1"/>
        </a:buClr>
        <a:buChar char="•"/>
        <a:defRPr sz="2000">
          <a:solidFill>
            <a:schemeClr val="tx1"/>
          </a:solidFill>
          <a:latin typeface="+mn-lt"/>
        </a:defRPr>
      </a:lvl3pPr>
      <a:lvl4pPr marL="869950" indent="-227013" algn="l" rtl="0" eaLnBrk="1" fontAlgn="base" hangingPunct="1">
        <a:lnSpc>
          <a:spcPct val="90000"/>
        </a:lnSpc>
        <a:spcBef>
          <a:spcPct val="20000"/>
        </a:spcBef>
        <a:spcAft>
          <a:spcPct val="0"/>
        </a:spcAft>
        <a:buClr>
          <a:schemeClr val="tx1"/>
        </a:buClr>
        <a:buChar char="–"/>
        <a:defRPr sz="1800">
          <a:solidFill>
            <a:schemeClr val="tx1"/>
          </a:solidFill>
          <a:latin typeface="+mn-lt"/>
        </a:defRPr>
      </a:lvl4pPr>
      <a:lvl5pPr marL="1042988" indent="-166688" algn="l" rtl="0" eaLnBrk="1" fontAlgn="base" hangingPunct="1">
        <a:lnSpc>
          <a:spcPct val="90000"/>
        </a:lnSpc>
        <a:spcBef>
          <a:spcPct val="20000"/>
        </a:spcBef>
        <a:spcAft>
          <a:spcPct val="0"/>
        </a:spcAft>
        <a:buClr>
          <a:schemeClr val="tx1"/>
        </a:buClr>
        <a:buChar char="•"/>
        <a:defRPr sz="18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GB" dirty="0" smtClean="0"/>
              <a:t>Click to edit Master title style</a:t>
            </a:r>
            <a:endParaRPr lang="en-GB"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E0B76D7-FDBC-489E-9237-2935B94CB01D}" type="datetimeFigureOut">
              <a:rPr lang="en-GB" smtClean="0">
                <a:solidFill>
                  <a:prstClr val="black">
                    <a:tint val="75000"/>
                  </a:prstClr>
                </a:solidFill>
              </a:rPr>
              <a:pPr/>
              <a:t>10/12/2014</a:t>
            </a:fld>
            <a:endParaRPr lang="en-GB" dirty="0">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A76D019-A1B2-451D-8550-ADC4714D8A0F}"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294679199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0484" name="Rectangle 4"/>
          <p:cNvSpPr>
            <a:spLocks noGrp="1" noChangeArrowheads="1"/>
          </p:cNvSpPr>
          <p:nvPr>
            <p:ph type="body" idx="1"/>
          </p:nvPr>
        </p:nvSpPr>
        <p:spPr bwMode="gray">
          <a:xfrm>
            <a:off x="323528" y="1052740"/>
            <a:ext cx="8496944" cy="5472607"/>
          </a:xfrm>
          <a:prstGeom prst="rect">
            <a:avLst/>
          </a:prstGeom>
          <a:noFill/>
          <a:ln w="12700">
            <a:noFill/>
            <a:miter lim="800000"/>
            <a:headEnd/>
            <a:tailEnd/>
          </a:ln>
          <a:effectLst/>
        </p:spPr>
        <p:txBody>
          <a:bodyPr vert="horz" wrap="square" lIns="90488" tIns="44450" rIns="90488" bIns="44450" numCol="1" anchor="t" anchorCtr="0" compatLnSpc="1">
            <a:prstTxWarp prst="textNoShape">
              <a:avLst/>
            </a:prstTxWarp>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0485" name="Rectangle 5"/>
          <p:cNvSpPr>
            <a:spLocks noGrp="1" noChangeArrowheads="1"/>
          </p:cNvSpPr>
          <p:nvPr>
            <p:ph type="sldNum" sz="quarter" idx="4"/>
          </p:nvPr>
        </p:nvSpPr>
        <p:spPr bwMode="gray">
          <a:xfrm>
            <a:off x="7164388" y="6511929"/>
            <a:ext cx="1693862" cy="269875"/>
          </a:xfrm>
          <a:prstGeom prst="rect">
            <a:avLst/>
          </a:prstGeom>
          <a:noFill/>
          <a:ln w="12700">
            <a:noFill/>
            <a:miter lim="800000"/>
            <a:headEnd/>
            <a:tailEnd/>
          </a:ln>
          <a:effectLst/>
        </p:spPr>
        <p:txBody>
          <a:bodyPr vert="horz" wrap="square" lIns="90488" tIns="44450" rIns="90488" bIns="44450" numCol="1" anchor="b" anchorCtr="0" compatLnSpc="1">
            <a:prstTxWarp prst="textNoShape">
              <a:avLst/>
            </a:prstTxWarp>
          </a:bodyPr>
          <a:lstStyle>
            <a:lvl1pPr algn="r">
              <a:defRPr sz="1000" b="0"/>
            </a:lvl1pPr>
          </a:lstStyle>
          <a:p>
            <a:fld id="{46E3B560-07B0-4853-AE85-4967240282D4}" type="slidenum">
              <a:rPr lang="en-GB" smtClean="0">
                <a:solidFill>
                  <a:srgbClr val="000000"/>
                </a:solidFill>
              </a:rPr>
              <a:pPr/>
              <a:t>‹#›</a:t>
            </a:fld>
            <a:endParaRPr lang="en-GB" dirty="0">
              <a:solidFill>
                <a:srgbClr val="000000"/>
              </a:solidFill>
            </a:endParaRPr>
          </a:p>
        </p:txBody>
      </p:sp>
      <p:sp>
        <p:nvSpPr>
          <p:cNvPr id="20486" name="Rectangle 6"/>
          <p:cNvSpPr>
            <a:spLocks noGrp="1" noChangeArrowheads="1"/>
          </p:cNvSpPr>
          <p:nvPr>
            <p:ph type="ftr" sz="quarter" idx="3"/>
          </p:nvPr>
        </p:nvSpPr>
        <p:spPr bwMode="gray">
          <a:xfrm>
            <a:off x="458788" y="6324600"/>
            <a:ext cx="4489450" cy="457200"/>
          </a:xfrm>
          <a:prstGeom prst="rect">
            <a:avLst/>
          </a:prstGeom>
          <a:noFill/>
          <a:ln w="12700">
            <a:noFill/>
            <a:miter lim="800000"/>
            <a:headEnd/>
            <a:tailEnd/>
          </a:ln>
          <a:effectLst/>
        </p:spPr>
        <p:txBody>
          <a:bodyPr vert="horz" wrap="square" lIns="91440" tIns="45720" rIns="91440" bIns="45720" numCol="1" anchor="b" anchorCtr="0" compatLnSpc="1">
            <a:prstTxWarp prst="textNoShape">
              <a:avLst/>
            </a:prstTxWarp>
          </a:bodyPr>
          <a:lstStyle>
            <a:lvl1pPr>
              <a:lnSpc>
                <a:spcPct val="100000"/>
              </a:lnSpc>
              <a:defRPr sz="1000" b="0"/>
            </a:lvl1pPr>
          </a:lstStyle>
          <a:p>
            <a:r>
              <a:rPr lang="en-GB" dirty="0" smtClean="0">
                <a:solidFill>
                  <a:srgbClr val="000000"/>
                </a:solidFill>
              </a:rPr>
              <a:t>Copyright © 2013 Accenture All Rights Reserved.</a:t>
            </a:r>
            <a:endParaRPr lang="en-GB" dirty="0">
              <a:solidFill>
                <a:srgbClr val="000000"/>
              </a:solidFill>
            </a:endParaRPr>
          </a:p>
        </p:txBody>
      </p:sp>
      <p:sp>
        <p:nvSpPr>
          <p:cNvPr id="20487" name="Rectangle 7"/>
          <p:cNvSpPr>
            <a:spLocks noGrp="1" noChangeArrowheads="1"/>
          </p:cNvSpPr>
          <p:nvPr>
            <p:ph type="title"/>
          </p:nvPr>
        </p:nvSpPr>
        <p:spPr bwMode="gray">
          <a:xfrm>
            <a:off x="296228" y="129310"/>
            <a:ext cx="8524244" cy="779410"/>
          </a:xfrm>
          <a:prstGeom prst="rect">
            <a:avLst/>
          </a:prstGeom>
          <a:noFill/>
          <a:ln w="12700">
            <a:noFill/>
            <a:miter lim="800000"/>
            <a:headEnd/>
            <a:tailEnd/>
          </a:ln>
          <a:effectLst/>
        </p:spPr>
        <p:txBody>
          <a:bodyPr vert="horz" wrap="square" lIns="90488" tIns="44450" rIns="90488" bIns="44450" numCol="1" anchor="b" anchorCtr="0" compatLnSpc="1">
            <a:prstTxWarp prst="textNoShape">
              <a:avLst/>
            </a:prstTxWarp>
          </a:bodyPr>
          <a:lstStyle/>
          <a:p>
            <a:pPr lvl="0"/>
            <a:r>
              <a:rPr lang="en-GB" dirty="0" smtClean="0"/>
              <a:t>Click to edit Master title style</a:t>
            </a:r>
          </a:p>
        </p:txBody>
      </p:sp>
      <p:cxnSp>
        <p:nvCxnSpPr>
          <p:cNvPr id="8" name="Straight Connector 7"/>
          <p:cNvCxnSpPr/>
          <p:nvPr/>
        </p:nvCxnSpPr>
        <p:spPr bwMode="auto">
          <a:xfrm>
            <a:off x="395536" y="908720"/>
            <a:ext cx="8748464" cy="0"/>
          </a:xfrm>
          <a:prstGeom prst="line">
            <a:avLst/>
          </a:prstGeom>
          <a:solidFill>
            <a:schemeClr val="accent1"/>
          </a:solidFill>
          <a:ln w="9525" cap="flat" cmpd="sng" algn="ctr">
            <a:solidFill>
              <a:srgbClr val="0070C0"/>
            </a:solidFill>
            <a:prstDash val="solid"/>
            <a:round/>
            <a:headEnd type="none" w="med" len="med"/>
            <a:tailEnd type="none" w="med" len="med"/>
          </a:ln>
          <a:effectLst/>
        </p:spPr>
      </p:cxnSp>
    </p:spTree>
    <p:extLst>
      <p:ext uri="{BB962C8B-B14F-4D97-AF65-F5344CB8AC3E}">
        <p14:creationId xmlns:p14="http://schemas.microsoft.com/office/powerpoint/2010/main" val="2610047228"/>
      </p:ext>
    </p:extLst>
  </p:cSld>
  <p:clrMap bg1="dk1" tx1="lt1" bg2="dk2" tx2="lt2" accent1="accent1" accent2="accent2" accent3="accent3" accent4="accent4" accent5="accent5" accent6="accent6" hlink="hlink" folHlink="folHlink"/>
  <p:sldLayoutIdLst>
    <p:sldLayoutId id="2147483685" r:id="rId1"/>
    <p:sldLayoutId id="2147483686" r:id="rId2"/>
  </p:sldLayoutIdLst>
  <p:timing>
    <p:tnLst>
      <p:par>
        <p:cTn id="1" dur="indefinite" restart="never" nodeType="tmRoot"/>
      </p:par>
    </p:tnLst>
  </p:timing>
  <p:hf hdr="0" dt="0"/>
  <p:txStyles>
    <p:titleStyle>
      <a:lvl1pPr algn="l" rtl="0" eaLnBrk="1" fontAlgn="base" hangingPunct="1">
        <a:lnSpc>
          <a:spcPct val="95000"/>
        </a:lnSpc>
        <a:spcBef>
          <a:spcPct val="0"/>
        </a:spcBef>
        <a:spcAft>
          <a:spcPct val="0"/>
        </a:spcAft>
        <a:defRPr sz="2800" b="1">
          <a:solidFill>
            <a:schemeClr val="accent1"/>
          </a:solidFill>
          <a:latin typeface="+mj-lt"/>
          <a:ea typeface="+mj-ea"/>
          <a:cs typeface="+mj-cs"/>
        </a:defRPr>
      </a:lvl1pPr>
      <a:lvl2pPr algn="l" rtl="0" eaLnBrk="1" fontAlgn="base" hangingPunct="1">
        <a:lnSpc>
          <a:spcPct val="95000"/>
        </a:lnSpc>
        <a:spcBef>
          <a:spcPct val="0"/>
        </a:spcBef>
        <a:spcAft>
          <a:spcPct val="0"/>
        </a:spcAft>
        <a:defRPr sz="3200" b="1">
          <a:solidFill>
            <a:schemeClr val="bg1"/>
          </a:solidFill>
          <a:latin typeface="Arial" charset="0"/>
        </a:defRPr>
      </a:lvl2pPr>
      <a:lvl3pPr algn="l" rtl="0" eaLnBrk="1" fontAlgn="base" hangingPunct="1">
        <a:lnSpc>
          <a:spcPct val="95000"/>
        </a:lnSpc>
        <a:spcBef>
          <a:spcPct val="0"/>
        </a:spcBef>
        <a:spcAft>
          <a:spcPct val="0"/>
        </a:spcAft>
        <a:defRPr sz="3200" b="1">
          <a:solidFill>
            <a:schemeClr val="bg1"/>
          </a:solidFill>
          <a:latin typeface="Arial" charset="0"/>
        </a:defRPr>
      </a:lvl3pPr>
      <a:lvl4pPr algn="l" rtl="0" eaLnBrk="1" fontAlgn="base" hangingPunct="1">
        <a:lnSpc>
          <a:spcPct val="95000"/>
        </a:lnSpc>
        <a:spcBef>
          <a:spcPct val="0"/>
        </a:spcBef>
        <a:spcAft>
          <a:spcPct val="0"/>
        </a:spcAft>
        <a:defRPr sz="3200" b="1">
          <a:solidFill>
            <a:schemeClr val="bg1"/>
          </a:solidFill>
          <a:latin typeface="Arial" charset="0"/>
        </a:defRPr>
      </a:lvl4pPr>
      <a:lvl5pPr algn="l" rtl="0" eaLnBrk="1" fontAlgn="base" hangingPunct="1">
        <a:lnSpc>
          <a:spcPct val="95000"/>
        </a:lnSpc>
        <a:spcBef>
          <a:spcPct val="0"/>
        </a:spcBef>
        <a:spcAft>
          <a:spcPct val="0"/>
        </a:spcAft>
        <a:defRPr sz="3200" b="1">
          <a:solidFill>
            <a:schemeClr val="bg1"/>
          </a:solidFill>
          <a:latin typeface="Arial" charset="0"/>
        </a:defRPr>
      </a:lvl5pPr>
      <a:lvl6pPr marL="457200" algn="l" rtl="0" eaLnBrk="1" fontAlgn="base" hangingPunct="1">
        <a:lnSpc>
          <a:spcPct val="95000"/>
        </a:lnSpc>
        <a:spcBef>
          <a:spcPct val="0"/>
        </a:spcBef>
        <a:spcAft>
          <a:spcPct val="0"/>
        </a:spcAft>
        <a:defRPr sz="3200" b="1">
          <a:solidFill>
            <a:schemeClr val="bg1"/>
          </a:solidFill>
          <a:latin typeface="Arial" charset="0"/>
        </a:defRPr>
      </a:lvl6pPr>
      <a:lvl7pPr marL="914400" algn="l" rtl="0" eaLnBrk="1" fontAlgn="base" hangingPunct="1">
        <a:lnSpc>
          <a:spcPct val="95000"/>
        </a:lnSpc>
        <a:spcBef>
          <a:spcPct val="0"/>
        </a:spcBef>
        <a:spcAft>
          <a:spcPct val="0"/>
        </a:spcAft>
        <a:defRPr sz="3200" b="1">
          <a:solidFill>
            <a:schemeClr val="bg1"/>
          </a:solidFill>
          <a:latin typeface="Arial" charset="0"/>
        </a:defRPr>
      </a:lvl7pPr>
      <a:lvl8pPr marL="1371600" algn="l" rtl="0" eaLnBrk="1" fontAlgn="base" hangingPunct="1">
        <a:lnSpc>
          <a:spcPct val="95000"/>
        </a:lnSpc>
        <a:spcBef>
          <a:spcPct val="0"/>
        </a:spcBef>
        <a:spcAft>
          <a:spcPct val="0"/>
        </a:spcAft>
        <a:defRPr sz="3200" b="1">
          <a:solidFill>
            <a:schemeClr val="bg1"/>
          </a:solidFill>
          <a:latin typeface="Arial" charset="0"/>
        </a:defRPr>
      </a:lvl8pPr>
      <a:lvl9pPr marL="1828800" algn="l" rtl="0" eaLnBrk="1" fontAlgn="base" hangingPunct="1">
        <a:lnSpc>
          <a:spcPct val="95000"/>
        </a:lnSpc>
        <a:spcBef>
          <a:spcPct val="0"/>
        </a:spcBef>
        <a:spcAft>
          <a:spcPct val="0"/>
        </a:spcAft>
        <a:defRPr sz="3200" b="1">
          <a:solidFill>
            <a:schemeClr val="bg1"/>
          </a:solidFill>
          <a:latin typeface="Arial" charset="0"/>
        </a:defRPr>
      </a:lvl9pPr>
    </p:titleStyle>
    <p:bodyStyle>
      <a:lvl1pPr marL="176213" indent="-176213" algn="l" rtl="0" eaLnBrk="1" fontAlgn="base" hangingPunct="1">
        <a:lnSpc>
          <a:spcPct val="90000"/>
        </a:lnSpc>
        <a:spcBef>
          <a:spcPct val="40000"/>
        </a:spcBef>
        <a:spcAft>
          <a:spcPct val="0"/>
        </a:spcAft>
        <a:buClr>
          <a:schemeClr val="tx1"/>
        </a:buClr>
        <a:buChar char="•"/>
        <a:defRPr sz="2400">
          <a:solidFill>
            <a:schemeClr val="tx1"/>
          </a:solidFill>
          <a:latin typeface="+mn-lt"/>
          <a:ea typeface="+mn-ea"/>
          <a:cs typeface="+mn-cs"/>
        </a:defRPr>
      </a:lvl1pPr>
      <a:lvl2pPr marL="466725" indent="-285750" algn="l" rtl="0" eaLnBrk="1" fontAlgn="base" hangingPunct="1">
        <a:lnSpc>
          <a:spcPct val="90000"/>
        </a:lnSpc>
        <a:spcBef>
          <a:spcPct val="20000"/>
        </a:spcBef>
        <a:spcAft>
          <a:spcPct val="0"/>
        </a:spcAft>
        <a:buClr>
          <a:schemeClr val="tx1"/>
        </a:buClr>
        <a:buChar char="–"/>
        <a:defRPr sz="2000">
          <a:solidFill>
            <a:schemeClr val="tx1"/>
          </a:solidFill>
          <a:latin typeface="+mn-lt"/>
        </a:defRPr>
      </a:lvl2pPr>
      <a:lvl3pPr marL="630238" indent="-168275" algn="l" rtl="0" eaLnBrk="1" fontAlgn="base" hangingPunct="1">
        <a:lnSpc>
          <a:spcPct val="90000"/>
        </a:lnSpc>
        <a:spcBef>
          <a:spcPct val="20000"/>
        </a:spcBef>
        <a:spcAft>
          <a:spcPct val="0"/>
        </a:spcAft>
        <a:buClr>
          <a:schemeClr val="tx1"/>
        </a:buClr>
        <a:buChar char="•"/>
        <a:defRPr sz="2000">
          <a:solidFill>
            <a:schemeClr val="tx1"/>
          </a:solidFill>
          <a:latin typeface="+mn-lt"/>
        </a:defRPr>
      </a:lvl3pPr>
      <a:lvl4pPr marL="869950" indent="-227013" algn="l" rtl="0" eaLnBrk="1" fontAlgn="base" hangingPunct="1">
        <a:lnSpc>
          <a:spcPct val="90000"/>
        </a:lnSpc>
        <a:spcBef>
          <a:spcPct val="20000"/>
        </a:spcBef>
        <a:spcAft>
          <a:spcPct val="0"/>
        </a:spcAft>
        <a:buClr>
          <a:schemeClr val="tx1"/>
        </a:buClr>
        <a:buChar char="–"/>
        <a:defRPr sz="1800">
          <a:solidFill>
            <a:schemeClr val="tx1"/>
          </a:solidFill>
          <a:latin typeface="+mn-lt"/>
        </a:defRPr>
      </a:lvl4pPr>
      <a:lvl5pPr marL="1042988" indent="-166688" algn="l" rtl="0" eaLnBrk="1" fontAlgn="base" hangingPunct="1">
        <a:lnSpc>
          <a:spcPct val="90000"/>
        </a:lnSpc>
        <a:spcBef>
          <a:spcPct val="20000"/>
        </a:spcBef>
        <a:spcAft>
          <a:spcPct val="0"/>
        </a:spcAft>
        <a:buClr>
          <a:schemeClr val="tx1"/>
        </a:buClr>
        <a:buChar char="•"/>
        <a:defRPr sz="18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3" y="1381125"/>
            <a:ext cx="8228012" cy="4824414"/>
          </a:xfrm>
          <a:prstGeom prst="rect">
            <a:avLst/>
          </a:prstGeom>
        </p:spPr>
        <p:txBody>
          <a:bodyPr vert="horz" lIns="0" tIns="0" rIns="0" bIns="0" rtlCol="0">
            <a:normAutofit/>
          </a:bodyPr>
          <a:lstStyle/>
          <a:p>
            <a:pPr lvl="0"/>
            <a:r>
              <a:rPr lang="en-GB" dirty="0" smtClean="0"/>
              <a:t>First Level Text</a:t>
            </a:r>
          </a:p>
          <a:p>
            <a:pPr lvl="1"/>
            <a:r>
              <a:rPr lang="en-GB" dirty="0" smtClean="0"/>
              <a:t>Second Level Text</a:t>
            </a:r>
          </a:p>
          <a:p>
            <a:pPr lvl="2"/>
            <a:r>
              <a:rPr lang="en-GB" dirty="0" smtClean="0"/>
              <a:t>Third Level Text</a:t>
            </a:r>
          </a:p>
          <a:p>
            <a:pPr lvl="3"/>
            <a:r>
              <a:rPr lang="en-GB" dirty="0" smtClean="0"/>
              <a:t>Fourth Level Text</a:t>
            </a:r>
          </a:p>
          <a:p>
            <a:pPr lvl="4"/>
            <a:r>
              <a:rPr lang="en-GB" dirty="0" smtClean="0"/>
              <a:t>Fifth Level Text</a:t>
            </a:r>
          </a:p>
        </p:txBody>
      </p:sp>
      <p:sp>
        <p:nvSpPr>
          <p:cNvPr id="9" name="Title Placeholder 1"/>
          <p:cNvSpPr>
            <a:spLocks noGrp="1"/>
          </p:cNvSpPr>
          <p:nvPr>
            <p:ph type="title"/>
          </p:nvPr>
        </p:nvSpPr>
        <p:spPr>
          <a:xfrm>
            <a:off x="461036" y="170123"/>
            <a:ext cx="8205261" cy="785553"/>
          </a:xfrm>
          <a:prstGeom prst="rect">
            <a:avLst/>
          </a:prstGeom>
        </p:spPr>
        <p:txBody>
          <a:bodyPr vert="horz" lIns="0" tIns="0" rIns="0" bIns="0" rtlCol="0" anchor="b" anchorCtr="0">
            <a:normAutofit/>
          </a:bodyPr>
          <a:lstStyle/>
          <a:p>
            <a:r>
              <a:rPr lang="en-GB" dirty="0" smtClean="0"/>
              <a:t>Master Title Slide Headline</a:t>
            </a:r>
            <a:endParaRPr lang="en-GB" dirty="0"/>
          </a:p>
        </p:txBody>
      </p:sp>
    </p:spTree>
    <p:extLst>
      <p:ext uri="{BB962C8B-B14F-4D97-AF65-F5344CB8AC3E}">
        <p14:creationId xmlns:p14="http://schemas.microsoft.com/office/powerpoint/2010/main" val="1510883906"/>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Lst>
  <p:timing>
    <p:tnLst>
      <p:par>
        <p:cTn id="1" dur="indefinite" restart="never" nodeType="tmRoot"/>
      </p:par>
    </p:tnLst>
  </p:timing>
  <p:hf hdr="0" ftr="0" dt="0"/>
  <p:txStyles>
    <p:titleStyle>
      <a:lvl1pPr algn="l" defTabSz="914354" rtl="0" eaLnBrk="1" latinLnBrk="0" hangingPunct="1">
        <a:lnSpc>
          <a:spcPts val="2600"/>
        </a:lnSpc>
        <a:spcBef>
          <a:spcPct val="0"/>
        </a:spcBef>
        <a:buNone/>
        <a:defRPr sz="2600" b="1" kern="1200">
          <a:solidFill>
            <a:srgbClr val="000000"/>
          </a:solidFill>
          <a:latin typeface="Calibri" panose="020F0502020204030204" pitchFamily="34" charset="0"/>
          <a:ea typeface="+mj-ea"/>
          <a:cs typeface="Arial" pitchFamily="34" charset="0"/>
        </a:defRPr>
      </a:lvl1pPr>
    </p:titleStyle>
    <p:bodyStyle>
      <a:lvl1pPr marL="231764" indent="-231764" algn="l" defTabSz="914354" rtl="0" eaLnBrk="1" latinLnBrk="0" hangingPunct="1">
        <a:lnSpc>
          <a:spcPct val="100000"/>
        </a:lnSpc>
        <a:spcBef>
          <a:spcPts val="1200"/>
        </a:spcBef>
        <a:spcAft>
          <a:spcPts val="0"/>
        </a:spcAft>
        <a:buClr>
          <a:schemeClr val="tx1"/>
        </a:buClr>
        <a:buSzPct val="80000"/>
        <a:buFont typeface="Arial" pitchFamily="34" charset="0"/>
        <a:buChar char="•"/>
        <a:defRPr sz="2600" b="0" kern="1200">
          <a:solidFill>
            <a:schemeClr val="tx1"/>
          </a:solidFill>
          <a:latin typeface="Calibri" panose="020F0502020204030204" pitchFamily="34" charset="0"/>
          <a:ea typeface="+mn-ea"/>
          <a:cs typeface="Arial" pitchFamily="34" charset="0"/>
        </a:defRPr>
      </a:lvl1pPr>
      <a:lvl2pPr marL="457178" indent="-231764" algn="l" defTabSz="914354" rtl="0" eaLnBrk="1" latinLnBrk="0" hangingPunct="1">
        <a:lnSpc>
          <a:spcPct val="100000"/>
        </a:lnSpc>
        <a:spcBef>
          <a:spcPts val="624"/>
        </a:spcBef>
        <a:spcAft>
          <a:spcPts val="0"/>
        </a:spcAft>
        <a:buClr>
          <a:schemeClr val="tx1"/>
        </a:buClr>
        <a:buSzPct val="80000"/>
        <a:buFont typeface="Arial" pitchFamily="34" charset="0"/>
        <a:buChar char="–"/>
        <a:defRPr sz="2400" kern="1200">
          <a:solidFill>
            <a:srgbClr val="000000"/>
          </a:solidFill>
          <a:latin typeface="Calibri" panose="020F0502020204030204" pitchFamily="34" charset="0"/>
          <a:ea typeface="+mn-ea"/>
          <a:cs typeface="Arial" pitchFamily="34" charset="0"/>
        </a:defRPr>
      </a:lvl2pPr>
      <a:lvl3pPr marL="688940" indent="-231764" algn="l" defTabSz="914354" rtl="0" eaLnBrk="1" latinLnBrk="0" hangingPunct="1">
        <a:lnSpc>
          <a:spcPct val="100000"/>
        </a:lnSpc>
        <a:spcBef>
          <a:spcPts val="576"/>
        </a:spcBef>
        <a:spcAft>
          <a:spcPts val="0"/>
        </a:spcAft>
        <a:buClr>
          <a:schemeClr val="tx1"/>
        </a:buClr>
        <a:buSzPct val="80000"/>
        <a:buFont typeface="Arial" pitchFamily="34" charset="0"/>
        <a:buChar char="•"/>
        <a:defRPr sz="2000" kern="1200" baseline="0">
          <a:solidFill>
            <a:srgbClr val="000000"/>
          </a:solidFill>
          <a:latin typeface="Calibri" panose="020F0502020204030204" pitchFamily="34" charset="0"/>
          <a:ea typeface="+mn-ea"/>
          <a:cs typeface="Arial" pitchFamily="34" charset="0"/>
        </a:defRPr>
      </a:lvl3pPr>
      <a:lvl4pPr marL="914354" indent="-225414" algn="l" defTabSz="914354"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Calibri" panose="020F0502020204030204" pitchFamily="34" charset="0"/>
          <a:ea typeface="+mn-ea"/>
          <a:cs typeface="Arial" pitchFamily="34" charset="0"/>
        </a:defRPr>
      </a:lvl4pPr>
      <a:lvl5pPr marL="1146118" indent="-231764" algn="l" defTabSz="914354"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Calibri" panose="020F0502020204030204" pitchFamily="34" charset="0"/>
          <a:ea typeface="+mn-ea"/>
          <a:cs typeface="Arial" pitchFamily="34" charset="0"/>
        </a:defRPr>
      </a:lvl5pPr>
      <a:lvl6pPr marL="2514474"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0484" name="Rectangle 4"/>
          <p:cNvSpPr>
            <a:spLocks noGrp="1" noChangeArrowheads="1"/>
          </p:cNvSpPr>
          <p:nvPr>
            <p:ph type="body" idx="1"/>
          </p:nvPr>
        </p:nvSpPr>
        <p:spPr bwMode="gray">
          <a:xfrm>
            <a:off x="323528" y="1052740"/>
            <a:ext cx="8496944" cy="5472607"/>
          </a:xfrm>
          <a:prstGeom prst="rect">
            <a:avLst/>
          </a:prstGeom>
          <a:noFill/>
          <a:ln w="12700">
            <a:noFill/>
            <a:miter lim="800000"/>
            <a:headEnd/>
            <a:tailEnd/>
          </a:ln>
          <a:effectLst/>
        </p:spPr>
        <p:txBody>
          <a:bodyPr vert="horz" wrap="square" lIns="90488" tIns="44450" rIns="90488" bIns="44450" numCol="1" anchor="t" anchorCtr="0" compatLnSpc="1">
            <a:prstTxWarp prst="textNoShape">
              <a:avLst/>
            </a:prstTxWarp>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0485" name="Rectangle 5"/>
          <p:cNvSpPr>
            <a:spLocks noGrp="1" noChangeArrowheads="1"/>
          </p:cNvSpPr>
          <p:nvPr>
            <p:ph type="sldNum" sz="quarter" idx="4"/>
          </p:nvPr>
        </p:nvSpPr>
        <p:spPr bwMode="gray">
          <a:xfrm>
            <a:off x="7164388" y="6511929"/>
            <a:ext cx="1693862" cy="269875"/>
          </a:xfrm>
          <a:prstGeom prst="rect">
            <a:avLst/>
          </a:prstGeom>
          <a:noFill/>
          <a:ln w="12700">
            <a:noFill/>
            <a:miter lim="800000"/>
            <a:headEnd/>
            <a:tailEnd/>
          </a:ln>
          <a:effectLst/>
        </p:spPr>
        <p:txBody>
          <a:bodyPr vert="horz" wrap="square" lIns="90488" tIns="44450" rIns="90488" bIns="44450" numCol="1" anchor="b" anchorCtr="0" compatLnSpc="1">
            <a:prstTxWarp prst="textNoShape">
              <a:avLst/>
            </a:prstTxWarp>
          </a:bodyPr>
          <a:lstStyle>
            <a:lvl1pPr algn="r">
              <a:defRPr sz="1000" b="0"/>
            </a:lvl1pPr>
          </a:lstStyle>
          <a:p>
            <a:fld id="{46E3B560-07B0-4853-AE85-4967240282D4}" type="slidenum">
              <a:rPr lang="en-GB" smtClean="0">
                <a:solidFill>
                  <a:srgbClr val="000000"/>
                </a:solidFill>
              </a:rPr>
              <a:pPr/>
              <a:t>‹#›</a:t>
            </a:fld>
            <a:endParaRPr lang="en-GB" dirty="0">
              <a:solidFill>
                <a:srgbClr val="000000"/>
              </a:solidFill>
            </a:endParaRPr>
          </a:p>
        </p:txBody>
      </p:sp>
      <p:sp>
        <p:nvSpPr>
          <p:cNvPr id="20486" name="Rectangle 6"/>
          <p:cNvSpPr>
            <a:spLocks noGrp="1" noChangeArrowheads="1"/>
          </p:cNvSpPr>
          <p:nvPr>
            <p:ph type="ftr" sz="quarter" idx="3"/>
          </p:nvPr>
        </p:nvSpPr>
        <p:spPr bwMode="gray">
          <a:xfrm>
            <a:off x="458788" y="6324600"/>
            <a:ext cx="4489450" cy="457200"/>
          </a:xfrm>
          <a:prstGeom prst="rect">
            <a:avLst/>
          </a:prstGeom>
          <a:noFill/>
          <a:ln w="12700">
            <a:noFill/>
            <a:miter lim="800000"/>
            <a:headEnd/>
            <a:tailEnd/>
          </a:ln>
          <a:effectLst/>
        </p:spPr>
        <p:txBody>
          <a:bodyPr vert="horz" wrap="square" lIns="91440" tIns="45720" rIns="91440" bIns="45720" numCol="1" anchor="b" anchorCtr="0" compatLnSpc="1">
            <a:prstTxWarp prst="textNoShape">
              <a:avLst/>
            </a:prstTxWarp>
          </a:bodyPr>
          <a:lstStyle>
            <a:lvl1pPr>
              <a:lnSpc>
                <a:spcPct val="100000"/>
              </a:lnSpc>
              <a:defRPr sz="1000" b="0"/>
            </a:lvl1pPr>
          </a:lstStyle>
          <a:p>
            <a:r>
              <a:rPr lang="en-GB" dirty="0" smtClean="0">
                <a:solidFill>
                  <a:srgbClr val="000000"/>
                </a:solidFill>
              </a:rPr>
              <a:t>Copyright © 2013 Accenture All Rights Reserved.</a:t>
            </a:r>
            <a:endParaRPr lang="en-GB" dirty="0">
              <a:solidFill>
                <a:srgbClr val="000000"/>
              </a:solidFill>
            </a:endParaRPr>
          </a:p>
        </p:txBody>
      </p:sp>
      <p:sp>
        <p:nvSpPr>
          <p:cNvPr id="20487" name="Rectangle 7"/>
          <p:cNvSpPr>
            <a:spLocks noGrp="1" noChangeArrowheads="1"/>
          </p:cNvSpPr>
          <p:nvPr>
            <p:ph type="title"/>
          </p:nvPr>
        </p:nvSpPr>
        <p:spPr bwMode="gray">
          <a:xfrm>
            <a:off x="296228" y="129310"/>
            <a:ext cx="8524244" cy="779410"/>
          </a:xfrm>
          <a:prstGeom prst="rect">
            <a:avLst/>
          </a:prstGeom>
          <a:noFill/>
          <a:ln w="12700">
            <a:noFill/>
            <a:miter lim="800000"/>
            <a:headEnd/>
            <a:tailEnd/>
          </a:ln>
          <a:effectLst/>
        </p:spPr>
        <p:txBody>
          <a:bodyPr vert="horz" wrap="square" lIns="90488" tIns="44450" rIns="90488" bIns="44450" numCol="1" anchor="b" anchorCtr="0" compatLnSpc="1">
            <a:prstTxWarp prst="textNoShape">
              <a:avLst/>
            </a:prstTxWarp>
          </a:bodyPr>
          <a:lstStyle/>
          <a:p>
            <a:pPr lvl="0"/>
            <a:r>
              <a:rPr lang="en-GB" dirty="0" smtClean="0"/>
              <a:t>Click to edit Master title style</a:t>
            </a:r>
          </a:p>
        </p:txBody>
      </p:sp>
      <p:cxnSp>
        <p:nvCxnSpPr>
          <p:cNvPr id="8" name="Straight Connector 7"/>
          <p:cNvCxnSpPr/>
          <p:nvPr/>
        </p:nvCxnSpPr>
        <p:spPr bwMode="auto">
          <a:xfrm>
            <a:off x="395536" y="908720"/>
            <a:ext cx="8748464" cy="0"/>
          </a:xfrm>
          <a:prstGeom prst="line">
            <a:avLst/>
          </a:prstGeom>
          <a:solidFill>
            <a:schemeClr val="accent1"/>
          </a:solidFill>
          <a:ln w="9525" cap="flat" cmpd="sng" algn="ctr">
            <a:solidFill>
              <a:srgbClr val="0070C0"/>
            </a:solidFill>
            <a:prstDash val="solid"/>
            <a:round/>
            <a:headEnd type="none" w="med" len="med"/>
            <a:tailEnd type="none" w="med" len="med"/>
          </a:ln>
          <a:effectLst/>
        </p:spPr>
      </p:cxnSp>
      <p:cxnSp>
        <p:nvCxnSpPr>
          <p:cNvPr id="7" name="Gerade Verbindung 4"/>
          <p:cNvCxnSpPr/>
          <p:nvPr>
            <p:custDataLst>
              <p:tags r:id="rId11"/>
            </p:custDataLst>
          </p:nvPr>
        </p:nvCxnSpPr>
        <p:spPr bwMode="ltGray">
          <a:xfrm>
            <a:off x="0" y="1123186"/>
            <a:ext cx="9144000" cy="1558"/>
          </a:xfrm>
          <a:prstGeom prst="line">
            <a:avLst/>
          </a:prstGeom>
          <a:solidFill>
            <a:schemeClr val="accent1"/>
          </a:solidFill>
          <a:ln w="12700" cap="flat" cmpd="sng" algn="ctr">
            <a:solidFill>
              <a:schemeClr val="accent1"/>
            </a:solidFill>
            <a:prstDash val="solid"/>
            <a:round/>
            <a:headEnd type="none" w="med" len="med"/>
            <a:tailEnd type="none" w="med" len="med"/>
          </a:ln>
          <a:effectLst/>
        </p:spPr>
      </p:cxnSp>
      <p:sp>
        <p:nvSpPr>
          <p:cNvPr id="9" name="AMC_Footer"/>
          <p:cNvSpPr txBox="1">
            <a:spLocks/>
          </p:cNvSpPr>
          <p:nvPr/>
        </p:nvSpPr>
        <p:spPr>
          <a:xfrm>
            <a:off x="250822" y="6669360"/>
            <a:ext cx="712948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GB" sz="800" b="1" dirty="0" smtClean="0">
                <a:solidFill>
                  <a:prstClr val="black"/>
                </a:solidFill>
                <a:cs typeface="Arial" charset="0"/>
              </a:rPr>
              <a:t>Confidential - Do Not forward  - For Internal Management Planning purposes. </a:t>
            </a:r>
            <a:r>
              <a:rPr lang="en-GB" sz="800" dirty="0" smtClean="0">
                <a:solidFill>
                  <a:prstClr val="black"/>
                </a:solidFill>
                <a:cs typeface="Arial" pitchFamily="34" charset="0"/>
              </a:rPr>
              <a:t>Copyright © 2013 Accenture. All rights reserved.</a:t>
            </a:r>
            <a:endParaRPr lang="en-GB" sz="800" dirty="0">
              <a:solidFill>
                <a:prstClr val="black"/>
              </a:solidFill>
              <a:cs typeface="Arial" pitchFamily="34" charset="0"/>
            </a:endParaRPr>
          </a:p>
        </p:txBody>
      </p:sp>
      <p:sp>
        <p:nvSpPr>
          <p:cNvPr id="10" name="Inhaltsplatzhalter 13"/>
          <p:cNvSpPr txBox="1">
            <a:spLocks/>
          </p:cNvSpPr>
          <p:nvPr/>
        </p:nvSpPr>
        <p:spPr>
          <a:xfrm>
            <a:off x="8496436"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EB578BD5-E3A8-4354-91BC-79CE4598B8D1}" type="slidenum">
              <a:rPr lang="en-GB" sz="800" smtClean="0">
                <a:solidFill>
                  <a:prstClr val="black"/>
                </a:solidFill>
                <a:cs typeface="Arial" pitchFamily="34" charset="0"/>
              </a:rPr>
              <a:pPr algn="r">
                <a:defRPr/>
              </a:pPr>
              <a:t>‹#›</a:t>
            </a:fld>
            <a:endParaRPr lang="en-GB" sz="800" dirty="0">
              <a:solidFill>
                <a:prstClr val="black"/>
              </a:solidFill>
              <a:cs typeface="Arial" pitchFamily="34" charset="0"/>
            </a:endParaRPr>
          </a:p>
        </p:txBody>
      </p:sp>
    </p:spTree>
    <p:extLst>
      <p:ext uri="{BB962C8B-B14F-4D97-AF65-F5344CB8AC3E}">
        <p14:creationId xmlns:p14="http://schemas.microsoft.com/office/powerpoint/2010/main" val="1626159417"/>
      </p:ext>
    </p:extLst>
  </p:cSld>
  <p:clrMap bg1="dk1" tx1="lt1" bg2="dk2" tx2="lt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Lst>
  <p:timing>
    <p:tnLst>
      <p:par>
        <p:cTn id="1" dur="indefinite" restart="never" nodeType="tmRoot"/>
      </p:par>
    </p:tnLst>
  </p:timing>
  <p:hf hdr="0" dt="0"/>
  <p:txStyles>
    <p:titleStyle>
      <a:lvl1pPr algn="l" rtl="0" eaLnBrk="1" fontAlgn="base" hangingPunct="1">
        <a:lnSpc>
          <a:spcPct val="95000"/>
        </a:lnSpc>
        <a:spcBef>
          <a:spcPct val="0"/>
        </a:spcBef>
        <a:spcAft>
          <a:spcPct val="0"/>
        </a:spcAft>
        <a:defRPr sz="2800" b="1">
          <a:solidFill>
            <a:schemeClr val="accent1"/>
          </a:solidFill>
          <a:latin typeface="+mj-lt"/>
          <a:ea typeface="+mj-ea"/>
          <a:cs typeface="+mj-cs"/>
        </a:defRPr>
      </a:lvl1pPr>
      <a:lvl2pPr algn="l" rtl="0" eaLnBrk="1" fontAlgn="base" hangingPunct="1">
        <a:lnSpc>
          <a:spcPct val="95000"/>
        </a:lnSpc>
        <a:spcBef>
          <a:spcPct val="0"/>
        </a:spcBef>
        <a:spcAft>
          <a:spcPct val="0"/>
        </a:spcAft>
        <a:defRPr sz="3200" b="1">
          <a:solidFill>
            <a:schemeClr val="bg1"/>
          </a:solidFill>
          <a:latin typeface="Arial" charset="0"/>
        </a:defRPr>
      </a:lvl2pPr>
      <a:lvl3pPr algn="l" rtl="0" eaLnBrk="1" fontAlgn="base" hangingPunct="1">
        <a:lnSpc>
          <a:spcPct val="95000"/>
        </a:lnSpc>
        <a:spcBef>
          <a:spcPct val="0"/>
        </a:spcBef>
        <a:spcAft>
          <a:spcPct val="0"/>
        </a:spcAft>
        <a:defRPr sz="3200" b="1">
          <a:solidFill>
            <a:schemeClr val="bg1"/>
          </a:solidFill>
          <a:latin typeface="Arial" charset="0"/>
        </a:defRPr>
      </a:lvl3pPr>
      <a:lvl4pPr algn="l" rtl="0" eaLnBrk="1" fontAlgn="base" hangingPunct="1">
        <a:lnSpc>
          <a:spcPct val="95000"/>
        </a:lnSpc>
        <a:spcBef>
          <a:spcPct val="0"/>
        </a:spcBef>
        <a:spcAft>
          <a:spcPct val="0"/>
        </a:spcAft>
        <a:defRPr sz="3200" b="1">
          <a:solidFill>
            <a:schemeClr val="bg1"/>
          </a:solidFill>
          <a:latin typeface="Arial" charset="0"/>
        </a:defRPr>
      </a:lvl4pPr>
      <a:lvl5pPr algn="l" rtl="0" eaLnBrk="1" fontAlgn="base" hangingPunct="1">
        <a:lnSpc>
          <a:spcPct val="95000"/>
        </a:lnSpc>
        <a:spcBef>
          <a:spcPct val="0"/>
        </a:spcBef>
        <a:spcAft>
          <a:spcPct val="0"/>
        </a:spcAft>
        <a:defRPr sz="3200" b="1">
          <a:solidFill>
            <a:schemeClr val="bg1"/>
          </a:solidFill>
          <a:latin typeface="Arial" charset="0"/>
        </a:defRPr>
      </a:lvl5pPr>
      <a:lvl6pPr marL="457200" algn="l" rtl="0" eaLnBrk="1" fontAlgn="base" hangingPunct="1">
        <a:lnSpc>
          <a:spcPct val="95000"/>
        </a:lnSpc>
        <a:spcBef>
          <a:spcPct val="0"/>
        </a:spcBef>
        <a:spcAft>
          <a:spcPct val="0"/>
        </a:spcAft>
        <a:defRPr sz="3200" b="1">
          <a:solidFill>
            <a:schemeClr val="bg1"/>
          </a:solidFill>
          <a:latin typeface="Arial" charset="0"/>
        </a:defRPr>
      </a:lvl6pPr>
      <a:lvl7pPr marL="914400" algn="l" rtl="0" eaLnBrk="1" fontAlgn="base" hangingPunct="1">
        <a:lnSpc>
          <a:spcPct val="95000"/>
        </a:lnSpc>
        <a:spcBef>
          <a:spcPct val="0"/>
        </a:spcBef>
        <a:spcAft>
          <a:spcPct val="0"/>
        </a:spcAft>
        <a:defRPr sz="3200" b="1">
          <a:solidFill>
            <a:schemeClr val="bg1"/>
          </a:solidFill>
          <a:latin typeface="Arial" charset="0"/>
        </a:defRPr>
      </a:lvl7pPr>
      <a:lvl8pPr marL="1371600" algn="l" rtl="0" eaLnBrk="1" fontAlgn="base" hangingPunct="1">
        <a:lnSpc>
          <a:spcPct val="95000"/>
        </a:lnSpc>
        <a:spcBef>
          <a:spcPct val="0"/>
        </a:spcBef>
        <a:spcAft>
          <a:spcPct val="0"/>
        </a:spcAft>
        <a:defRPr sz="3200" b="1">
          <a:solidFill>
            <a:schemeClr val="bg1"/>
          </a:solidFill>
          <a:latin typeface="Arial" charset="0"/>
        </a:defRPr>
      </a:lvl8pPr>
      <a:lvl9pPr marL="1828800" algn="l" rtl="0" eaLnBrk="1" fontAlgn="base" hangingPunct="1">
        <a:lnSpc>
          <a:spcPct val="95000"/>
        </a:lnSpc>
        <a:spcBef>
          <a:spcPct val="0"/>
        </a:spcBef>
        <a:spcAft>
          <a:spcPct val="0"/>
        </a:spcAft>
        <a:defRPr sz="3200" b="1">
          <a:solidFill>
            <a:schemeClr val="bg1"/>
          </a:solidFill>
          <a:latin typeface="Arial" charset="0"/>
        </a:defRPr>
      </a:lvl9pPr>
    </p:titleStyle>
    <p:bodyStyle>
      <a:lvl1pPr marL="176213" indent="-176213" algn="l" rtl="0" eaLnBrk="1" fontAlgn="base" hangingPunct="1">
        <a:lnSpc>
          <a:spcPct val="90000"/>
        </a:lnSpc>
        <a:spcBef>
          <a:spcPct val="40000"/>
        </a:spcBef>
        <a:spcAft>
          <a:spcPct val="0"/>
        </a:spcAft>
        <a:buClr>
          <a:schemeClr val="tx1"/>
        </a:buClr>
        <a:buChar char="•"/>
        <a:defRPr sz="2400">
          <a:solidFill>
            <a:schemeClr val="tx1"/>
          </a:solidFill>
          <a:latin typeface="+mn-lt"/>
          <a:ea typeface="+mn-ea"/>
          <a:cs typeface="+mn-cs"/>
        </a:defRPr>
      </a:lvl1pPr>
      <a:lvl2pPr marL="466725" indent="-285750" algn="l" rtl="0" eaLnBrk="1" fontAlgn="base" hangingPunct="1">
        <a:lnSpc>
          <a:spcPct val="90000"/>
        </a:lnSpc>
        <a:spcBef>
          <a:spcPct val="20000"/>
        </a:spcBef>
        <a:spcAft>
          <a:spcPct val="0"/>
        </a:spcAft>
        <a:buClr>
          <a:schemeClr val="tx1"/>
        </a:buClr>
        <a:buChar char="–"/>
        <a:defRPr sz="2000">
          <a:solidFill>
            <a:schemeClr val="tx1"/>
          </a:solidFill>
          <a:latin typeface="+mn-lt"/>
        </a:defRPr>
      </a:lvl2pPr>
      <a:lvl3pPr marL="630238" indent="-168275" algn="l" rtl="0" eaLnBrk="1" fontAlgn="base" hangingPunct="1">
        <a:lnSpc>
          <a:spcPct val="90000"/>
        </a:lnSpc>
        <a:spcBef>
          <a:spcPct val="20000"/>
        </a:spcBef>
        <a:spcAft>
          <a:spcPct val="0"/>
        </a:spcAft>
        <a:buClr>
          <a:schemeClr val="tx1"/>
        </a:buClr>
        <a:buChar char="•"/>
        <a:defRPr sz="2000">
          <a:solidFill>
            <a:schemeClr val="tx1"/>
          </a:solidFill>
          <a:latin typeface="+mn-lt"/>
        </a:defRPr>
      </a:lvl3pPr>
      <a:lvl4pPr marL="869950" indent="-227013" algn="l" rtl="0" eaLnBrk="1" fontAlgn="base" hangingPunct="1">
        <a:lnSpc>
          <a:spcPct val="90000"/>
        </a:lnSpc>
        <a:spcBef>
          <a:spcPct val="20000"/>
        </a:spcBef>
        <a:spcAft>
          <a:spcPct val="0"/>
        </a:spcAft>
        <a:buClr>
          <a:schemeClr val="tx1"/>
        </a:buClr>
        <a:buChar char="–"/>
        <a:defRPr sz="1800">
          <a:solidFill>
            <a:schemeClr val="tx1"/>
          </a:solidFill>
          <a:latin typeface="+mn-lt"/>
        </a:defRPr>
      </a:lvl4pPr>
      <a:lvl5pPr marL="1042988" indent="-166688" algn="l" rtl="0" eaLnBrk="1" fontAlgn="base" hangingPunct="1">
        <a:lnSpc>
          <a:spcPct val="90000"/>
        </a:lnSpc>
        <a:spcBef>
          <a:spcPct val="20000"/>
        </a:spcBef>
        <a:spcAft>
          <a:spcPct val="0"/>
        </a:spcAft>
        <a:buClr>
          <a:schemeClr val="tx1"/>
        </a:buClr>
        <a:buChar char="•"/>
        <a:defRPr sz="18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hyperlink" Target="mailto:dcsc.chef-factory@accenture.com" TargetMode="External"/><Relationship Id="rId7"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18.png"/><Relationship Id="rId5" Type="http://schemas.openxmlformats.org/officeDocument/2006/relationships/image" Target="../media/image17.jpeg"/><Relationship Id="rId4" Type="http://schemas.openxmlformats.org/officeDocument/2006/relationships/hyperlink" Target="https://www.yammer.com/accenture.com/#/threads/inGroup?type=in_group&amp;feedId=2706693"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9.xml"/><Relationship Id="rId4" Type="http://schemas.openxmlformats.org/officeDocument/2006/relationships/image" Target="../media/image15.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sz="quarter"/>
          </p:nvPr>
        </p:nvSpPr>
        <p:spPr/>
        <p:txBody>
          <a:bodyPr/>
          <a:lstStyle/>
          <a:p>
            <a:r>
              <a:rPr lang="en-GB" b="1" dirty="0" smtClean="0"/>
              <a:t>Chef Factory</a:t>
            </a:r>
            <a:endParaRPr lang="en-GB" b="1" dirty="0"/>
          </a:p>
        </p:txBody>
      </p:sp>
    </p:spTree>
    <p:extLst>
      <p:ext uri="{BB962C8B-B14F-4D97-AF65-F5344CB8AC3E}">
        <p14:creationId xmlns:p14="http://schemas.microsoft.com/office/powerpoint/2010/main" val="392196472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dirty="0" smtClean="0"/>
              <a:t>Why                   ? </a:t>
            </a:r>
            <a:endParaRPr lang="en-GB" dirty="0"/>
          </a:p>
        </p:txBody>
      </p:sp>
      <p:sp>
        <p:nvSpPr>
          <p:cNvPr id="7" name="AutoShape 6"/>
          <p:cNvSpPr>
            <a:spLocks noChangeArrowheads="1"/>
          </p:cNvSpPr>
          <p:nvPr/>
        </p:nvSpPr>
        <p:spPr bwMode="auto">
          <a:xfrm>
            <a:off x="7099550" y="4560527"/>
            <a:ext cx="1648914" cy="753041"/>
          </a:xfrm>
          <a:prstGeom prst="homePlate">
            <a:avLst>
              <a:gd name="adj" fmla="val 13393"/>
            </a:avLst>
          </a:prstGeom>
          <a:solidFill>
            <a:schemeClr val="accent1">
              <a:lumMod val="40000"/>
              <a:lumOff val="60000"/>
            </a:schemeClr>
          </a:solidFill>
          <a:ln w="19050" cap="rnd" cmpd="tri">
            <a:solidFill>
              <a:schemeClr val="accent1"/>
            </a:solidFill>
            <a:miter lim="800000"/>
            <a:headEnd/>
            <a:tailEnd/>
          </a:ln>
          <a:effectLst/>
        </p:spPr>
        <p:txBody>
          <a:bodyPr wrap="none" lIns="72000" tIns="72000" rIns="72000" bIns="72000" anchor="ctr"/>
          <a:lstStyle/>
          <a:p>
            <a:pPr indent="85725" eaLnBrk="0" hangingPunct="0"/>
            <a:r>
              <a:rPr lang="en-GB" sz="1400" b="1" dirty="0">
                <a:solidFill>
                  <a:schemeClr val="tx1">
                    <a:lumMod val="75000"/>
                    <a:lumOff val="25000"/>
                  </a:schemeClr>
                </a:solidFill>
              </a:rPr>
              <a:t>Relationship </a:t>
            </a:r>
          </a:p>
          <a:p>
            <a:pPr indent="85725" eaLnBrk="0" hangingPunct="0"/>
            <a:r>
              <a:rPr lang="en-GB" sz="1400" b="1" dirty="0">
                <a:solidFill>
                  <a:schemeClr val="tx1">
                    <a:lumMod val="75000"/>
                    <a:lumOff val="25000"/>
                  </a:schemeClr>
                </a:solidFill>
              </a:rPr>
              <a:t>with Chef</a:t>
            </a:r>
          </a:p>
        </p:txBody>
      </p:sp>
      <p:sp>
        <p:nvSpPr>
          <p:cNvPr id="8" name="AutoShape 7"/>
          <p:cNvSpPr>
            <a:spLocks noChangeArrowheads="1"/>
          </p:cNvSpPr>
          <p:nvPr/>
        </p:nvSpPr>
        <p:spPr bwMode="auto">
          <a:xfrm>
            <a:off x="5510896" y="3897207"/>
            <a:ext cx="1797408" cy="749973"/>
          </a:xfrm>
          <a:prstGeom prst="homePlate">
            <a:avLst>
              <a:gd name="adj" fmla="val 13399"/>
            </a:avLst>
          </a:prstGeom>
          <a:solidFill>
            <a:schemeClr val="accent1">
              <a:lumMod val="40000"/>
              <a:lumOff val="60000"/>
            </a:schemeClr>
          </a:solidFill>
          <a:ln w="19050" cap="rnd" cmpd="tri">
            <a:solidFill>
              <a:schemeClr val="accent1"/>
            </a:solidFill>
            <a:miter lim="800000"/>
            <a:headEnd/>
            <a:tailEnd/>
          </a:ln>
          <a:effectLst/>
        </p:spPr>
        <p:txBody>
          <a:bodyPr wrap="none" lIns="72000" tIns="72000" rIns="72000" bIns="72000" anchor="ctr"/>
          <a:lstStyle/>
          <a:p>
            <a:pPr indent="85725" eaLnBrk="0" hangingPunct="0"/>
            <a:r>
              <a:rPr lang="en-GB" sz="1400" b="1" dirty="0">
                <a:solidFill>
                  <a:schemeClr val="tx1">
                    <a:lumMod val="75000"/>
                    <a:lumOff val="25000"/>
                  </a:schemeClr>
                </a:solidFill>
              </a:rPr>
              <a:t>Existing</a:t>
            </a:r>
          </a:p>
          <a:p>
            <a:pPr indent="85725" eaLnBrk="0" hangingPunct="0"/>
            <a:r>
              <a:rPr lang="en-GB" sz="1400" b="1" dirty="0">
                <a:solidFill>
                  <a:schemeClr val="tx1">
                    <a:lumMod val="75000"/>
                    <a:lumOff val="25000"/>
                  </a:schemeClr>
                </a:solidFill>
              </a:rPr>
              <a:t>Cookbooks  </a:t>
            </a:r>
          </a:p>
          <a:p>
            <a:pPr indent="85725" eaLnBrk="0" hangingPunct="0"/>
            <a:r>
              <a:rPr lang="en-GB" sz="1400" b="1" dirty="0">
                <a:solidFill>
                  <a:schemeClr val="tx1">
                    <a:lumMod val="75000"/>
                    <a:lumOff val="25000"/>
                  </a:schemeClr>
                </a:solidFill>
              </a:rPr>
              <a:t>Assets</a:t>
            </a:r>
          </a:p>
        </p:txBody>
      </p:sp>
      <p:sp>
        <p:nvSpPr>
          <p:cNvPr id="9" name="AutoShape 8"/>
          <p:cNvSpPr>
            <a:spLocks noChangeArrowheads="1"/>
          </p:cNvSpPr>
          <p:nvPr/>
        </p:nvSpPr>
        <p:spPr bwMode="auto">
          <a:xfrm>
            <a:off x="3485465" y="3233887"/>
            <a:ext cx="2241455" cy="749973"/>
          </a:xfrm>
          <a:prstGeom prst="homePlate">
            <a:avLst>
              <a:gd name="adj" fmla="val 13399"/>
            </a:avLst>
          </a:prstGeom>
          <a:solidFill>
            <a:schemeClr val="accent1">
              <a:lumMod val="40000"/>
              <a:lumOff val="60000"/>
            </a:schemeClr>
          </a:solidFill>
          <a:ln w="19050" cap="rnd" cmpd="tri">
            <a:solidFill>
              <a:schemeClr val="accent1"/>
            </a:solidFill>
            <a:miter lim="800000"/>
            <a:headEnd/>
            <a:tailEnd/>
          </a:ln>
          <a:effectLst/>
        </p:spPr>
        <p:txBody>
          <a:bodyPr wrap="none" lIns="72000" tIns="72000" rIns="72000" bIns="72000" anchor="ctr"/>
          <a:lstStyle/>
          <a:p>
            <a:pPr indent="85725" eaLnBrk="0" hangingPunct="0"/>
            <a:r>
              <a:rPr lang="en-GB" sz="1400" b="1" dirty="0">
                <a:solidFill>
                  <a:schemeClr val="tx1">
                    <a:lumMod val="75000"/>
                    <a:lumOff val="25000"/>
                  </a:schemeClr>
                </a:solidFill>
              </a:rPr>
              <a:t>Proven </a:t>
            </a:r>
          </a:p>
          <a:p>
            <a:pPr indent="85725" eaLnBrk="0" hangingPunct="0"/>
            <a:r>
              <a:rPr lang="en-GB" sz="1400" b="1" dirty="0">
                <a:solidFill>
                  <a:schemeClr val="tx1">
                    <a:lumMod val="75000"/>
                    <a:lumOff val="25000"/>
                  </a:schemeClr>
                </a:solidFill>
              </a:rPr>
              <a:t>Continuous  Delivery </a:t>
            </a:r>
          </a:p>
          <a:p>
            <a:pPr indent="85725" eaLnBrk="0" hangingPunct="0"/>
            <a:r>
              <a:rPr lang="en-GB" sz="1400" b="1" dirty="0">
                <a:solidFill>
                  <a:schemeClr val="tx1">
                    <a:lumMod val="75000"/>
                    <a:lumOff val="25000"/>
                  </a:schemeClr>
                </a:solidFill>
              </a:rPr>
              <a:t>model</a:t>
            </a:r>
          </a:p>
        </p:txBody>
      </p:sp>
      <p:sp>
        <p:nvSpPr>
          <p:cNvPr id="12" name="TextBox 11"/>
          <p:cNvSpPr txBox="1"/>
          <p:nvPr/>
        </p:nvSpPr>
        <p:spPr>
          <a:xfrm>
            <a:off x="827584" y="2780928"/>
            <a:ext cx="1152128" cy="3785652"/>
          </a:xfrm>
          <a:prstGeom prst="rect">
            <a:avLst/>
          </a:prstGeom>
          <a:noFill/>
        </p:spPr>
        <p:txBody>
          <a:bodyPr wrap="square" rtlCol="0">
            <a:spAutoFit/>
          </a:bodyPr>
          <a:lstStyle/>
          <a:p>
            <a:r>
              <a:rPr lang="en-GB" sz="1000" dirty="0" smtClean="0">
                <a:solidFill>
                  <a:schemeClr val="tx1">
                    <a:lumMod val="75000"/>
                    <a:lumOff val="25000"/>
                  </a:schemeClr>
                </a:solidFill>
              </a:rPr>
              <a:t>Team with proven DevOps experience in large- scale complex engagements.</a:t>
            </a:r>
          </a:p>
          <a:p>
            <a:endParaRPr lang="en-GB" sz="1000" dirty="0">
              <a:solidFill>
                <a:schemeClr val="tx1">
                  <a:lumMod val="75000"/>
                  <a:lumOff val="25000"/>
                </a:schemeClr>
              </a:solidFill>
            </a:endParaRPr>
          </a:p>
          <a:p>
            <a:r>
              <a:rPr lang="en-GB" sz="1000" dirty="0" smtClean="0">
                <a:solidFill>
                  <a:schemeClr val="tx1">
                    <a:lumMod val="75000"/>
                    <a:lumOff val="25000"/>
                  </a:schemeClr>
                </a:solidFill>
              </a:rPr>
              <a:t>Accenture Internal Technology Architecture certification</a:t>
            </a:r>
          </a:p>
          <a:p>
            <a:endParaRPr lang="en-GB" sz="1000" dirty="0">
              <a:solidFill>
                <a:schemeClr val="tx1">
                  <a:lumMod val="75000"/>
                  <a:lumOff val="25000"/>
                </a:schemeClr>
              </a:solidFill>
            </a:endParaRPr>
          </a:p>
          <a:p>
            <a:r>
              <a:rPr lang="en-GB" sz="1000" dirty="0" smtClean="0">
                <a:solidFill>
                  <a:schemeClr val="tx1">
                    <a:lumMod val="75000"/>
                    <a:lumOff val="25000"/>
                  </a:schemeClr>
                </a:solidFill>
              </a:rPr>
              <a:t>Technical and Management certification  promoted</a:t>
            </a:r>
          </a:p>
          <a:p>
            <a:endParaRPr lang="en-GB" sz="1000" dirty="0">
              <a:solidFill>
                <a:schemeClr val="tx1">
                  <a:lumMod val="75000"/>
                  <a:lumOff val="25000"/>
                </a:schemeClr>
              </a:solidFill>
            </a:endParaRPr>
          </a:p>
          <a:p>
            <a:r>
              <a:rPr lang="en-GB" sz="1000" dirty="0" smtClean="0">
                <a:solidFill>
                  <a:schemeClr val="tx1">
                    <a:lumMod val="75000"/>
                    <a:lumOff val="25000"/>
                  </a:schemeClr>
                </a:solidFill>
              </a:rPr>
              <a:t>Contributors in DevOps community</a:t>
            </a:r>
          </a:p>
          <a:p>
            <a:endParaRPr lang="en-GB" sz="1000" dirty="0">
              <a:solidFill>
                <a:schemeClr val="tx1">
                  <a:lumMod val="75000"/>
                  <a:lumOff val="25000"/>
                </a:schemeClr>
              </a:solidFill>
            </a:endParaRPr>
          </a:p>
          <a:p>
            <a:endParaRPr lang="en-GB" sz="1000" dirty="0" smtClean="0">
              <a:solidFill>
                <a:schemeClr val="tx1">
                  <a:lumMod val="75000"/>
                  <a:lumOff val="25000"/>
                </a:schemeClr>
              </a:solidFill>
            </a:endParaRPr>
          </a:p>
          <a:p>
            <a:r>
              <a:rPr lang="en-GB" sz="1000" b="0" dirty="0" smtClean="0">
                <a:solidFill>
                  <a:schemeClr val="tx1">
                    <a:lumMod val="75000"/>
                    <a:lumOff val="25000"/>
                  </a:schemeClr>
                </a:solidFill>
              </a:rPr>
              <a:t> </a:t>
            </a:r>
          </a:p>
        </p:txBody>
      </p:sp>
      <p:sp>
        <p:nvSpPr>
          <p:cNvPr id="2" name="Rectangle 1"/>
          <p:cNvSpPr/>
          <p:nvPr/>
        </p:nvSpPr>
        <p:spPr>
          <a:xfrm>
            <a:off x="7092280" y="5373216"/>
            <a:ext cx="1800200" cy="1477328"/>
          </a:xfrm>
          <a:prstGeom prst="rect">
            <a:avLst/>
          </a:prstGeom>
        </p:spPr>
        <p:txBody>
          <a:bodyPr wrap="square">
            <a:spAutoFit/>
          </a:bodyPr>
          <a:lstStyle/>
          <a:p>
            <a:r>
              <a:rPr lang="en-GB" sz="1000" dirty="0" smtClean="0">
                <a:solidFill>
                  <a:schemeClr val="tx1">
                    <a:lumMod val="75000"/>
                    <a:lumOff val="25000"/>
                  </a:schemeClr>
                </a:solidFill>
              </a:rPr>
              <a:t>We are part of the Chef open-source community, contributing back </a:t>
            </a:r>
            <a:r>
              <a:rPr lang="en-GB" sz="1000" dirty="0">
                <a:solidFill>
                  <a:schemeClr val="tx1">
                    <a:lumMod val="75000"/>
                    <a:lumOff val="25000"/>
                  </a:schemeClr>
                </a:solidFill>
              </a:rPr>
              <a:t>a number of fixes and </a:t>
            </a:r>
            <a:r>
              <a:rPr lang="en-GB" sz="1000" dirty="0" smtClean="0">
                <a:solidFill>
                  <a:schemeClr val="tx1">
                    <a:lumMod val="75000"/>
                    <a:lumOff val="25000"/>
                  </a:schemeClr>
                </a:solidFill>
              </a:rPr>
              <a:t>enhancements to recipes and addressing </a:t>
            </a:r>
            <a:r>
              <a:rPr lang="en-GB" sz="1000" dirty="0">
                <a:solidFill>
                  <a:schemeClr val="tx1">
                    <a:lumMod val="75000"/>
                    <a:lumOff val="25000"/>
                  </a:schemeClr>
                </a:solidFill>
              </a:rPr>
              <a:t>technologies such as Hybris, JBoss, </a:t>
            </a:r>
            <a:r>
              <a:rPr lang="en-GB" sz="1000" dirty="0" smtClean="0">
                <a:solidFill>
                  <a:schemeClr val="tx1">
                    <a:lumMod val="75000"/>
                    <a:lumOff val="25000"/>
                  </a:schemeClr>
                </a:solidFill>
              </a:rPr>
              <a:t>WebSphere, </a:t>
            </a:r>
            <a:r>
              <a:rPr lang="en-GB" sz="1000" dirty="0" err="1" smtClean="0">
                <a:solidFill>
                  <a:schemeClr val="tx1">
                    <a:lumMod val="75000"/>
                    <a:lumOff val="25000"/>
                  </a:schemeClr>
                </a:solidFill>
              </a:rPr>
              <a:t>Liferay</a:t>
            </a:r>
            <a:endParaRPr lang="en-GB" sz="1000" dirty="0">
              <a:solidFill>
                <a:schemeClr val="tx1">
                  <a:lumMod val="75000"/>
                  <a:lumOff val="25000"/>
                </a:schemeClr>
              </a:solidFill>
            </a:endParaRPr>
          </a:p>
          <a:p>
            <a:pPr algn="just"/>
            <a:endParaRPr lang="en-GB" sz="2000" dirty="0">
              <a:solidFill>
                <a:schemeClr val="tx1">
                  <a:lumMod val="75000"/>
                  <a:lumOff val="25000"/>
                </a:schemeClr>
              </a:solidFill>
            </a:endParaRPr>
          </a:p>
        </p:txBody>
      </p:sp>
      <p:sp>
        <p:nvSpPr>
          <p:cNvPr id="6" name="Rectangle 5"/>
          <p:cNvSpPr/>
          <p:nvPr/>
        </p:nvSpPr>
        <p:spPr>
          <a:xfrm>
            <a:off x="2141983" y="3429000"/>
            <a:ext cx="1343481" cy="2708434"/>
          </a:xfrm>
          <a:prstGeom prst="rect">
            <a:avLst/>
          </a:prstGeom>
        </p:spPr>
        <p:txBody>
          <a:bodyPr wrap="square">
            <a:spAutoFit/>
          </a:bodyPr>
          <a:lstStyle/>
          <a:p>
            <a:r>
              <a:rPr lang="en-GB" sz="1000" dirty="0" smtClean="0">
                <a:solidFill>
                  <a:schemeClr val="tx1">
                    <a:lumMod val="75000"/>
                    <a:lumOff val="25000"/>
                  </a:schemeClr>
                </a:solidFill>
              </a:rPr>
              <a:t>Global model drives lower cost by encouraging the  use of industrialised  processes and tools. </a:t>
            </a:r>
          </a:p>
          <a:p>
            <a:endParaRPr lang="en-GB" sz="1000" dirty="0">
              <a:solidFill>
                <a:schemeClr val="tx1">
                  <a:lumMod val="75000"/>
                  <a:lumOff val="25000"/>
                </a:schemeClr>
              </a:solidFill>
            </a:endParaRPr>
          </a:p>
          <a:p>
            <a:r>
              <a:rPr lang="en-GB" sz="1000" dirty="0" smtClean="0">
                <a:solidFill>
                  <a:schemeClr val="tx1">
                    <a:lumMod val="75000"/>
                    <a:lumOff val="25000"/>
                  </a:schemeClr>
                </a:solidFill>
              </a:rPr>
              <a:t>100</a:t>
            </a:r>
            <a:r>
              <a:rPr lang="en-GB" sz="1000" dirty="0">
                <a:solidFill>
                  <a:schemeClr val="tx1">
                    <a:lumMod val="75000"/>
                    <a:lumOff val="25000"/>
                  </a:schemeClr>
                </a:solidFill>
              </a:rPr>
              <a:t>% coverage of world time-zones providing core industry knowledge and specialist skillsets</a:t>
            </a:r>
            <a:r>
              <a:rPr lang="en-GB" sz="1000" dirty="0" smtClean="0">
                <a:solidFill>
                  <a:schemeClr val="tx1">
                    <a:lumMod val="75000"/>
                    <a:lumOff val="25000"/>
                  </a:schemeClr>
                </a:solidFill>
              </a:rPr>
              <a:t>.</a:t>
            </a:r>
          </a:p>
          <a:p>
            <a:endParaRPr lang="en-GB" sz="1000" dirty="0" smtClean="0">
              <a:solidFill>
                <a:schemeClr val="tx1">
                  <a:lumMod val="75000"/>
                  <a:lumOff val="25000"/>
                </a:schemeClr>
              </a:solidFill>
            </a:endParaRPr>
          </a:p>
          <a:p>
            <a:r>
              <a:rPr lang="en-GB" sz="1000" dirty="0" smtClean="0">
                <a:solidFill>
                  <a:schemeClr val="tx1">
                    <a:lumMod val="75000"/>
                    <a:lumOff val="25000"/>
                  </a:schemeClr>
                </a:solidFill>
              </a:rPr>
              <a:t>Managed services optimises  productivity and reduce cost to serve</a:t>
            </a:r>
            <a:endParaRPr lang="en-GB" sz="1000" dirty="0">
              <a:solidFill>
                <a:schemeClr val="tx1">
                  <a:lumMod val="75000"/>
                  <a:lumOff val="25000"/>
                </a:schemeClr>
              </a:solidFill>
            </a:endParaRPr>
          </a:p>
        </p:txBody>
      </p:sp>
      <p:sp>
        <p:nvSpPr>
          <p:cNvPr id="13" name="Rectangle 12"/>
          <p:cNvSpPr/>
          <p:nvPr/>
        </p:nvSpPr>
        <p:spPr>
          <a:xfrm>
            <a:off x="3635896" y="4139495"/>
            <a:ext cx="1872208" cy="2092881"/>
          </a:xfrm>
          <a:prstGeom prst="rect">
            <a:avLst/>
          </a:prstGeom>
        </p:spPr>
        <p:txBody>
          <a:bodyPr wrap="square">
            <a:spAutoFit/>
          </a:bodyPr>
          <a:lstStyle/>
          <a:p>
            <a:r>
              <a:rPr lang="en-GB" sz="1000" dirty="0" smtClean="0">
                <a:solidFill>
                  <a:schemeClr val="tx1">
                    <a:lumMod val="75000"/>
                    <a:lumOff val="25000"/>
                  </a:schemeClr>
                </a:solidFill>
              </a:rPr>
              <a:t>Tightly related to Agile methodology, Continuous </a:t>
            </a:r>
            <a:r>
              <a:rPr lang="en-GB" sz="1000" dirty="0">
                <a:solidFill>
                  <a:schemeClr val="tx1">
                    <a:lumMod val="75000"/>
                    <a:lumOff val="25000"/>
                  </a:schemeClr>
                </a:solidFill>
              </a:rPr>
              <a:t>Delivery </a:t>
            </a:r>
            <a:r>
              <a:rPr lang="en-GB" sz="1000" dirty="0" smtClean="0">
                <a:solidFill>
                  <a:schemeClr val="tx1">
                    <a:lumMod val="75000"/>
                    <a:lumOff val="25000"/>
                  </a:schemeClr>
                </a:solidFill>
              </a:rPr>
              <a:t>is now </a:t>
            </a:r>
            <a:r>
              <a:rPr lang="en-GB" sz="1000" dirty="0">
                <a:solidFill>
                  <a:schemeClr val="tx1">
                    <a:lumMod val="75000"/>
                    <a:lumOff val="25000"/>
                  </a:schemeClr>
                </a:solidFill>
              </a:rPr>
              <a:t>emerging as major </a:t>
            </a:r>
            <a:r>
              <a:rPr lang="en-GB" sz="1000" dirty="0" smtClean="0">
                <a:solidFill>
                  <a:schemeClr val="tx1">
                    <a:lumMod val="75000"/>
                    <a:lumOff val="25000"/>
                  </a:schemeClr>
                </a:solidFill>
              </a:rPr>
              <a:t>trend </a:t>
            </a:r>
            <a:r>
              <a:rPr lang="en-GB" sz="1000" dirty="0">
                <a:solidFill>
                  <a:schemeClr val="tx1">
                    <a:lumMod val="75000"/>
                    <a:lumOff val="25000"/>
                  </a:schemeClr>
                </a:solidFill>
              </a:rPr>
              <a:t>in the software development </a:t>
            </a:r>
            <a:r>
              <a:rPr lang="en-GB" sz="1000" dirty="0" smtClean="0">
                <a:solidFill>
                  <a:schemeClr val="tx1">
                    <a:lumMod val="75000"/>
                    <a:lumOff val="25000"/>
                  </a:schemeClr>
                </a:solidFill>
              </a:rPr>
              <a:t>industry.</a:t>
            </a:r>
          </a:p>
          <a:p>
            <a:endParaRPr lang="en-GB" sz="1000" dirty="0">
              <a:solidFill>
                <a:schemeClr val="tx1">
                  <a:lumMod val="75000"/>
                  <a:lumOff val="25000"/>
                </a:schemeClr>
              </a:solidFill>
            </a:endParaRPr>
          </a:p>
          <a:p>
            <a:r>
              <a:rPr lang="en-GB" sz="1000" dirty="0" smtClean="0">
                <a:solidFill>
                  <a:schemeClr val="tx1">
                    <a:lumMod val="75000"/>
                    <a:lumOff val="25000"/>
                  </a:schemeClr>
                </a:solidFill>
              </a:rPr>
              <a:t>The Chef Factory has proven experience supporting projects using Chef and similar tools that allow Continuous Delivery </a:t>
            </a:r>
          </a:p>
          <a:p>
            <a:endParaRPr lang="en-GB" sz="1000" dirty="0">
              <a:solidFill>
                <a:schemeClr val="tx1">
                  <a:lumMod val="75000"/>
                  <a:lumOff val="25000"/>
                </a:schemeClr>
              </a:solidFill>
            </a:endParaRPr>
          </a:p>
          <a:p>
            <a:endParaRPr lang="en-GB" sz="1000" dirty="0">
              <a:solidFill>
                <a:schemeClr val="tx1">
                  <a:lumMod val="75000"/>
                  <a:lumOff val="25000"/>
                </a:schemeClr>
              </a:solidFill>
            </a:endParaRPr>
          </a:p>
        </p:txBody>
      </p:sp>
      <p:sp>
        <p:nvSpPr>
          <p:cNvPr id="14" name="Rectangle 13"/>
          <p:cNvSpPr/>
          <p:nvPr/>
        </p:nvSpPr>
        <p:spPr>
          <a:xfrm>
            <a:off x="5508104" y="4725144"/>
            <a:ext cx="1591446" cy="2246769"/>
          </a:xfrm>
          <a:prstGeom prst="rect">
            <a:avLst/>
          </a:prstGeom>
        </p:spPr>
        <p:txBody>
          <a:bodyPr wrap="square">
            <a:spAutoFit/>
          </a:bodyPr>
          <a:lstStyle/>
          <a:p>
            <a:r>
              <a:rPr lang="en-GB" sz="1000" dirty="0" smtClean="0">
                <a:solidFill>
                  <a:schemeClr val="tx1">
                    <a:lumMod val="75000"/>
                    <a:lumOff val="25000"/>
                  </a:schemeClr>
                </a:solidFill>
              </a:rPr>
              <a:t>The number of existing cookbooks developed by the Accenture Chef Factory is continuously increasing. </a:t>
            </a:r>
          </a:p>
          <a:p>
            <a:endParaRPr lang="en-GB" sz="1000" dirty="0">
              <a:solidFill>
                <a:schemeClr val="tx1">
                  <a:lumMod val="75000"/>
                  <a:lumOff val="25000"/>
                </a:schemeClr>
              </a:solidFill>
            </a:endParaRPr>
          </a:p>
          <a:p>
            <a:r>
              <a:rPr lang="en-GB" sz="1000" dirty="0" smtClean="0">
                <a:solidFill>
                  <a:schemeClr val="tx1">
                    <a:lumMod val="75000"/>
                    <a:lumOff val="25000"/>
                  </a:schemeClr>
                </a:solidFill>
              </a:rPr>
              <a:t>Cookbooks and Recipes are developed in an industrialised / low-cost way</a:t>
            </a:r>
          </a:p>
          <a:p>
            <a:endParaRPr lang="en-GB" sz="1000" dirty="0">
              <a:solidFill>
                <a:schemeClr val="tx1">
                  <a:lumMod val="75000"/>
                  <a:lumOff val="25000"/>
                </a:schemeClr>
              </a:solidFill>
            </a:endParaRPr>
          </a:p>
          <a:p>
            <a:r>
              <a:rPr lang="en-GB" sz="1000" dirty="0" smtClean="0">
                <a:solidFill>
                  <a:schemeClr val="tx1">
                    <a:lumMod val="75000"/>
                    <a:lumOff val="25000"/>
                  </a:schemeClr>
                </a:solidFill>
              </a:rPr>
              <a:t>Flexible model for reuse </a:t>
            </a:r>
          </a:p>
          <a:p>
            <a:endParaRPr lang="en-GB" sz="1000" dirty="0">
              <a:solidFill>
                <a:schemeClr val="tx1">
                  <a:lumMod val="75000"/>
                  <a:lumOff val="25000"/>
                </a:schemeClr>
              </a:solidFill>
            </a:endParaRPr>
          </a:p>
          <a:p>
            <a:endParaRPr lang="en-GB" sz="1000" dirty="0">
              <a:solidFill>
                <a:schemeClr val="tx1">
                  <a:lumMod val="75000"/>
                  <a:lumOff val="25000"/>
                </a:schemeClr>
              </a:solidFill>
            </a:endParaRPr>
          </a:p>
        </p:txBody>
      </p:sp>
      <p:cxnSp>
        <p:nvCxnSpPr>
          <p:cNvPr id="16" name="Straight Connector 15"/>
          <p:cNvCxnSpPr/>
          <p:nvPr/>
        </p:nvCxnSpPr>
        <p:spPr bwMode="auto">
          <a:xfrm>
            <a:off x="2157291" y="3140968"/>
            <a:ext cx="0" cy="3453927"/>
          </a:xfrm>
          <a:prstGeom prst="line">
            <a:avLst/>
          </a:prstGeom>
          <a:solidFill>
            <a:schemeClr val="accent1"/>
          </a:solidFill>
          <a:ln w="19050" cap="flat" cmpd="sng" algn="ctr">
            <a:solidFill>
              <a:schemeClr val="accent1"/>
            </a:solidFill>
            <a:prstDash val="dash"/>
            <a:round/>
            <a:headEnd type="none" w="med" len="med"/>
            <a:tailEnd type="none" w="med" len="med"/>
          </a:ln>
          <a:effectLst/>
        </p:spPr>
      </p:cxnSp>
      <p:sp>
        <p:nvSpPr>
          <p:cNvPr id="10" name="AutoShape 9"/>
          <p:cNvSpPr>
            <a:spLocks noChangeArrowheads="1"/>
          </p:cNvSpPr>
          <p:nvPr/>
        </p:nvSpPr>
        <p:spPr bwMode="auto">
          <a:xfrm>
            <a:off x="2157291" y="2570567"/>
            <a:ext cx="1576631" cy="749973"/>
          </a:xfrm>
          <a:prstGeom prst="homePlate">
            <a:avLst>
              <a:gd name="adj" fmla="val 13402"/>
            </a:avLst>
          </a:prstGeom>
          <a:solidFill>
            <a:schemeClr val="accent1">
              <a:lumMod val="40000"/>
              <a:lumOff val="60000"/>
            </a:schemeClr>
          </a:solidFill>
          <a:ln w="19050" cap="rnd" cmpd="tri">
            <a:solidFill>
              <a:schemeClr val="accent1"/>
            </a:solidFill>
            <a:miter lim="800000"/>
            <a:headEnd/>
            <a:tailEnd/>
          </a:ln>
          <a:effectLst/>
        </p:spPr>
        <p:txBody>
          <a:bodyPr wrap="none" lIns="72000" tIns="72000" rIns="72000" bIns="72000" anchor="ctr"/>
          <a:lstStyle/>
          <a:p>
            <a:pPr indent="85725" eaLnBrk="0" hangingPunct="0"/>
            <a:r>
              <a:rPr lang="en-GB" sz="1400" b="1" dirty="0">
                <a:solidFill>
                  <a:schemeClr val="tx1">
                    <a:lumMod val="75000"/>
                    <a:lumOff val="25000"/>
                  </a:schemeClr>
                </a:solidFill>
              </a:rPr>
              <a:t>Global Model </a:t>
            </a:r>
          </a:p>
          <a:p>
            <a:pPr indent="85725" eaLnBrk="0" hangingPunct="0"/>
            <a:r>
              <a:rPr lang="en-GB" sz="1400" b="1" dirty="0">
                <a:solidFill>
                  <a:schemeClr val="tx1">
                    <a:lumMod val="75000"/>
                    <a:lumOff val="25000"/>
                  </a:schemeClr>
                </a:solidFill>
              </a:rPr>
              <a:t>(lower cost)</a:t>
            </a:r>
          </a:p>
        </p:txBody>
      </p:sp>
      <p:cxnSp>
        <p:nvCxnSpPr>
          <p:cNvPr id="17" name="Straight Connector 16"/>
          <p:cNvCxnSpPr/>
          <p:nvPr/>
        </p:nvCxnSpPr>
        <p:spPr bwMode="auto">
          <a:xfrm>
            <a:off x="3485465" y="3745841"/>
            <a:ext cx="6415" cy="2849054"/>
          </a:xfrm>
          <a:prstGeom prst="line">
            <a:avLst/>
          </a:prstGeom>
          <a:solidFill>
            <a:schemeClr val="accent1"/>
          </a:solidFill>
          <a:ln w="19050" cap="flat" cmpd="sng" algn="ctr">
            <a:solidFill>
              <a:schemeClr val="accent1"/>
            </a:solidFill>
            <a:prstDash val="dash"/>
            <a:round/>
            <a:headEnd type="none" w="med" len="med"/>
            <a:tailEnd type="none" w="med" len="med"/>
          </a:ln>
          <a:effectLst/>
        </p:spPr>
      </p:cxnSp>
      <p:cxnSp>
        <p:nvCxnSpPr>
          <p:cNvPr id="19" name="Straight Connector 18"/>
          <p:cNvCxnSpPr/>
          <p:nvPr/>
        </p:nvCxnSpPr>
        <p:spPr bwMode="auto">
          <a:xfrm>
            <a:off x="5510896" y="4413874"/>
            <a:ext cx="0" cy="2181021"/>
          </a:xfrm>
          <a:prstGeom prst="line">
            <a:avLst/>
          </a:prstGeom>
          <a:solidFill>
            <a:schemeClr val="accent1"/>
          </a:solidFill>
          <a:ln w="19050" cap="flat" cmpd="sng" algn="ctr">
            <a:solidFill>
              <a:schemeClr val="accent1"/>
            </a:solidFill>
            <a:prstDash val="dash"/>
            <a:round/>
            <a:headEnd type="none" w="med" len="med"/>
            <a:tailEnd type="none" w="med" len="med"/>
          </a:ln>
          <a:effectLst/>
        </p:spPr>
      </p:cxnSp>
      <p:cxnSp>
        <p:nvCxnSpPr>
          <p:cNvPr id="21" name="Straight Connector 20"/>
          <p:cNvCxnSpPr/>
          <p:nvPr/>
        </p:nvCxnSpPr>
        <p:spPr bwMode="auto">
          <a:xfrm>
            <a:off x="7099550" y="5075549"/>
            <a:ext cx="0" cy="1519346"/>
          </a:xfrm>
          <a:prstGeom prst="line">
            <a:avLst/>
          </a:prstGeom>
          <a:solidFill>
            <a:schemeClr val="accent1"/>
          </a:solidFill>
          <a:ln w="19050" cap="flat" cmpd="sng" algn="ctr">
            <a:solidFill>
              <a:schemeClr val="accent1"/>
            </a:solidFill>
            <a:prstDash val="dash"/>
            <a:round/>
            <a:headEnd type="none" w="med" len="med"/>
            <a:tailEnd type="none" w="med" len="med"/>
          </a:ln>
          <a:effectLst/>
        </p:spPr>
      </p:cxnSp>
      <p:sp>
        <p:nvSpPr>
          <p:cNvPr id="11" name="AutoShape 10"/>
          <p:cNvSpPr>
            <a:spLocks noChangeArrowheads="1"/>
          </p:cNvSpPr>
          <p:nvPr/>
        </p:nvSpPr>
        <p:spPr bwMode="auto">
          <a:xfrm>
            <a:off x="827584" y="1907247"/>
            <a:ext cx="1575097" cy="749973"/>
          </a:xfrm>
          <a:prstGeom prst="homePlate">
            <a:avLst>
              <a:gd name="adj" fmla="val 13399"/>
            </a:avLst>
          </a:prstGeom>
          <a:solidFill>
            <a:schemeClr val="accent1">
              <a:lumMod val="40000"/>
              <a:lumOff val="60000"/>
            </a:schemeClr>
          </a:solidFill>
          <a:ln w="19050" cap="rnd" cmpd="tri">
            <a:solidFill>
              <a:schemeClr val="accent1"/>
            </a:solidFill>
            <a:miter lim="800000"/>
            <a:headEnd/>
            <a:tailEnd/>
          </a:ln>
          <a:effectLst/>
        </p:spPr>
        <p:txBody>
          <a:bodyPr wrap="none" lIns="72000" tIns="72000" rIns="72000" bIns="72000" anchor="ctr"/>
          <a:lstStyle/>
          <a:p>
            <a:pPr indent="85725" eaLnBrk="0" hangingPunct="0"/>
            <a:r>
              <a:rPr lang="en-GB" sz="1400" b="1" dirty="0" smtClean="0">
                <a:solidFill>
                  <a:schemeClr val="tx1">
                    <a:lumMod val="75000"/>
                    <a:lumOff val="25000"/>
                  </a:schemeClr>
                </a:solidFill>
              </a:rPr>
              <a:t>Skilled People</a:t>
            </a:r>
            <a:endParaRPr lang="en-GB" sz="1400" b="1" dirty="0">
              <a:solidFill>
                <a:schemeClr val="tx1">
                  <a:lumMod val="75000"/>
                  <a:lumOff val="25000"/>
                </a:schemeClr>
              </a:solidFill>
            </a:endParaRPr>
          </a:p>
        </p:txBody>
      </p:sp>
      <p:pic>
        <p:nvPicPr>
          <p:cNvPr id="22" name="Picture 2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59632" y="510131"/>
            <a:ext cx="1727835" cy="304165"/>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22"/>
          <p:cNvSpPr>
            <a:spLocks noChangeAspect="1"/>
          </p:cNvSpPr>
          <p:nvPr/>
        </p:nvSpPr>
        <p:spPr bwMode="auto">
          <a:xfrm>
            <a:off x="2274362" y="332656"/>
            <a:ext cx="165735" cy="169545"/>
          </a:xfrm>
          <a:custGeom>
            <a:avLst/>
            <a:gdLst>
              <a:gd name="T0" fmla="*/ 18 w 4465956"/>
              <a:gd name="T1" fmla="*/ 0 h 4569668"/>
              <a:gd name="T2" fmla="*/ 210199 w 4465956"/>
              <a:gd name="T3" fmla="*/ 85527 h 4569668"/>
              <a:gd name="T4" fmla="*/ 210199 w 4465956"/>
              <a:gd name="T5" fmla="*/ 129914 h 4569668"/>
              <a:gd name="T6" fmla="*/ 31 w 4465956"/>
              <a:gd name="T7" fmla="*/ 215102 h 4569668"/>
              <a:gd name="T8" fmla="*/ 31 w 4465956"/>
              <a:gd name="T9" fmla="*/ 167016 h 4569668"/>
              <a:gd name="T10" fmla="*/ 153332 w 4465956"/>
              <a:gd name="T11" fmla="*/ 107945 h 4569668"/>
              <a:gd name="T12" fmla="*/ 24 w 4465956"/>
              <a:gd name="T13" fmla="*/ 48388 h 4569668"/>
              <a:gd name="T14" fmla="*/ 18 w 4465956"/>
              <a:gd name="T15" fmla="*/ 0 h 4569668"/>
              <a:gd name="T16" fmla="*/ 0 60000 65536"/>
              <a:gd name="T17" fmla="*/ 0 60000 65536"/>
              <a:gd name="T18" fmla="*/ 0 60000 65536"/>
              <a:gd name="T19" fmla="*/ 0 60000 65536"/>
              <a:gd name="T20" fmla="*/ 0 60000 65536"/>
              <a:gd name="T21" fmla="*/ 0 60000 65536"/>
              <a:gd name="T22" fmla="*/ 0 60000 65536"/>
              <a:gd name="T23" fmla="*/ 0 60000 65536"/>
              <a:gd name="T24" fmla="*/ 0 w 4465956"/>
              <a:gd name="T25" fmla="*/ 0 h 4569668"/>
              <a:gd name="T26" fmla="*/ 4465956 w 4465956"/>
              <a:gd name="T27" fmla="*/ 4569668 h 456966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050"/>
          </a:solidFill>
          <a:ln>
            <a:noFill/>
          </a:ln>
          <a:extLst/>
        </p:spPr>
        <p:txBody>
          <a:bodyPr rot="0" vert="horz" wrap="square" lIns="91440" tIns="45720" rIns="91440" bIns="45720" anchor="ctr" anchorCtr="0" upright="1">
            <a:noAutofit/>
          </a:bodyPr>
          <a:lstStyle/>
          <a:p>
            <a:pPr>
              <a:spcAft>
                <a:spcPts val="0"/>
              </a:spcAft>
            </a:pPr>
            <a:r>
              <a:rPr lang="en-US" sz="1200">
                <a:effectLst/>
                <a:latin typeface="Cambria"/>
                <a:ea typeface="Times New Roman"/>
                <a:cs typeface="Times New Roman"/>
              </a:rPr>
              <a:t> </a:t>
            </a:r>
            <a:endParaRPr lang="en-GB" sz="1200">
              <a:effectLst/>
              <a:latin typeface="Cambria"/>
              <a:ea typeface="Cambria"/>
              <a:cs typeface="Times New Roman"/>
            </a:endParaRPr>
          </a:p>
        </p:txBody>
      </p:sp>
      <p:sp>
        <p:nvSpPr>
          <p:cNvPr id="3" name="Rectangle 2"/>
          <p:cNvSpPr/>
          <p:nvPr/>
        </p:nvSpPr>
        <p:spPr>
          <a:xfrm>
            <a:off x="323528" y="1199074"/>
            <a:ext cx="8496944" cy="430887"/>
          </a:xfrm>
          <a:prstGeom prst="rect">
            <a:avLst/>
          </a:prstGeom>
        </p:spPr>
        <p:txBody>
          <a:bodyPr wrap="square">
            <a:spAutoFit/>
          </a:bodyPr>
          <a:lstStyle/>
          <a:p>
            <a:r>
              <a:rPr lang="en-GB" sz="1100" dirty="0">
                <a:solidFill>
                  <a:schemeClr val="tx1">
                    <a:lumMod val="75000"/>
                    <a:lumOff val="25000"/>
                  </a:schemeClr>
                </a:solidFill>
              </a:rPr>
              <a:t>Accenture is a global management consulting, technology services and outsourcing company, with approximately 275,000 people serving clients in more than 120 countries</a:t>
            </a:r>
            <a:r>
              <a:rPr lang="en-GB" sz="1000" dirty="0"/>
              <a:t>. </a:t>
            </a:r>
          </a:p>
        </p:txBody>
      </p:sp>
      <p:sp>
        <p:nvSpPr>
          <p:cNvPr id="4" name="Rectangle 3"/>
          <p:cNvSpPr/>
          <p:nvPr/>
        </p:nvSpPr>
        <p:spPr>
          <a:xfrm>
            <a:off x="3526072" y="1629961"/>
            <a:ext cx="5006368" cy="430887"/>
          </a:xfrm>
          <a:prstGeom prst="rect">
            <a:avLst/>
          </a:prstGeom>
        </p:spPr>
        <p:txBody>
          <a:bodyPr wrap="square">
            <a:spAutoFit/>
          </a:bodyPr>
          <a:lstStyle/>
          <a:p>
            <a:r>
              <a:rPr lang="en-GB" sz="1100" dirty="0" smtClean="0">
                <a:solidFill>
                  <a:schemeClr val="tx1">
                    <a:lumMod val="75000"/>
                    <a:lumOff val="25000"/>
                  </a:schemeClr>
                </a:solidFill>
              </a:rPr>
              <a:t>Accenture </a:t>
            </a:r>
            <a:r>
              <a:rPr lang="en-GB" sz="1100" dirty="0">
                <a:solidFill>
                  <a:schemeClr val="tx1">
                    <a:lumMod val="75000"/>
                    <a:lumOff val="25000"/>
                  </a:schemeClr>
                </a:solidFill>
              </a:rPr>
              <a:t>collaborates with clients to help them become high-performance businesses and governments</a:t>
            </a:r>
            <a:r>
              <a:rPr lang="en-GB" sz="1050" dirty="0">
                <a:solidFill>
                  <a:schemeClr val="tx1">
                    <a:lumMod val="75000"/>
                    <a:lumOff val="25000"/>
                  </a:schemeClr>
                </a:solidFill>
              </a:rPr>
              <a:t>. </a:t>
            </a:r>
            <a:endParaRPr lang="en-GB" sz="1050" dirty="0"/>
          </a:p>
        </p:txBody>
      </p:sp>
    </p:spTree>
    <p:extLst>
      <p:ext uri="{BB962C8B-B14F-4D97-AF65-F5344CB8AC3E}">
        <p14:creationId xmlns:p14="http://schemas.microsoft.com/office/powerpoint/2010/main" val="64924552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Service Lines</a:t>
            </a:r>
            <a:endParaRPr lang="en-GB" dirty="0"/>
          </a:p>
        </p:txBody>
      </p:sp>
      <p:graphicFrame>
        <p:nvGraphicFramePr>
          <p:cNvPr id="4" name="Table 3"/>
          <p:cNvGraphicFramePr>
            <a:graphicFrameLocks noGrp="1"/>
          </p:cNvGraphicFramePr>
          <p:nvPr>
            <p:extLst>
              <p:ext uri="{D42A27DB-BD31-4B8C-83A1-F6EECF244321}">
                <p14:modId xmlns:p14="http://schemas.microsoft.com/office/powerpoint/2010/main" val="2675036161"/>
              </p:ext>
            </p:extLst>
          </p:nvPr>
        </p:nvGraphicFramePr>
        <p:xfrm>
          <a:off x="323528" y="1412776"/>
          <a:ext cx="8496944" cy="4598296"/>
        </p:xfrm>
        <a:graphic>
          <a:graphicData uri="http://schemas.openxmlformats.org/drawingml/2006/table">
            <a:tbl>
              <a:tblPr firstRow="1" bandRow="1">
                <a:tableStyleId>{3B4B98B0-60AC-42C2-AFA5-B58CD77FA1E5}</a:tableStyleId>
              </a:tblPr>
              <a:tblGrid>
                <a:gridCol w="2016224"/>
                <a:gridCol w="4536504"/>
                <a:gridCol w="1944216"/>
              </a:tblGrid>
              <a:tr h="403131">
                <a:tc>
                  <a:txBody>
                    <a:bodyPr/>
                    <a:lstStyle/>
                    <a:p>
                      <a:pPr marL="82550" indent="0" algn="l" fontAlgn="b"/>
                      <a:r>
                        <a:rPr lang="en-GB" sz="1400" u="none" strike="noStrike" dirty="0" smtClean="0">
                          <a:effectLst/>
                        </a:rPr>
                        <a:t>Service Lines</a:t>
                      </a:r>
                      <a:endParaRPr lang="en-GB" sz="1400" b="1" i="0" u="none" strike="noStrike" dirty="0">
                        <a:solidFill>
                          <a:schemeClr val="tx1"/>
                        </a:solidFill>
                        <a:effectLst/>
                        <a:latin typeface="Calibri"/>
                      </a:endParaRPr>
                    </a:p>
                  </a:txBody>
                  <a:tcPr marL="7416" marR="7416" marT="7416" marB="0" anchor="ctr"/>
                </a:tc>
                <a:tc>
                  <a:txBody>
                    <a:bodyPr/>
                    <a:lstStyle/>
                    <a:p>
                      <a:pPr marL="82550" indent="0" algn="l" fontAlgn="b"/>
                      <a:r>
                        <a:rPr lang="en-GB" sz="1400" u="none" strike="noStrike" dirty="0" smtClean="0">
                          <a:effectLst/>
                        </a:rPr>
                        <a:t>Offering</a:t>
                      </a:r>
                      <a:endParaRPr lang="en-GB" sz="1400" b="1" i="0" u="none" strike="noStrike" dirty="0">
                        <a:solidFill>
                          <a:schemeClr val="tx1"/>
                        </a:solidFill>
                        <a:effectLst/>
                        <a:latin typeface="Calibri"/>
                      </a:endParaRPr>
                    </a:p>
                  </a:txBody>
                  <a:tcPr marL="7416" marR="7416" marT="7416" marB="0" anchor="ctr"/>
                </a:tc>
                <a:tc>
                  <a:txBody>
                    <a:bodyPr/>
                    <a:lstStyle/>
                    <a:p>
                      <a:pPr marL="82550" indent="0" algn="l" fontAlgn="b"/>
                      <a:r>
                        <a:rPr lang="en-GB" sz="1400" b="1" i="0" u="none" strike="noStrike" dirty="0" smtClean="0">
                          <a:solidFill>
                            <a:schemeClr val="tx1"/>
                          </a:solidFill>
                          <a:effectLst/>
                          <a:latin typeface="+mn-lt"/>
                        </a:rPr>
                        <a:t>Typical Deployment</a:t>
                      </a:r>
                      <a:endParaRPr lang="en-GB" sz="1400" b="1" i="0" u="none" strike="noStrike" dirty="0">
                        <a:solidFill>
                          <a:schemeClr val="tx1"/>
                        </a:solidFill>
                        <a:effectLst/>
                        <a:latin typeface="+mn-lt"/>
                      </a:endParaRPr>
                    </a:p>
                  </a:txBody>
                  <a:tcPr marL="7416" marR="7416" marT="7416" marB="0" anchor="ctr"/>
                </a:tc>
              </a:tr>
              <a:tr h="506925">
                <a:tc>
                  <a:txBody>
                    <a:bodyPr/>
                    <a:lstStyle/>
                    <a:p>
                      <a:pPr marL="0" marR="0" lvl="0" indent="0" algn="l" defTabSz="914400" rtl="0" eaLnBrk="0" fontAlgn="base" latinLnBrk="0" hangingPunct="0">
                        <a:lnSpc>
                          <a:spcPct val="100000"/>
                        </a:lnSpc>
                        <a:spcBef>
                          <a:spcPct val="20000"/>
                        </a:spcBef>
                        <a:spcAft>
                          <a:spcPct val="0"/>
                        </a:spcAft>
                        <a:buClr>
                          <a:schemeClr val="tx1"/>
                        </a:buClr>
                        <a:buSzTx/>
                        <a:buFontTx/>
                        <a:buNone/>
                        <a:tabLst/>
                      </a:pPr>
                      <a:r>
                        <a:rPr kumimoji="0" lang="en-US" sz="1100" b="1" i="0" u="none" strike="noStrike" cap="none" normalizeH="0" baseline="0" dirty="0" smtClean="0">
                          <a:ln>
                            <a:noFill/>
                          </a:ln>
                          <a:solidFill>
                            <a:schemeClr val="tx1"/>
                          </a:solidFill>
                          <a:effectLst/>
                          <a:latin typeface="+mn-lt"/>
                        </a:rPr>
                        <a:t>Infrastructure as code</a:t>
                      </a:r>
                    </a:p>
                  </a:txBody>
                  <a:tcPr anchor="ctr" horzOverflow="overflow">
                    <a:lnB w="12700" cap="flat" cmpd="sng" algn="ctr">
                      <a:solidFill>
                        <a:schemeClr val="accent1"/>
                      </a:solidFill>
                      <a:prstDash val="sysDot"/>
                      <a:round/>
                      <a:headEnd type="none" w="med" len="med"/>
                      <a:tailEnd type="none" w="med" len="med"/>
                    </a:lnB>
                  </a:tcPr>
                </a:tc>
                <a:tc>
                  <a:txBody>
                    <a:bodyPr/>
                    <a:lstStyle/>
                    <a:p>
                      <a:pPr marL="171450" marR="0" lvl="0" indent="-171450" algn="just" defTabSz="914400" rtl="0" eaLnBrk="0" fontAlgn="base" latinLnBrk="0" hangingPunct="0">
                        <a:lnSpc>
                          <a:spcPct val="100000"/>
                        </a:lnSpc>
                        <a:spcBef>
                          <a:spcPct val="20000"/>
                        </a:spcBef>
                        <a:spcAft>
                          <a:spcPct val="0"/>
                        </a:spcAft>
                        <a:buClr>
                          <a:schemeClr val="accent1">
                            <a:lumMod val="50000"/>
                          </a:schemeClr>
                        </a:buClr>
                        <a:buSzTx/>
                        <a:buFont typeface="Arial" panose="020B0604020202020204" pitchFamily="34" charset="0"/>
                        <a:buChar char="•"/>
                        <a:tabLst/>
                        <a:defRPr/>
                      </a:pPr>
                      <a:r>
                        <a:rPr kumimoji="0" lang="en-GB" sz="1050" b="0" i="0" u="none" strike="noStrike" cap="none" normalizeH="0" baseline="0" dirty="0" smtClean="0">
                          <a:ln>
                            <a:noFill/>
                          </a:ln>
                          <a:solidFill>
                            <a:schemeClr val="tx1"/>
                          </a:solidFill>
                          <a:effectLst/>
                          <a:latin typeface="+mn-lt"/>
                        </a:rPr>
                        <a:t>C</a:t>
                      </a:r>
                      <a:r>
                        <a:rPr lang="en-GB" sz="1050" b="0" u="none" strike="noStrike" dirty="0" smtClean="0">
                          <a:solidFill>
                            <a:schemeClr val="tx1"/>
                          </a:solidFill>
                          <a:effectLst/>
                          <a:latin typeface="+mn-lt"/>
                        </a:rPr>
                        <a:t>ustom configuration and</a:t>
                      </a:r>
                      <a:r>
                        <a:rPr lang="en-GB" sz="1050" b="0" u="none" strike="noStrike" baseline="0" dirty="0" smtClean="0">
                          <a:solidFill>
                            <a:schemeClr val="tx1"/>
                          </a:solidFill>
                          <a:effectLst/>
                          <a:latin typeface="+mn-lt"/>
                        </a:rPr>
                        <a:t> </a:t>
                      </a:r>
                      <a:r>
                        <a:rPr lang="en-GB" sz="1050" b="0" u="none" strike="noStrike" dirty="0" smtClean="0">
                          <a:solidFill>
                            <a:schemeClr val="tx1"/>
                          </a:solidFill>
                          <a:effectLst/>
                          <a:latin typeface="+mn-lt"/>
                        </a:rPr>
                        <a:t>Chef recipes</a:t>
                      </a:r>
                      <a:r>
                        <a:rPr lang="en-GB" sz="1050" b="0" u="none" strike="noStrike" baseline="0" dirty="0" smtClean="0">
                          <a:solidFill>
                            <a:schemeClr val="tx1"/>
                          </a:solidFill>
                          <a:effectLst/>
                          <a:latin typeface="+mn-lt"/>
                        </a:rPr>
                        <a:t> </a:t>
                      </a:r>
                      <a:r>
                        <a:rPr lang="en-GB" sz="1050" b="0" u="none" strike="noStrike" dirty="0" smtClean="0">
                          <a:solidFill>
                            <a:schemeClr val="tx1"/>
                          </a:solidFill>
                          <a:effectLst/>
                          <a:latin typeface="+mn-lt"/>
                        </a:rPr>
                        <a:t>to deliver Infrastructure as code: Permissions, configurations,</a:t>
                      </a:r>
                      <a:r>
                        <a:rPr lang="en-GB" sz="1050" b="0" u="none" strike="noStrike" baseline="0" dirty="0" smtClean="0">
                          <a:solidFill>
                            <a:schemeClr val="tx1"/>
                          </a:solidFill>
                          <a:effectLst/>
                          <a:latin typeface="+mn-lt"/>
                        </a:rPr>
                        <a:t> etc. </a:t>
                      </a:r>
                      <a:endParaRPr kumimoji="0" lang="en-GB" sz="1050" b="0" i="0" u="none" strike="noStrike" cap="none" normalizeH="0" baseline="0" dirty="0" smtClean="0">
                        <a:ln>
                          <a:noFill/>
                        </a:ln>
                        <a:solidFill>
                          <a:schemeClr val="tx1"/>
                        </a:solidFill>
                        <a:effectLst/>
                        <a:latin typeface="+mn-lt"/>
                      </a:endParaRPr>
                    </a:p>
                  </a:txBody>
                  <a:tcPr marL="45720" marR="45720" anchor="ctr" horzOverflow="overflow">
                    <a:lnB w="12700" cap="flat" cmpd="sng" algn="ctr">
                      <a:solidFill>
                        <a:schemeClr val="accent1"/>
                      </a:solidFill>
                      <a:prstDash val="sysDot"/>
                      <a:round/>
                      <a:headEnd type="none" w="med" len="med"/>
                      <a:tailEnd type="none" w="med" len="med"/>
                    </a:lnB>
                  </a:tcPr>
                </a:tc>
                <a:tc>
                  <a:txBody>
                    <a:bodyPr/>
                    <a:lstStyle/>
                    <a:p>
                      <a:pPr marL="171450" marR="0" lvl="0" indent="-171450" algn="l" defTabSz="914400" rtl="0" eaLnBrk="0" fontAlgn="base" latinLnBrk="0" hangingPunct="0">
                        <a:lnSpc>
                          <a:spcPct val="100000"/>
                        </a:lnSpc>
                        <a:spcBef>
                          <a:spcPct val="20000"/>
                        </a:spcBef>
                        <a:spcAft>
                          <a:spcPct val="0"/>
                        </a:spcAft>
                        <a:buClr>
                          <a:schemeClr val="accent1">
                            <a:lumMod val="50000"/>
                          </a:schemeClr>
                        </a:buClr>
                        <a:buSzTx/>
                        <a:buFont typeface="Arial" panose="020B0604020202020204" pitchFamily="34" charset="0"/>
                        <a:buChar char="•"/>
                        <a:tabLst/>
                      </a:pPr>
                      <a:r>
                        <a:rPr kumimoji="0" lang="en-GB" sz="1050" b="0" i="0" u="none" strike="noStrike" cap="none" normalizeH="0" baseline="0" dirty="0" smtClean="0">
                          <a:ln>
                            <a:noFill/>
                          </a:ln>
                          <a:solidFill>
                            <a:schemeClr val="tx1"/>
                          </a:solidFill>
                          <a:effectLst/>
                          <a:latin typeface="+mn-lt"/>
                        </a:rPr>
                        <a:t>Low to medium complexity </a:t>
                      </a:r>
                    </a:p>
                    <a:p>
                      <a:pPr marL="171450" marR="0" lvl="0" indent="-171450" algn="l" defTabSz="914400" rtl="0" eaLnBrk="0" fontAlgn="base" latinLnBrk="0" hangingPunct="0">
                        <a:lnSpc>
                          <a:spcPct val="100000"/>
                        </a:lnSpc>
                        <a:spcBef>
                          <a:spcPct val="20000"/>
                        </a:spcBef>
                        <a:spcAft>
                          <a:spcPct val="0"/>
                        </a:spcAft>
                        <a:buClr>
                          <a:schemeClr val="accent1">
                            <a:lumMod val="50000"/>
                          </a:schemeClr>
                        </a:buClr>
                        <a:buSzTx/>
                        <a:buFont typeface="Arial" panose="020B0604020202020204" pitchFamily="34" charset="0"/>
                        <a:buChar char="•"/>
                        <a:tabLst/>
                        <a:defRPr/>
                      </a:pPr>
                      <a:r>
                        <a:rPr kumimoji="0" lang="en-US" sz="1050" b="0" i="0" u="none" strike="noStrike" cap="none" normalizeH="0" baseline="0" dirty="0" smtClean="0">
                          <a:ln>
                            <a:noFill/>
                          </a:ln>
                          <a:solidFill>
                            <a:schemeClr val="tx1"/>
                          </a:solidFill>
                          <a:effectLst/>
                          <a:latin typeface="+mn-lt"/>
                        </a:rPr>
                        <a:t>Pay per hour</a:t>
                      </a:r>
                    </a:p>
                  </a:txBody>
                  <a:tcPr marL="45720" marR="45720" anchor="ctr" horzOverflow="overflow">
                    <a:lnB w="12700" cap="flat" cmpd="sng" algn="ctr">
                      <a:solidFill>
                        <a:schemeClr val="accent1"/>
                      </a:solidFill>
                      <a:prstDash val="sysDot"/>
                      <a:round/>
                      <a:headEnd type="none" w="med" len="med"/>
                      <a:tailEnd type="none" w="med" len="med"/>
                    </a:lnB>
                  </a:tcPr>
                </a:tc>
              </a:tr>
              <a:tr h="686691">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GB" sz="1100" b="1" u="none" strike="noStrike" kern="1200" baseline="0" dirty="0" smtClean="0">
                          <a:solidFill>
                            <a:schemeClr val="tx1"/>
                          </a:solidFill>
                          <a:effectLst/>
                          <a:latin typeface="+mn-lt"/>
                          <a:ea typeface="+mn-ea"/>
                          <a:cs typeface="+mn-cs"/>
                        </a:rPr>
                        <a:t>Tools Implementation</a:t>
                      </a:r>
                    </a:p>
                  </a:txBody>
                  <a:tcPr anchor="ctr">
                    <a:lnT w="12700" cap="flat" cmpd="sng" algn="ctr">
                      <a:solidFill>
                        <a:schemeClr val="accent1"/>
                      </a:solidFill>
                      <a:prstDash val="sysDot"/>
                      <a:round/>
                      <a:headEnd type="none" w="med" len="med"/>
                      <a:tailEnd type="none" w="med" len="med"/>
                    </a:lnT>
                    <a:lnB w="12700" cap="flat" cmpd="sng" algn="ctr">
                      <a:solidFill>
                        <a:schemeClr val="accent1"/>
                      </a:solidFill>
                      <a:prstDash val="sysDot"/>
                      <a:round/>
                      <a:headEnd type="none" w="med" len="med"/>
                      <a:tailEnd type="none" w="med" len="med"/>
                    </a:lnB>
                  </a:tcPr>
                </a:tc>
                <a:tc>
                  <a:txBody>
                    <a:bodyPr/>
                    <a:lstStyle/>
                    <a:p>
                      <a:pPr marL="171450" marR="0" lvl="0" indent="-171450" algn="just" defTabSz="914400" rtl="0" eaLnBrk="0" fontAlgn="base" latinLnBrk="0" hangingPunct="0">
                        <a:lnSpc>
                          <a:spcPct val="100000"/>
                        </a:lnSpc>
                        <a:spcBef>
                          <a:spcPct val="20000"/>
                        </a:spcBef>
                        <a:spcAft>
                          <a:spcPct val="0"/>
                        </a:spcAft>
                        <a:buClr>
                          <a:schemeClr val="accent1">
                            <a:lumMod val="50000"/>
                          </a:schemeClr>
                        </a:buClr>
                        <a:buSzTx/>
                        <a:buFont typeface="Arial" panose="020B0604020202020204" pitchFamily="34" charset="0"/>
                        <a:buChar char="•"/>
                        <a:tabLst/>
                        <a:defRPr/>
                      </a:pPr>
                      <a:r>
                        <a:rPr kumimoji="0" lang="en-GB" sz="1050" b="0" i="0" u="none" strike="noStrike" kern="1200" cap="none" normalizeH="0" baseline="0" dirty="0" smtClean="0">
                          <a:ln>
                            <a:noFill/>
                          </a:ln>
                          <a:solidFill>
                            <a:schemeClr val="tx1"/>
                          </a:solidFill>
                          <a:effectLst/>
                          <a:latin typeface="+mn-lt"/>
                          <a:ea typeface="+mn-ea"/>
                          <a:cs typeface="+mn-cs"/>
                        </a:rPr>
                        <a:t>Custom configuration and Chef </a:t>
                      </a:r>
                      <a:r>
                        <a:rPr lang="en-GB" sz="1050" b="0" u="none" strike="noStrike" dirty="0" smtClean="0">
                          <a:solidFill>
                            <a:schemeClr val="tx1"/>
                          </a:solidFill>
                          <a:effectLst/>
                          <a:latin typeface="+mn-lt"/>
                        </a:rPr>
                        <a:t>recipes</a:t>
                      </a:r>
                      <a:r>
                        <a:rPr lang="en-GB" sz="1050" b="0" u="none" strike="noStrike" baseline="0" dirty="0" smtClean="0">
                          <a:solidFill>
                            <a:schemeClr val="tx1"/>
                          </a:solidFill>
                          <a:effectLst/>
                          <a:latin typeface="+mn-lt"/>
                        </a:rPr>
                        <a:t> </a:t>
                      </a:r>
                      <a:r>
                        <a:rPr kumimoji="0" lang="en-GB" sz="1050" b="0" i="0" u="none" strike="noStrike" kern="1200" cap="none" normalizeH="0" baseline="0" dirty="0" smtClean="0">
                          <a:ln>
                            <a:noFill/>
                          </a:ln>
                          <a:solidFill>
                            <a:schemeClr val="tx1"/>
                          </a:solidFill>
                          <a:effectLst/>
                          <a:latin typeface="+mn-lt"/>
                          <a:ea typeface="+mn-ea"/>
                          <a:cs typeface="+mn-cs"/>
                        </a:rPr>
                        <a:t>to integrate tools including into environments.</a:t>
                      </a:r>
                      <a:endParaRPr kumimoji="0" lang="en-GB" sz="1050" b="0" i="0" u="none" strike="noStrike" kern="1200" cap="none" normalizeH="0" baseline="0" dirty="0">
                        <a:ln>
                          <a:noFill/>
                        </a:ln>
                        <a:solidFill>
                          <a:schemeClr val="tx1"/>
                        </a:solidFill>
                        <a:effectLst/>
                        <a:latin typeface="+mn-lt"/>
                        <a:ea typeface="+mn-ea"/>
                        <a:cs typeface="+mn-cs"/>
                      </a:endParaRPr>
                    </a:p>
                  </a:txBody>
                  <a:tcPr marL="45720" marR="45720" anchor="ctr">
                    <a:lnT w="12700" cap="flat" cmpd="sng" algn="ctr">
                      <a:solidFill>
                        <a:schemeClr val="accent1"/>
                      </a:solidFill>
                      <a:prstDash val="sysDot"/>
                      <a:round/>
                      <a:headEnd type="none" w="med" len="med"/>
                      <a:tailEnd type="none" w="med" len="med"/>
                    </a:lnT>
                    <a:lnB w="12700" cap="flat" cmpd="sng" algn="ctr">
                      <a:solidFill>
                        <a:schemeClr val="accent1"/>
                      </a:solidFill>
                      <a:prstDash val="sysDot"/>
                      <a:round/>
                      <a:headEnd type="none" w="med" len="med"/>
                      <a:tailEnd type="none" w="med" len="med"/>
                    </a:lnB>
                  </a:tcPr>
                </a:tc>
                <a:tc>
                  <a:txBody>
                    <a:bodyPr/>
                    <a:lstStyle/>
                    <a:p>
                      <a:pPr marL="171450" marR="0" lvl="0" indent="-171450" algn="l" defTabSz="914400" rtl="0" eaLnBrk="0" fontAlgn="base" latinLnBrk="0" hangingPunct="0">
                        <a:lnSpc>
                          <a:spcPct val="100000"/>
                        </a:lnSpc>
                        <a:spcBef>
                          <a:spcPct val="20000"/>
                        </a:spcBef>
                        <a:spcAft>
                          <a:spcPct val="0"/>
                        </a:spcAft>
                        <a:buClr>
                          <a:schemeClr val="accent1">
                            <a:lumMod val="50000"/>
                          </a:schemeClr>
                        </a:buClr>
                        <a:buSzTx/>
                        <a:buFont typeface="Arial" panose="020B0604020202020204" pitchFamily="34" charset="0"/>
                        <a:buChar char="•"/>
                        <a:tabLst/>
                      </a:pPr>
                      <a:r>
                        <a:rPr kumimoji="0" lang="en-GB" sz="1050" b="0" i="0" u="none" strike="noStrike" cap="none" normalizeH="0" baseline="0" dirty="0" smtClean="0">
                          <a:ln>
                            <a:noFill/>
                          </a:ln>
                          <a:solidFill>
                            <a:schemeClr val="tx1"/>
                          </a:solidFill>
                          <a:effectLst/>
                          <a:latin typeface="+mn-lt"/>
                        </a:rPr>
                        <a:t>Low to medium complexity </a:t>
                      </a:r>
                    </a:p>
                    <a:p>
                      <a:pPr marL="171450" marR="0" lvl="0" indent="-171450" algn="l" defTabSz="914400" rtl="0" eaLnBrk="0" fontAlgn="base" latinLnBrk="0" hangingPunct="0">
                        <a:lnSpc>
                          <a:spcPct val="100000"/>
                        </a:lnSpc>
                        <a:spcBef>
                          <a:spcPct val="20000"/>
                        </a:spcBef>
                        <a:spcAft>
                          <a:spcPct val="0"/>
                        </a:spcAft>
                        <a:buClr>
                          <a:schemeClr val="accent1">
                            <a:lumMod val="50000"/>
                          </a:schemeClr>
                        </a:buClr>
                        <a:buSzTx/>
                        <a:buFont typeface="Arial" panose="020B0604020202020204" pitchFamily="34" charset="0"/>
                        <a:buChar char="•"/>
                        <a:tabLst/>
                        <a:defRPr/>
                      </a:pPr>
                      <a:r>
                        <a:rPr kumimoji="0" lang="en-US" sz="1050" b="0" i="0" u="none" strike="noStrike" cap="none" normalizeH="0" baseline="0" dirty="0" smtClean="0">
                          <a:ln>
                            <a:noFill/>
                          </a:ln>
                          <a:solidFill>
                            <a:schemeClr val="tx1"/>
                          </a:solidFill>
                          <a:effectLst/>
                          <a:latin typeface="+mn-lt"/>
                        </a:rPr>
                        <a:t>Pay per hour</a:t>
                      </a:r>
                    </a:p>
                  </a:txBody>
                  <a:tcPr marL="45720" marR="45720" anchor="ctr">
                    <a:lnT w="12700" cap="flat" cmpd="sng" algn="ctr">
                      <a:solidFill>
                        <a:schemeClr val="accent1"/>
                      </a:solidFill>
                      <a:prstDash val="sysDot"/>
                      <a:round/>
                      <a:headEnd type="none" w="med" len="med"/>
                      <a:tailEnd type="none" w="med" len="med"/>
                    </a:lnT>
                    <a:lnB w="12700" cap="flat" cmpd="sng" algn="ctr">
                      <a:solidFill>
                        <a:schemeClr val="accent1"/>
                      </a:solidFill>
                      <a:prstDash val="sysDot"/>
                      <a:round/>
                      <a:headEnd type="none" w="med" len="med"/>
                      <a:tailEnd type="none" w="med" len="med"/>
                    </a:lnB>
                  </a:tcPr>
                </a:tc>
              </a:tr>
              <a:tr h="780485">
                <a:tc>
                  <a:txBody>
                    <a:bodyPr/>
                    <a:lstStyle/>
                    <a:p>
                      <a:pPr marL="0" marR="0" lvl="1" indent="0" algn="l" defTabSz="914400" rtl="0" eaLnBrk="1" fontAlgn="b" latinLnBrk="0" hangingPunct="1">
                        <a:lnSpc>
                          <a:spcPct val="100000"/>
                        </a:lnSpc>
                        <a:spcBef>
                          <a:spcPts val="0"/>
                        </a:spcBef>
                        <a:spcAft>
                          <a:spcPts val="0"/>
                        </a:spcAft>
                        <a:buClrTx/>
                        <a:buSzTx/>
                        <a:buFontTx/>
                        <a:buNone/>
                        <a:tabLst/>
                        <a:defRPr/>
                      </a:pPr>
                      <a:r>
                        <a:rPr lang="en-GB" sz="1100" b="1" u="none" strike="noStrike" dirty="0" smtClean="0">
                          <a:solidFill>
                            <a:schemeClr val="tx1"/>
                          </a:solidFill>
                          <a:effectLst/>
                          <a:latin typeface="+mn-lt"/>
                        </a:rPr>
                        <a:t>Continuous Integration/Continuous Delivery Implementation</a:t>
                      </a:r>
                      <a:endParaRPr lang="en-GB" sz="1100" b="1" u="none" strike="noStrike" kern="1200" dirty="0" smtClean="0">
                        <a:solidFill>
                          <a:schemeClr val="tx1"/>
                        </a:solidFill>
                        <a:effectLst/>
                        <a:latin typeface="+mn-lt"/>
                        <a:ea typeface="+mn-ea"/>
                        <a:cs typeface="+mn-cs"/>
                      </a:endParaRPr>
                    </a:p>
                  </a:txBody>
                  <a:tcPr anchor="ctr">
                    <a:lnT w="12700" cap="flat" cmpd="sng" algn="ctr">
                      <a:solidFill>
                        <a:schemeClr val="accent1"/>
                      </a:solidFill>
                      <a:prstDash val="sysDot"/>
                      <a:round/>
                      <a:headEnd type="none" w="med" len="med"/>
                      <a:tailEnd type="none" w="med" len="med"/>
                    </a:lnT>
                    <a:lnB w="12700" cap="flat" cmpd="sng" algn="ctr">
                      <a:solidFill>
                        <a:schemeClr val="accent1"/>
                      </a:solidFill>
                      <a:prstDash val="sysDot"/>
                      <a:round/>
                      <a:headEnd type="none" w="med" len="med"/>
                      <a:tailEnd type="none" w="med" len="med"/>
                    </a:lnB>
                  </a:tcPr>
                </a:tc>
                <a:tc>
                  <a:txBody>
                    <a:bodyPr/>
                    <a:lstStyle/>
                    <a:p>
                      <a:pPr marL="171450" marR="0" lvl="0" indent="-171450" algn="just" defTabSz="914400" rtl="0" eaLnBrk="0" fontAlgn="base" latinLnBrk="0" hangingPunct="0">
                        <a:lnSpc>
                          <a:spcPct val="100000"/>
                        </a:lnSpc>
                        <a:spcBef>
                          <a:spcPct val="20000"/>
                        </a:spcBef>
                        <a:spcAft>
                          <a:spcPct val="0"/>
                        </a:spcAft>
                        <a:buClr>
                          <a:schemeClr val="accent1">
                            <a:lumMod val="50000"/>
                          </a:schemeClr>
                        </a:buClr>
                        <a:buSzTx/>
                        <a:buFont typeface="Arial" panose="020B0604020202020204" pitchFamily="34" charset="0"/>
                        <a:buChar char="•"/>
                        <a:tabLst/>
                        <a:defRPr/>
                      </a:pPr>
                      <a:r>
                        <a:rPr kumimoji="0" lang="en-GB" sz="1050" b="0" i="0" u="none" strike="noStrike" kern="1200" cap="none" normalizeH="0" baseline="0" dirty="0" smtClean="0">
                          <a:ln>
                            <a:noFill/>
                          </a:ln>
                          <a:solidFill>
                            <a:schemeClr val="tx1"/>
                          </a:solidFill>
                          <a:effectLst/>
                          <a:latin typeface="+mn-lt"/>
                          <a:ea typeface="+mn-ea"/>
                          <a:cs typeface="+mn-cs"/>
                        </a:rPr>
                        <a:t>Custom configuration and Chef </a:t>
                      </a:r>
                      <a:r>
                        <a:rPr lang="en-GB" sz="1050" b="0" u="none" strike="noStrike" dirty="0" smtClean="0">
                          <a:solidFill>
                            <a:schemeClr val="tx1"/>
                          </a:solidFill>
                          <a:effectLst/>
                          <a:latin typeface="+mn-lt"/>
                        </a:rPr>
                        <a:t>recipes</a:t>
                      </a:r>
                      <a:r>
                        <a:rPr lang="en-GB" sz="1050" b="0" u="none" strike="noStrike" baseline="0" dirty="0" smtClean="0">
                          <a:solidFill>
                            <a:schemeClr val="tx1"/>
                          </a:solidFill>
                          <a:effectLst/>
                          <a:latin typeface="+mn-lt"/>
                        </a:rPr>
                        <a:t> </a:t>
                      </a:r>
                      <a:r>
                        <a:rPr kumimoji="0" lang="en-GB" sz="1050" b="0" i="0" u="none" strike="noStrike" kern="1200" cap="none" normalizeH="0" baseline="0" dirty="0" smtClean="0">
                          <a:ln>
                            <a:noFill/>
                          </a:ln>
                          <a:solidFill>
                            <a:schemeClr val="tx1"/>
                          </a:solidFill>
                          <a:effectLst/>
                          <a:latin typeface="+mn-lt"/>
                          <a:ea typeface="+mn-ea"/>
                          <a:cs typeface="+mn-cs"/>
                        </a:rPr>
                        <a:t>to deliver configuration to automate the infrastructure and tools necessary for Continuous Integration and Continuous Delivery. </a:t>
                      </a:r>
                      <a:endParaRPr kumimoji="0" lang="en-GB" sz="1050" b="0" i="0" u="none" strike="noStrike" cap="none" normalizeH="0" baseline="0" dirty="0" smtClean="0">
                        <a:ln>
                          <a:noFill/>
                        </a:ln>
                        <a:solidFill>
                          <a:schemeClr val="tx1"/>
                        </a:solidFill>
                        <a:effectLst/>
                        <a:latin typeface="+mn-lt"/>
                      </a:endParaRPr>
                    </a:p>
                  </a:txBody>
                  <a:tcPr marL="45720" marR="45720" anchor="ctr">
                    <a:lnT w="12700" cap="flat" cmpd="sng" algn="ctr">
                      <a:solidFill>
                        <a:schemeClr val="accent1"/>
                      </a:solidFill>
                      <a:prstDash val="sysDot"/>
                      <a:round/>
                      <a:headEnd type="none" w="med" len="med"/>
                      <a:tailEnd type="none" w="med" len="med"/>
                    </a:lnT>
                    <a:lnB w="12700" cap="flat" cmpd="sng" algn="ctr">
                      <a:solidFill>
                        <a:schemeClr val="accent1"/>
                      </a:solidFill>
                      <a:prstDash val="sysDot"/>
                      <a:round/>
                      <a:headEnd type="none" w="med" len="med"/>
                      <a:tailEnd type="none" w="med" len="med"/>
                    </a:lnB>
                  </a:tcPr>
                </a:tc>
                <a:tc>
                  <a:txBody>
                    <a:bodyPr/>
                    <a:lstStyle/>
                    <a:p>
                      <a:pPr marL="171450" marR="0" lvl="0" indent="-171450" algn="l" defTabSz="914400" rtl="0" eaLnBrk="0" fontAlgn="base" latinLnBrk="0" hangingPunct="0">
                        <a:lnSpc>
                          <a:spcPct val="100000"/>
                        </a:lnSpc>
                        <a:spcBef>
                          <a:spcPct val="20000"/>
                        </a:spcBef>
                        <a:spcAft>
                          <a:spcPct val="0"/>
                        </a:spcAft>
                        <a:buClr>
                          <a:schemeClr val="accent1">
                            <a:lumMod val="50000"/>
                          </a:schemeClr>
                        </a:buClr>
                        <a:buSzTx/>
                        <a:buFont typeface="Arial" panose="020B0604020202020204" pitchFamily="34" charset="0"/>
                        <a:buChar char="•"/>
                        <a:tabLst/>
                      </a:pPr>
                      <a:r>
                        <a:rPr kumimoji="0" lang="en-GB" sz="1050" b="0" i="0" u="none" strike="noStrike" cap="none" normalizeH="0" baseline="0" dirty="0" smtClean="0">
                          <a:ln>
                            <a:noFill/>
                          </a:ln>
                          <a:solidFill>
                            <a:schemeClr val="tx1"/>
                          </a:solidFill>
                          <a:effectLst/>
                          <a:latin typeface="+mn-lt"/>
                        </a:rPr>
                        <a:t>Low to medium complexity </a:t>
                      </a:r>
                    </a:p>
                    <a:p>
                      <a:pPr marL="171450" marR="0" lvl="0" indent="-171450" algn="l" defTabSz="914400" rtl="0" eaLnBrk="0" fontAlgn="base" latinLnBrk="0" hangingPunct="0">
                        <a:lnSpc>
                          <a:spcPct val="100000"/>
                        </a:lnSpc>
                        <a:spcBef>
                          <a:spcPct val="20000"/>
                        </a:spcBef>
                        <a:spcAft>
                          <a:spcPct val="0"/>
                        </a:spcAft>
                        <a:buClr>
                          <a:schemeClr val="accent1">
                            <a:lumMod val="50000"/>
                          </a:schemeClr>
                        </a:buClr>
                        <a:buSzTx/>
                        <a:buFont typeface="Arial" panose="020B0604020202020204" pitchFamily="34" charset="0"/>
                        <a:buChar char="•"/>
                        <a:tabLst/>
                        <a:defRPr/>
                      </a:pPr>
                      <a:r>
                        <a:rPr kumimoji="0" lang="en-US" sz="1050" b="0" i="0" u="none" strike="noStrike" cap="none" normalizeH="0" baseline="0" dirty="0" smtClean="0">
                          <a:ln>
                            <a:noFill/>
                          </a:ln>
                          <a:solidFill>
                            <a:schemeClr val="tx1"/>
                          </a:solidFill>
                          <a:effectLst/>
                          <a:latin typeface="+mn-lt"/>
                        </a:rPr>
                        <a:t>Pay per hour</a:t>
                      </a:r>
                    </a:p>
                  </a:txBody>
                  <a:tcPr marL="45720" marR="45720" anchor="ctr">
                    <a:lnT w="12700" cap="flat" cmpd="sng" algn="ctr">
                      <a:solidFill>
                        <a:schemeClr val="accent1"/>
                      </a:solidFill>
                      <a:prstDash val="sysDot"/>
                      <a:round/>
                      <a:headEnd type="none" w="med" len="med"/>
                      <a:tailEnd type="none" w="med" len="med"/>
                    </a:lnT>
                    <a:lnB w="12700" cap="flat" cmpd="sng" algn="ctr">
                      <a:solidFill>
                        <a:schemeClr val="accent1"/>
                      </a:solidFill>
                      <a:prstDash val="sysDot"/>
                      <a:round/>
                      <a:headEnd type="none" w="med" len="med"/>
                      <a:tailEnd type="none" w="med" len="med"/>
                    </a:lnB>
                  </a:tcPr>
                </a:tc>
              </a:tr>
              <a:tr h="689836">
                <a:tc>
                  <a:txBody>
                    <a:bodyPr/>
                    <a:lstStyle/>
                    <a:p>
                      <a:pPr algn="l" fontAlgn="b"/>
                      <a:r>
                        <a:rPr lang="en-GB" sz="1100" b="0" i="1" u="none" strike="noStrike" dirty="0" smtClean="0">
                          <a:solidFill>
                            <a:schemeClr val="tx1"/>
                          </a:solidFill>
                          <a:effectLst/>
                          <a:latin typeface="+mn-lt"/>
                        </a:rPr>
                        <a:t> </a:t>
                      </a:r>
                      <a:r>
                        <a:rPr lang="en-GB" sz="1100" b="1" u="none" strike="noStrike" kern="1200" dirty="0" smtClean="0">
                          <a:solidFill>
                            <a:schemeClr val="tx1"/>
                          </a:solidFill>
                          <a:effectLst/>
                          <a:latin typeface="+mn-lt"/>
                          <a:ea typeface="+mn-ea"/>
                          <a:cs typeface="+mn-cs"/>
                        </a:rPr>
                        <a:t>Chef “as a Service”</a:t>
                      </a:r>
                      <a:endParaRPr lang="en-GB" sz="1100" b="1" u="none" strike="noStrike" kern="1200" dirty="0">
                        <a:solidFill>
                          <a:schemeClr val="tx1"/>
                        </a:solidFill>
                        <a:effectLst/>
                        <a:latin typeface="+mn-lt"/>
                        <a:ea typeface="+mn-ea"/>
                        <a:cs typeface="+mn-cs"/>
                      </a:endParaRPr>
                    </a:p>
                  </a:txBody>
                  <a:tcPr anchor="ctr">
                    <a:lnT w="12700" cap="flat" cmpd="sng" algn="ctr">
                      <a:solidFill>
                        <a:schemeClr val="accent1"/>
                      </a:solidFill>
                      <a:prstDash val="sysDot"/>
                      <a:round/>
                      <a:headEnd type="none" w="med" len="med"/>
                      <a:tailEnd type="none" w="med" len="med"/>
                    </a:lnT>
                    <a:lnB w="12700" cap="flat" cmpd="sng" algn="ctr">
                      <a:solidFill>
                        <a:schemeClr val="accent1"/>
                      </a:solidFill>
                      <a:prstDash val="sysDot"/>
                      <a:round/>
                      <a:headEnd type="none" w="med" len="med"/>
                      <a:tailEnd type="none" w="med" len="med"/>
                    </a:lnB>
                  </a:tcPr>
                </a:tc>
                <a:tc>
                  <a:txBody>
                    <a:bodyPr/>
                    <a:lstStyle/>
                    <a:p>
                      <a:pPr marL="171450" marR="0" lvl="0" indent="-171450" algn="just" defTabSz="914400" rtl="0" eaLnBrk="0" fontAlgn="base" latinLnBrk="0" hangingPunct="0">
                        <a:lnSpc>
                          <a:spcPct val="100000"/>
                        </a:lnSpc>
                        <a:spcBef>
                          <a:spcPct val="20000"/>
                        </a:spcBef>
                        <a:spcAft>
                          <a:spcPct val="0"/>
                        </a:spcAft>
                        <a:buClr>
                          <a:schemeClr val="accent1">
                            <a:lumMod val="50000"/>
                          </a:schemeClr>
                        </a:buClr>
                        <a:buSzTx/>
                        <a:buFont typeface="Arial" panose="020B0604020202020204" pitchFamily="34" charset="0"/>
                        <a:buChar char="•"/>
                        <a:tabLst/>
                        <a:defRPr/>
                      </a:pPr>
                      <a:r>
                        <a:rPr kumimoji="0" lang="en-GB" sz="1050" b="0" i="0" u="none" strike="noStrike" kern="1200" cap="none" normalizeH="0" baseline="0" dirty="0" smtClean="0">
                          <a:ln>
                            <a:noFill/>
                          </a:ln>
                          <a:solidFill>
                            <a:schemeClr val="tx1"/>
                          </a:solidFill>
                          <a:effectLst/>
                          <a:latin typeface="+mn-lt"/>
                          <a:ea typeface="+mn-ea"/>
                          <a:cs typeface="+mn-cs"/>
                        </a:rPr>
                        <a:t>Provision of Chef infrastructure required to run cookbooks. Note that the target infrastructure would be provisioned by ACP</a:t>
                      </a:r>
                      <a:endParaRPr lang="en-GB" sz="1800" kern="1200" dirty="0" smtClean="0">
                        <a:solidFill>
                          <a:schemeClr val="tx1"/>
                        </a:solidFill>
                        <a:effectLst/>
                        <a:latin typeface="+mn-lt"/>
                        <a:ea typeface="+mn-ea"/>
                        <a:cs typeface="+mn-cs"/>
                      </a:endParaRPr>
                    </a:p>
                    <a:p>
                      <a:pPr marL="171450" marR="0" lvl="0" indent="-171450" algn="just" defTabSz="914400" rtl="0" eaLnBrk="0" fontAlgn="base" latinLnBrk="0" hangingPunct="0">
                        <a:lnSpc>
                          <a:spcPct val="100000"/>
                        </a:lnSpc>
                        <a:spcBef>
                          <a:spcPct val="20000"/>
                        </a:spcBef>
                        <a:spcAft>
                          <a:spcPct val="0"/>
                        </a:spcAft>
                        <a:buClr>
                          <a:schemeClr val="accent1">
                            <a:lumMod val="50000"/>
                          </a:schemeClr>
                        </a:buClr>
                        <a:buSzTx/>
                        <a:buFont typeface="Arial" panose="020B0604020202020204" pitchFamily="34" charset="0"/>
                        <a:buChar char="•"/>
                        <a:tabLst/>
                      </a:pPr>
                      <a:endParaRPr kumimoji="0" lang="en-GB" sz="1050" b="0" i="0" u="none" strike="noStrike" kern="1200" cap="none" normalizeH="0" baseline="0" dirty="0" smtClean="0">
                        <a:ln>
                          <a:noFill/>
                        </a:ln>
                        <a:solidFill>
                          <a:schemeClr val="tx1"/>
                        </a:solidFill>
                        <a:effectLst/>
                        <a:latin typeface="+mn-lt"/>
                        <a:ea typeface="+mn-ea"/>
                        <a:cs typeface="+mn-cs"/>
                      </a:endParaRPr>
                    </a:p>
                  </a:txBody>
                  <a:tcPr marL="45720" marR="45720" anchor="ctr" horzOverflow="overflow">
                    <a:lnT w="12700" cap="flat" cmpd="sng" algn="ctr">
                      <a:solidFill>
                        <a:schemeClr val="accent1"/>
                      </a:solidFill>
                      <a:prstDash val="sysDot"/>
                      <a:round/>
                      <a:headEnd type="none" w="med" len="med"/>
                      <a:tailEnd type="none" w="med" len="med"/>
                    </a:lnT>
                    <a:lnB w="12700" cap="flat" cmpd="sng" algn="ctr">
                      <a:solidFill>
                        <a:schemeClr val="accent1"/>
                      </a:solidFill>
                      <a:prstDash val="sysDot"/>
                      <a:round/>
                      <a:headEnd type="none" w="med" len="med"/>
                      <a:tailEnd type="none" w="med" len="med"/>
                    </a:lnB>
                  </a:tcPr>
                </a:tc>
                <a:tc>
                  <a:txBody>
                    <a:bodyPr/>
                    <a:lstStyle/>
                    <a:p>
                      <a:pPr marL="171450" marR="0" lvl="0" indent="-171450" algn="l" defTabSz="914400" rtl="0" eaLnBrk="0" fontAlgn="base" latinLnBrk="0" hangingPunct="0">
                        <a:lnSpc>
                          <a:spcPct val="100000"/>
                        </a:lnSpc>
                        <a:spcBef>
                          <a:spcPct val="20000"/>
                        </a:spcBef>
                        <a:spcAft>
                          <a:spcPct val="0"/>
                        </a:spcAft>
                        <a:buClr>
                          <a:schemeClr val="accent1">
                            <a:lumMod val="50000"/>
                          </a:schemeClr>
                        </a:buClr>
                        <a:buSzTx/>
                        <a:buFont typeface="Arial" panose="020B0604020202020204" pitchFamily="34" charset="0"/>
                        <a:buChar char="•"/>
                        <a:tabLst/>
                      </a:pPr>
                      <a:r>
                        <a:rPr kumimoji="0" lang="en-US" sz="1050" b="0" i="0" u="none" strike="noStrike" cap="none" normalizeH="0" baseline="0" dirty="0" smtClean="0">
                          <a:ln>
                            <a:noFill/>
                          </a:ln>
                          <a:solidFill>
                            <a:schemeClr val="tx1"/>
                          </a:solidFill>
                          <a:effectLst/>
                          <a:latin typeface="+mn-lt"/>
                        </a:rPr>
                        <a:t>Low to medium complexity</a:t>
                      </a:r>
                    </a:p>
                    <a:p>
                      <a:pPr marL="171450" marR="0" lvl="0" indent="-171450" algn="l" defTabSz="914400" rtl="0" eaLnBrk="0" fontAlgn="base" latinLnBrk="0" hangingPunct="0">
                        <a:lnSpc>
                          <a:spcPct val="100000"/>
                        </a:lnSpc>
                        <a:spcBef>
                          <a:spcPct val="20000"/>
                        </a:spcBef>
                        <a:spcAft>
                          <a:spcPct val="0"/>
                        </a:spcAft>
                        <a:buClr>
                          <a:schemeClr val="accent1">
                            <a:lumMod val="50000"/>
                          </a:schemeClr>
                        </a:buClr>
                        <a:buSzTx/>
                        <a:buFont typeface="Arial" panose="020B0604020202020204" pitchFamily="34" charset="0"/>
                        <a:buChar char="•"/>
                        <a:tabLst/>
                      </a:pPr>
                      <a:r>
                        <a:rPr kumimoji="0" lang="en-US" sz="1050" b="0" i="0" u="none" strike="noStrike" cap="none" normalizeH="0" baseline="0" dirty="0" smtClean="0">
                          <a:ln>
                            <a:noFill/>
                          </a:ln>
                          <a:solidFill>
                            <a:schemeClr val="tx1"/>
                          </a:solidFill>
                          <a:effectLst/>
                          <a:latin typeface="+mn-lt"/>
                        </a:rPr>
                        <a:t>Pay per hour</a:t>
                      </a:r>
                    </a:p>
                  </a:txBody>
                  <a:tcPr marL="45720" marR="45720" anchor="ctr" horzOverflow="overflow">
                    <a:lnT w="12700" cap="flat" cmpd="sng" algn="ctr">
                      <a:solidFill>
                        <a:schemeClr val="accent1"/>
                      </a:solidFill>
                      <a:prstDash val="sysDot"/>
                      <a:round/>
                      <a:headEnd type="none" w="med" len="med"/>
                      <a:tailEnd type="none" w="med" len="med"/>
                    </a:lnT>
                    <a:lnB w="12700" cap="flat" cmpd="sng" algn="ctr">
                      <a:solidFill>
                        <a:schemeClr val="accent1"/>
                      </a:solidFill>
                      <a:prstDash val="sysDot"/>
                      <a:round/>
                      <a:headEnd type="none" w="med" len="med"/>
                      <a:tailEnd type="none" w="med" len="med"/>
                    </a:lnB>
                  </a:tcPr>
                </a:tc>
              </a:tr>
              <a:tr h="1531228">
                <a:tc>
                  <a:txBody>
                    <a:bodyPr/>
                    <a:lstStyle/>
                    <a:p>
                      <a:pPr algn="l" fontAlgn="b"/>
                      <a:r>
                        <a:rPr lang="en-GB" sz="1100" b="1" u="none" strike="noStrike" dirty="0" smtClean="0">
                          <a:solidFill>
                            <a:schemeClr val="tx1"/>
                          </a:solidFill>
                          <a:effectLst/>
                          <a:latin typeface="+mn-lt"/>
                        </a:rPr>
                        <a:t>Support  for Chef &amp; Tools</a:t>
                      </a:r>
                      <a:r>
                        <a:rPr lang="en-GB" sz="1100" b="1" u="none" strike="noStrike" baseline="0" dirty="0" smtClean="0">
                          <a:solidFill>
                            <a:schemeClr val="tx1"/>
                          </a:solidFill>
                          <a:effectLst/>
                          <a:latin typeface="+mn-lt"/>
                        </a:rPr>
                        <a:t> in the Cloud </a:t>
                      </a:r>
                    </a:p>
                    <a:p>
                      <a:pPr algn="l" fontAlgn="b"/>
                      <a:r>
                        <a:rPr lang="en-GB" sz="1100" b="0" i="1" u="none" strike="noStrike" baseline="0" dirty="0" smtClean="0">
                          <a:solidFill>
                            <a:schemeClr val="tx1"/>
                          </a:solidFill>
                          <a:effectLst/>
                          <a:latin typeface="+mn-lt"/>
                        </a:rPr>
                        <a:t>(provided via DCSC)</a:t>
                      </a:r>
                      <a:endParaRPr lang="en-GB" sz="1100" b="0" i="1" u="none" strike="noStrike" dirty="0">
                        <a:solidFill>
                          <a:schemeClr val="tx1"/>
                        </a:solidFill>
                        <a:effectLst/>
                        <a:latin typeface="+mn-lt"/>
                      </a:endParaRPr>
                    </a:p>
                  </a:txBody>
                  <a:tcPr anchor="ctr">
                    <a:lnT w="12700" cap="flat" cmpd="sng" algn="ctr">
                      <a:solidFill>
                        <a:schemeClr val="accent1"/>
                      </a:solidFill>
                      <a:prstDash val="sysDot"/>
                      <a:round/>
                      <a:headEnd type="none" w="med" len="med"/>
                      <a:tailEnd type="none" w="med" len="med"/>
                    </a:lnT>
                    <a:lnB w="12700" cap="flat" cmpd="sng" algn="ctr">
                      <a:solidFill>
                        <a:schemeClr val="accent1"/>
                      </a:solidFill>
                      <a:prstDash val="sysDot"/>
                      <a:round/>
                      <a:headEnd type="none" w="med" len="med"/>
                      <a:tailEnd type="none" w="med" len="med"/>
                    </a:lnB>
                  </a:tcPr>
                </a:tc>
                <a:tc>
                  <a:txBody>
                    <a:bodyPr/>
                    <a:lstStyle/>
                    <a:p>
                      <a:pPr marL="171450" marR="0" lvl="0" indent="-171450" algn="just" defTabSz="914400" rtl="0" eaLnBrk="0" fontAlgn="base" latinLnBrk="0" hangingPunct="0">
                        <a:lnSpc>
                          <a:spcPct val="100000"/>
                        </a:lnSpc>
                        <a:spcBef>
                          <a:spcPct val="20000"/>
                        </a:spcBef>
                        <a:spcAft>
                          <a:spcPct val="0"/>
                        </a:spcAft>
                        <a:buClr>
                          <a:schemeClr val="accent1">
                            <a:lumMod val="50000"/>
                          </a:schemeClr>
                        </a:buClr>
                        <a:buSzTx/>
                        <a:buFont typeface="Arial" panose="020B0604020202020204" pitchFamily="34" charset="0"/>
                        <a:buChar char="•"/>
                        <a:tabLst/>
                        <a:defRPr/>
                      </a:pPr>
                      <a:r>
                        <a:rPr kumimoji="0" lang="en-GB" sz="1050" b="0" i="0" u="none" strike="noStrike" kern="1200" cap="none" normalizeH="0" baseline="0" dirty="0" smtClean="0">
                          <a:ln>
                            <a:noFill/>
                          </a:ln>
                          <a:solidFill>
                            <a:schemeClr val="tx1"/>
                          </a:solidFill>
                          <a:effectLst/>
                          <a:latin typeface="+mn-lt"/>
                          <a:ea typeface="+mn-ea"/>
                          <a:cs typeface="+mn-cs"/>
                        </a:rPr>
                        <a:t>Support through DCSC 1:Many Shared service can be tailored to meet project needs including:</a:t>
                      </a:r>
                    </a:p>
                    <a:p>
                      <a:pPr marL="628650" marR="0" lvl="1" indent="-171450" algn="just" defTabSz="914400" rtl="0" eaLnBrk="0" fontAlgn="base" latinLnBrk="0" hangingPunct="0">
                        <a:lnSpc>
                          <a:spcPct val="100000"/>
                        </a:lnSpc>
                        <a:spcBef>
                          <a:spcPct val="20000"/>
                        </a:spcBef>
                        <a:spcAft>
                          <a:spcPct val="0"/>
                        </a:spcAft>
                        <a:buClr>
                          <a:schemeClr val="accent1">
                            <a:lumMod val="50000"/>
                          </a:schemeClr>
                        </a:buClr>
                        <a:buSzTx/>
                        <a:buFont typeface="Arial" panose="020B0604020202020204" pitchFamily="34" charset="0"/>
                        <a:buChar char="•"/>
                        <a:tabLst/>
                        <a:defRPr/>
                      </a:pPr>
                      <a:r>
                        <a:rPr kumimoji="0" lang="en-GB" sz="1050" b="0" i="0" u="none" strike="noStrike" kern="1200" cap="none" normalizeH="0" baseline="0" dirty="0" smtClean="0">
                          <a:ln>
                            <a:noFill/>
                          </a:ln>
                          <a:solidFill>
                            <a:schemeClr val="tx1"/>
                          </a:solidFill>
                          <a:effectLst/>
                          <a:latin typeface="+mn-lt"/>
                          <a:ea typeface="+mn-ea"/>
                          <a:cs typeface="+mn-cs"/>
                        </a:rPr>
                        <a:t>Deployment Control &amp; Automation</a:t>
                      </a:r>
                    </a:p>
                    <a:p>
                      <a:pPr marL="628650" marR="0" lvl="1" indent="-171450" algn="just" defTabSz="914400" rtl="0" eaLnBrk="0" fontAlgn="base" latinLnBrk="0" hangingPunct="0">
                        <a:lnSpc>
                          <a:spcPct val="100000"/>
                        </a:lnSpc>
                        <a:spcBef>
                          <a:spcPct val="20000"/>
                        </a:spcBef>
                        <a:spcAft>
                          <a:spcPct val="0"/>
                        </a:spcAft>
                        <a:buClr>
                          <a:schemeClr val="accent1">
                            <a:lumMod val="50000"/>
                          </a:schemeClr>
                        </a:buClr>
                        <a:buSzTx/>
                        <a:buFont typeface="Arial" panose="020B0604020202020204" pitchFamily="34" charset="0"/>
                        <a:buChar char="•"/>
                        <a:tabLst/>
                        <a:defRPr/>
                      </a:pPr>
                      <a:r>
                        <a:rPr kumimoji="0" lang="en-GB" sz="1050" b="0" i="0" u="none" strike="noStrike" kern="1200" cap="none" normalizeH="0" baseline="0" dirty="0" smtClean="0">
                          <a:ln>
                            <a:noFill/>
                          </a:ln>
                          <a:solidFill>
                            <a:schemeClr val="tx1"/>
                          </a:solidFill>
                          <a:effectLst/>
                          <a:latin typeface="+mn-lt"/>
                          <a:ea typeface="+mn-ea"/>
                          <a:cs typeface="+mn-cs"/>
                        </a:rPr>
                        <a:t>Infrastructure Management </a:t>
                      </a:r>
                    </a:p>
                    <a:p>
                      <a:pPr marL="628650" marR="0" lvl="1" indent="-171450" algn="just" defTabSz="914400" rtl="0" eaLnBrk="0" fontAlgn="base" latinLnBrk="0" hangingPunct="0">
                        <a:lnSpc>
                          <a:spcPct val="100000"/>
                        </a:lnSpc>
                        <a:spcBef>
                          <a:spcPct val="20000"/>
                        </a:spcBef>
                        <a:spcAft>
                          <a:spcPct val="0"/>
                        </a:spcAft>
                        <a:buClr>
                          <a:schemeClr val="accent1">
                            <a:lumMod val="50000"/>
                          </a:schemeClr>
                        </a:buClr>
                        <a:buSzTx/>
                        <a:buFont typeface="Arial" panose="020B0604020202020204" pitchFamily="34" charset="0"/>
                        <a:buChar char="•"/>
                        <a:tabLst/>
                        <a:defRPr/>
                      </a:pPr>
                      <a:r>
                        <a:rPr kumimoji="0" lang="en-GB" sz="1050" b="0" i="0" u="none" strike="noStrike" kern="1200" cap="none" normalizeH="0" baseline="0" dirty="0" smtClean="0">
                          <a:ln>
                            <a:noFill/>
                          </a:ln>
                          <a:solidFill>
                            <a:schemeClr val="tx1"/>
                          </a:solidFill>
                          <a:effectLst/>
                          <a:latin typeface="+mn-lt"/>
                          <a:ea typeface="+mn-ea"/>
                          <a:cs typeface="+mn-cs"/>
                        </a:rPr>
                        <a:t>Configuration management</a:t>
                      </a:r>
                    </a:p>
                    <a:p>
                      <a:pPr marL="628650" marR="0" lvl="1" indent="-171450" algn="just" defTabSz="914400" rtl="0" eaLnBrk="0" fontAlgn="base" latinLnBrk="0" hangingPunct="0">
                        <a:lnSpc>
                          <a:spcPct val="100000"/>
                        </a:lnSpc>
                        <a:spcBef>
                          <a:spcPct val="20000"/>
                        </a:spcBef>
                        <a:spcAft>
                          <a:spcPct val="0"/>
                        </a:spcAft>
                        <a:buClr>
                          <a:schemeClr val="accent1">
                            <a:lumMod val="50000"/>
                          </a:schemeClr>
                        </a:buClr>
                        <a:buSzTx/>
                        <a:buFont typeface="Arial" panose="020B0604020202020204" pitchFamily="34" charset="0"/>
                        <a:buChar char="•"/>
                        <a:tabLst/>
                        <a:defRPr/>
                      </a:pPr>
                      <a:r>
                        <a:rPr kumimoji="0" lang="en-GB" sz="1050" b="0" i="0" u="none" strike="noStrike" kern="1200" cap="none" normalizeH="0" baseline="0" dirty="0" smtClean="0">
                          <a:ln>
                            <a:noFill/>
                          </a:ln>
                          <a:solidFill>
                            <a:schemeClr val="tx1"/>
                          </a:solidFill>
                          <a:effectLst/>
                          <a:latin typeface="+mn-lt"/>
                          <a:ea typeface="+mn-ea"/>
                          <a:cs typeface="+mn-cs"/>
                        </a:rPr>
                        <a:t>Implementation and support services throughout the duration of the development and test effort</a:t>
                      </a:r>
                    </a:p>
                  </a:txBody>
                  <a:tcPr marL="45720" marR="45720" anchor="ctr">
                    <a:lnT w="12700" cap="flat" cmpd="sng" algn="ctr">
                      <a:solidFill>
                        <a:schemeClr val="accent1"/>
                      </a:solidFill>
                      <a:prstDash val="sysDot"/>
                      <a:round/>
                      <a:headEnd type="none" w="med" len="med"/>
                      <a:tailEnd type="none" w="med" len="med"/>
                    </a:lnT>
                    <a:lnB w="12700" cap="flat" cmpd="sng" algn="ctr">
                      <a:solidFill>
                        <a:schemeClr val="accent1"/>
                      </a:solidFill>
                      <a:prstDash val="sysDot"/>
                      <a:round/>
                      <a:headEnd type="none" w="med" len="med"/>
                      <a:tailEnd type="none" w="med" len="med"/>
                    </a:lnB>
                  </a:tcPr>
                </a:tc>
                <a:tc>
                  <a:txBody>
                    <a:bodyPr/>
                    <a:lstStyle/>
                    <a:p>
                      <a:pPr marL="171450" marR="0" lvl="0" indent="-171450" algn="l" defTabSz="914400" rtl="0" eaLnBrk="0" fontAlgn="base" latinLnBrk="0" hangingPunct="0">
                        <a:lnSpc>
                          <a:spcPct val="100000"/>
                        </a:lnSpc>
                        <a:spcBef>
                          <a:spcPct val="20000"/>
                        </a:spcBef>
                        <a:spcAft>
                          <a:spcPct val="0"/>
                        </a:spcAft>
                        <a:buClr>
                          <a:schemeClr val="accent1">
                            <a:lumMod val="50000"/>
                          </a:schemeClr>
                        </a:buClr>
                        <a:buSzTx/>
                        <a:buFont typeface="Arial" panose="020B0604020202020204" pitchFamily="34" charset="0"/>
                        <a:buChar char="•"/>
                        <a:tabLst/>
                        <a:defRPr/>
                      </a:pPr>
                      <a:r>
                        <a:rPr kumimoji="0" lang="en-GB" sz="1050" b="0" i="0" u="none" strike="noStrike" cap="none" normalizeH="0" baseline="0" dirty="0" smtClean="0">
                          <a:ln>
                            <a:noFill/>
                          </a:ln>
                          <a:solidFill>
                            <a:schemeClr val="tx1"/>
                          </a:solidFill>
                          <a:effectLst/>
                          <a:latin typeface="+mn-lt"/>
                        </a:rPr>
                        <a:t>Medium to high complexity</a:t>
                      </a:r>
                    </a:p>
                    <a:p>
                      <a:pPr marL="171450" marR="0" lvl="0" indent="-171450" algn="l" defTabSz="914400" rtl="0" eaLnBrk="0" fontAlgn="base" latinLnBrk="0" hangingPunct="0">
                        <a:lnSpc>
                          <a:spcPct val="100000"/>
                        </a:lnSpc>
                        <a:spcBef>
                          <a:spcPct val="20000"/>
                        </a:spcBef>
                        <a:spcAft>
                          <a:spcPct val="0"/>
                        </a:spcAft>
                        <a:buClr>
                          <a:schemeClr val="accent1">
                            <a:lumMod val="50000"/>
                          </a:schemeClr>
                        </a:buClr>
                        <a:buSzTx/>
                        <a:buFont typeface="Arial" panose="020B0604020202020204" pitchFamily="34" charset="0"/>
                        <a:buChar char="•"/>
                        <a:tabLst/>
                        <a:defRPr/>
                      </a:pPr>
                      <a:r>
                        <a:rPr kumimoji="0" lang="en-GB" sz="1050" b="0" i="0" u="none" strike="noStrike" cap="none" normalizeH="0" baseline="0" dirty="0" smtClean="0">
                          <a:ln>
                            <a:noFill/>
                          </a:ln>
                          <a:solidFill>
                            <a:schemeClr val="tx1"/>
                          </a:solidFill>
                          <a:effectLst/>
                          <a:latin typeface="+mn-lt"/>
                        </a:rPr>
                        <a:t>Medium term mobilisation</a:t>
                      </a:r>
                    </a:p>
                  </a:txBody>
                  <a:tcPr marL="45720" marR="45720" anchor="ctr">
                    <a:lnT w="12700" cap="flat" cmpd="sng" algn="ctr">
                      <a:solidFill>
                        <a:schemeClr val="accent1"/>
                      </a:solidFill>
                      <a:prstDash val="sysDot"/>
                      <a:round/>
                      <a:headEnd type="none" w="med" len="med"/>
                      <a:tailEnd type="none" w="med" len="med"/>
                    </a:lnT>
                    <a:lnB w="12700" cap="flat" cmpd="sng" algn="ctr">
                      <a:solidFill>
                        <a:schemeClr val="accent1"/>
                      </a:solidFill>
                      <a:prstDash val="sysDot"/>
                      <a:round/>
                      <a:headEnd type="none" w="med" len="med"/>
                      <a:tailEnd type="none" w="med" len="med"/>
                    </a:lnB>
                  </a:tcPr>
                </a:tc>
              </a:tr>
            </a:tbl>
          </a:graphicData>
        </a:graphic>
      </p:graphicFrame>
    </p:spTree>
    <p:extLst>
      <p:ext uri="{BB962C8B-B14F-4D97-AF65-F5344CB8AC3E}">
        <p14:creationId xmlns:p14="http://schemas.microsoft.com/office/powerpoint/2010/main" val="359348256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60375" y="1268760"/>
            <a:ext cx="8360097" cy="5112000"/>
          </a:xfrm>
        </p:spPr>
        <p:txBody>
          <a:bodyPr/>
          <a:lstStyle/>
          <a:p>
            <a:pPr marL="612" indent="0">
              <a:buNone/>
            </a:pPr>
            <a:r>
              <a:rPr lang="en-GB" sz="1600" dirty="0" smtClean="0"/>
              <a:t>Chef Factory leadership team:</a:t>
            </a:r>
          </a:p>
          <a:p>
            <a:pPr marL="612" indent="0">
              <a:buNone/>
            </a:pPr>
            <a:endParaRPr lang="en-GB" sz="1600" dirty="0"/>
          </a:p>
          <a:p>
            <a:pPr marL="612" indent="0">
              <a:buNone/>
            </a:pPr>
            <a:endParaRPr lang="en-GB" sz="1600" dirty="0" smtClean="0"/>
          </a:p>
          <a:p>
            <a:pPr marL="612" indent="0">
              <a:buNone/>
            </a:pPr>
            <a:r>
              <a:rPr lang="en-GB" sz="1600" dirty="0" smtClean="0"/>
              <a:t>	</a:t>
            </a:r>
          </a:p>
          <a:p>
            <a:pPr marL="612" indent="0">
              <a:buNone/>
            </a:pPr>
            <a:r>
              <a:rPr lang="en-GB" sz="1600" dirty="0" smtClean="0"/>
              <a:t>			</a:t>
            </a:r>
            <a:endParaRPr lang="en-GB" sz="1600" dirty="0"/>
          </a:p>
          <a:p>
            <a:pPr marL="612" indent="0">
              <a:buNone/>
            </a:pPr>
            <a:endParaRPr lang="en-GB" sz="1600" dirty="0" smtClean="0"/>
          </a:p>
          <a:p>
            <a:pPr marL="612" indent="0">
              <a:buNone/>
            </a:pPr>
            <a:endParaRPr lang="en-GB" sz="1600" dirty="0"/>
          </a:p>
          <a:p>
            <a:pPr marL="612" indent="0">
              <a:buNone/>
            </a:pPr>
            <a:endParaRPr lang="en-GB" sz="1600" dirty="0" smtClean="0"/>
          </a:p>
          <a:p>
            <a:pPr marL="612" indent="0">
              <a:buNone/>
            </a:pPr>
            <a:endParaRPr lang="en-GB" sz="1600" dirty="0"/>
          </a:p>
          <a:p>
            <a:pPr marL="612" indent="0">
              <a:buNone/>
            </a:pPr>
            <a:r>
              <a:rPr lang="en-GB" sz="1600" dirty="0" smtClean="0"/>
              <a:t>Contact: </a:t>
            </a:r>
            <a:r>
              <a:rPr lang="en-GB" sz="1600" dirty="0" smtClean="0">
                <a:hlinkClick r:id="rId3"/>
              </a:rPr>
              <a:t>dcsc.chef-factory@accenture.com</a:t>
            </a:r>
            <a:r>
              <a:rPr lang="en-GB" sz="1600" dirty="0" smtClean="0"/>
              <a:t> </a:t>
            </a:r>
          </a:p>
          <a:p>
            <a:pPr marL="612" indent="0">
              <a:buNone/>
            </a:pPr>
            <a:r>
              <a:rPr lang="en-GB" sz="1600" dirty="0"/>
              <a:t>You can also follow us on yammer  -  </a:t>
            </a:r>
            <a:r>
              <a:rPr lang="en-GB" sz="1600" b="1" dirty="0">
                <a:solidFill>
                  <a:srgbClr val="00B050"/>
                </a:solidFill>
                <a:hlinkClick r:id="rId4"/>
              </a:rPr>
              <a:t>DCS - Chef</a:t>
            </a:r>
            <a:endParaRPr lang="en-GB" sz="1600" b="1" dirty="0">
              <a:solidFill>
                <a:srgbClr val="00B050"/>
              </a:solidFill>
            </a:endParaRPr>
          </a:p>
          <a:p>
            <a:pPr marL="612" indent="0">
              <a:buNone/>
            </a:pPr>
            <a:endParaRPr lang="en-GB" sz="1600" dirty="0"/>
          </a:p>
          <a:p>
            <a:pPr marL="612" indent="0">
              <a:buNone/>
            </a:pPr>
            <a:endParaRPr lang="en-GB" sz="1600" dirty="0" smtClean="0"/>
          </a:p>
          <a:p>
            <a:pPr marL="612" indent="0">
              <a:buNone/>
            </a:pPr>
            <a:endParaRPr lang="en-GB" sz="1600" dirty="0" smtClean="0"/>
          </a:p>
          <a:p>
            <a:pPr marL="612" indent="0">
              <a:buNone/>
            </a:pPr>
            <a:endParaRPr lang="en-GB" dirty="0" smtClean="0"/>
          </a:p>
          <a:p>
            <a:pPr marL="612" indent="0">
              <a:buNone/>
            </a:pPr>
            <a:endParaRPr lang="en-GB" dirty="0" smtClean="0"/>
          </a:p>
          <a:p>
            <a:pPr marL="612" indent="0">
              <a:buNone/>
            </a:pPr>
            <a:endParaRPr lang="en-GB" dirty="0"/>
          </a:p>
        </p:txBody>
      </p:sp>
      <p:sp>
        <p:nvSpPr>
          <p:cNvPr id="3" name="Title 2"/>
          <p:cNvSpPr>
            <a:spLocks noGrp="1"/>
          </p:cNvSpPr>
          <p:nvPr>
            <p:ph type="title"/>
          </p:nvPr>
        </p:nvSpPr>
        <p:spPr/>
        <p:txBody>
          <a:bodyPr/>
          <a:lstStyle/>
          <a:p>
            <a:r>
              <a:rPr lang="en-GB" dirty="0" smtClean="0"/>
              <a:t>Who to contact</a:t>
            </a:r>
            <a:endParaRPr lang="en-GB" dirty="0"/>
          </a:p>
        </p:txBody>
      </p:sp>
      <p:pic>
        <p:nvPicPr>
          <p:cNvPr id="10242" name="Picture 2" descr="C:\Users\k.hollingsworth\AppData\Local\Microsoft\Windows\Temporary Internet Files\Content.Outlook\U30LES3G\chart.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55410" y="3460082"/>
            <a:ext cx="1481086" cy="1481086"/>
          </a:xfrm>
          <a:prstGeom prst="rect">
            <a:avLst/>
          </a:prstGeom>
          <a:noFill/>
          <a:extLst>
            <a:ext uri="{909E8E84-426E-40DD-AFC4-6F175D3DCCD1}">
              <a14:hiddenFill xmlns:a14="http://schemas.microsoft.com/office/drawing/2010/main">
                <a:solidFill>
                  <a:srgbClr val="FFFFFF"/>
                </a:solidFill>
              </a14:hiddenFill>
            </a:ext>
          </a:extLst>
        </p:spPr>
      </p:pic>
      <p:sp>
        <p:nvSpPr>
          <p:cNvPr id="9" name="AutoShape 4" descr="Profile Pictur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10246"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585300" y="1700808"/>
            <a:ext cx="1431629" cy="14316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TextBox 13"/>
          <p:cNvSpPr txBox="1"/>
          <p:nvPr/>
        </p:nvSpPr>
        <p:spPr>
          <a:xfrm>
            <a:off x="1536629" y="1844824"/>
            <a:ext cx="6048672" cy="3305520"/>
          </a:xfrm>
          <a:prstGeom prst="rect">
            <a:avLst/>
          </a:prstGeom>
          <a:noFill/>
        </p:spPr>
        <p:txBody>
          <a:bodyPr wrap="square" rtlCol="0">
            <a:spAutoFit/>
          </a:bodyPr>
          <a:lstStyle/>
          <a:p>
            <a:r>
              <a:rPr lang="en-GB" sz="1200" b="1" dirty="0" smtClean="0"/>
              <a:t>Hitesh Joshi </a:t>
            </a:r>
            <a:r>
              <a:rPr lang="en-GB" sz="1200" dirty="0" smtClean="0"/>
              <a:t>– </a:t>
            </a:r>
            <a:r>
              <a:rPr lang="en-GB" sz="1200" dirty="0"/>
              <a:t>Hitesh has been with Accenture </a:t>
            </a:r>
            <a:r>
              <a:rPr lang="en-GB" sz="1200" dirty="0" smtClean="0"/>
              <a:t>9.5 </a:t>
            </a:r>
            <a:r>
              <a:rPr lang="en-GB" sz="1200" dirty="0"/>
              <a:t>years and has worked </a:t>
            </a:r>
            <a:r>
              <a:rPr lang="en-GB" sz="1200" dirty="0" smtClean="0"/>
              <a:t>across nearly all of the stages </a:t>
            </a:r>
            <a:r>
              <a:rPr lang="en-GB" sz="1200" dirty="0"/>
              <a:t>of the Software Delivery Life </a:t>
            </a:r>
            <a:r>
              <a:rPr lang="en-GB" sz="1200" dirty="0" smtClean="0"/>
              <a:t>Cycle: </a:t>
            </a:r>
            <a:r>
              <a:rPr lang="en-GB" sz="1200" dirty="0"/>
              <a:t>from Design to Development, Test, Performance Engineering, Architecture, </a:t>
            </a:r>
            <a:r>
              <a:rPr lang="en-GB" sz="1200" dirty="0" err="1"/>
              <a:t>DevOps</a:t>
            </a:r>
            <a:r>
              <a:rPr lang="en-GB" sz="1200" dirty="0"/>
              <a:t> and Delivery Management. </a:t>
            </a:r>
            <a:endParaRPr lang="en-GB" sz="1200" dirty="0" smtClean="0"/>
          </a:p>
          <a:p>
            <a:r>
              <a:rPr lang="en-GB" sz="1200" dirty="0" smtClean="0"/>
              <a:t>Hitesh is based in London and currently </a:t>
            </a:r>
            <a:r>
              <a:rPr lang="en-GB" sz="1200" dirty="0"/>
              <a:t>works within DevOps for DCSC and the </a:t>
            </a:r>
            <a:r>
              <a:rPr lang="en-GB" sz="1200" dirty="0" smtClean="0"/>
              <a:t>Accenture Cloud Platform (ACP), </a:t>
            </a:r>
            <a:r>
              <a:rPr lang="en-GB" sz="1200" dirty="0"/>
              <a:t>owning delivery of Chef </a:t>
            </a:r>
            <a:r>
              <a:rPr lang="en-GB" sz="1200" dirty="0" smtClean="0"/>
              <a:t>automation to a variety of clients.</a:t>
            </a:r>
          </a:p>
          <a:p>
            <a:endParaRPr lang="en-GB" sz="1200" dirty="0"/>
          </a:p>
          <a:p>
            <a:endParaRPr lang="en-US" sz="1200" dirty="0" smtClean="0"/>
          </a:p>
          <a:p>
            <a:pPr algn="just" eaLnBrk="0" hangingPunct="0">
              <a:spcBef>
                <a:spcPct val="20000"/>
              </a:spcBef>
              <a:buSzPct val="100000"/>
              <a:buFont typeface="Wingdings" pitchFamily="2" charset="2"/>
              <a:buNone/>
              <a:defRPr/>
            </a:pPr>
            <a:endParaRPr lang="en-US" sz="1200" dirty="0"/>
          </a:p>
          <a:p>
            <a:pPr algn="just" eaLnBrk="0" hangingPunct="0">
              <a:spcBef>
                <a:spcPct val="20000"/>
              </a:spcBef>
              <a:buSzPct val="100000"/>
              <a:defRPr/>
            </a:pPr>
            <a:r>
              <a:rPr lang="en-US" sz="1200" b="1" dirty="0" smtClean="0"/>
              <a:t>Sandeep Rathod –  </a:t>
            </a:r>
            <a:r>
              <a:rPr lang="en-US" sz="1200" dirty="0"/>
              <a:t>Sandeep has over 12 years of experience in leading and managing complex transformation projects. Has successfully led cross functional teams with diverse technical backgrounds in multi-vendor environments for AM and SI projects. He has played various roles involving project and delivery management, onshore - offshore co-ordination, technical architecture, delivery life cycle from design to deploy. Sandeep is based in Pune and has been with Accenture for </a:t>
            </a:r>
            <a:r>
              <a:rPr lang="en-US" sz="1200" dirty="0" smtClean="0"/>
              <a:t>over 10 years, engaged on  large-scale engagements across different industries.</a:t>
            </a:r>
            <a:endParaRPr lang="en-US" sz="1200" dirty="0"/>
          </a:p>
        </p:txBody>
      </p:sp>
      <p:pic>
        <p:nvPicPr>
          <p:cNvPr id="15"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10461" y="1916832"/>
            <a:ext cx="798464" cy="10646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Picture 2" descr="C:\Users\marisa.arias.sanz\AppData\Local\Microsoft\Windows\Temporary Internet Files\Content.Outlook\NJYXIWSG\sandeep_rathod.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5664" t="2744" r="6394" b="11030"/>
          <a:stretch/>
        </p:blipFill>
        <p:spPr bwMode="auto">
          <a:xfrm>
            <a:off x="710461" y="3730687"/>
            <a:ext cx="798464" cy="1018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70393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sz="quarter"/>
          </p:nvPr>
        </p:nvSpPr>
        <p:spPr/>
        <p:txBody>
          <a:bodyPr/>
          <a:lstStyle/>
          <a:p>
            <a:r>
              <a:rPr lang="en-GB" b="1" dirty="0" smtClean="0"/>
              <a:t>Appendix</a:t>
            </a:r>
            <a:endParaRPr lang="en-GB" b="1" dirty="0"/>
          </a:p>
        </p:txBody>
      </p:sp>
      <p:sp>
        <p:nvSpPr>
          <p:cNvPr id="5" name="Subtitle 4"/>
          <p:cNvSpPr>
            <a:spLocks noGrp="1"/>
          </p:cNvSpPr>
          <p:nvPr>
            <p:ph type="subTitle" sz="quarter" idx="1"/>
          </p:nvPr>
        </p:nvSpPr>
        <p:spPr/>
        <p:txBody>
          <a:bodyPr/>
          <a:lstStyle/>
          <a:p>
            <a:r>
              <a:rPr lang="en-GB" b="1" dirty="0" smtClean="0"/>
              <a:t>Chef Factory</a:t>
            </a:r>
            <a:endParaRPr lang="en-GB" b="1" dirty="0"/>
          </a:p>
        </p:txBody>
      </p:sp>
    </p:spTree>
    <p:extLst>
      <p:ext uri="{BB962C8B-B14F-4D97-AF65-F5344CB8AC3E}">
        <p14:creationId xmlns:p14="http://schemas.microsoft.com/office/powerpoint/2010/main" val="172532406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Success Story: </a:t>
            </a:r>
            <a:r>
              <a:rPr lang="en-GB" altLang="en-US" sz="2400" dirty="0"/>
              <a:t>Scandinavian </a:t>
            </a:r>
            <a:r>
              <a:rPr lang="en-GB" altLang="en-US" sz="2400" dirty="0" smtClean="0"/>
              <a:t>Retailer</a:t>
            </a:r>
            <a:endParaRPr lang="en-US" sz="2400" dirty="0"/>
          </a:p>
        </p:txBody>
      </p:sp>
      <p:sp>
        <p:nvSpPr>
          <p:cNvPr id="15" name="TextBox 14"/>
          <p:cNvSpPr txBox="1"/>
          <p:nvPr/>
        </p:nvSpPr>
        <p:spPr>
          <a:xfrm>
            <a:off x="257103" y="1420335"/>
            <a:ext cx="4180599" cy="2398762"/>
          </a:xfrm>
          <a:prstGeom prst="rect">
            <a:avLst/>
          </a:prstGeom>
          <a:noFill/>
          <a:ln w="28575">
            <a:solidFill>
              <a:schemeClr val="accent2">
                <a:lumMod val="40000"/>
                <a:lumOff val="60000"/>
              </a:schemeClr>
            </a:solidFill>
          </a:ln>
        </p:spPr>
        <p:txBody>
          <a:bodyPr wrap="square" rtlCol="0">
            <a:noAutofit/>
          </a:bodyPr>
          <a:lstStyle/>
          <a:p>
            <a:pPr>
              <a:defRPr/>
            </a:pPr>
            <a:endParaRPr lang="en-GB" altLang="en-US" sz="1200" b="1" dirty="0" smtClean="0"/>
          </a:p>
          <a:p>
            <a:pPr>
              <a:defRPr/>
            </a:pPr>
            <a:r>
              <a:rPr lang="en-GB" altLang="en-US" sz="1200" b="1" dirty="0" smtClean="0"/>
              <a:t>Scandinavian </a:t>
            </a:r>
            <a:r>
              <a:rPr lang="en-GB" altLang="en-US" sz="1200" b="1" dirty="0"/>
              <a:t>Retailer using </a:t>
            </a:r>
            <a:r>
              <a:rPr lang="en-GB" altLang="en-US" sz="1200" b="1" dirty="0" smtClean="0"/>
              <a:t>Chef Factory and DCSC</a:t>
            </a:r>
          </a:p>
          <a:p>
            <a:pPr>
              <a:defRPr/>
            </a:pPr>
            <a:endParaRPr lang="en-GB" sz="1200" b="1" dirty="0"/>
          </a:p>
          <a:p>
            <a:r>
              <a:rPr lang="en-GB" sz="1100" b="1" dirty="0"/>
              <a:t>Project characteristics:</a:t>
            </a:r>
            <a:r>
              <a:rPr lang="en-GB" sz="1100" dirty="0"/>
              <a:t>  </a:t>
            </a:r>
            <a:endParaRPr lang="en-GB" sz="1100" dirty="0" smtClean="0"/>
          </a:p>
          <a:p>
            <a:endParaRPr lang="en-GB" sz="1100" dirty="0"/>
          </a:p>
          <a:p>
            <a:pPr marL="171450" indent="-171450">
              <a:buFont typeface="Wingdings" panose="05000000000000000000" pitchFamily="2" charset="2"/>
              <a:buChar char="§"/>
            </a:pPr>
            <a:r>
              <a:rPr lang="en-GB" sz="1100" dirty="0"/>
              <a:t>Systems Integration programme creating new applications to enhance existing multi-channel retail capabilities.  </a:t>
            </a:r>
          </a:p>
          <a:p>
            <a:pPr marL="171450" indent="-171450">
              <a:buFont typeface="Wingdings" panose="05000000000000000000" pitchFamily="2" charset="2"/>
              <a:buChar char="§"/>
            </a:pPr>
            <a:r>
              <a:rPr lang="en-GB" sz="1100" dirty="0"/>
              <a:t>Varied technologies including : Adobe CQ5, </a:t>
            </a:r>
            <a:r>
              <a:rPr lang="en-GB" sz="1100" dirty="0" err="1"/>
              <a:t>Hybris</a:t>
            </a:r>
            <a:r>
              <a:rPr lang="en-GB" sz="1100" dirty="0"/>
              <a:t> and </a:t>
            </a:r>
            <a:r>
              <a:rPr lang="en-GB" sz="1100" dirty="0" err="1"/>
              <a:t>Jboss</a:t>
            </a:r>
            <a:r>
              <a:rPr lang="en-GB" sz="1100" dirty="0"/>
              <a:t>.</a:t>
            </a:r>
          </a:p>
          <a:p>
            <a:pPr marL="171450" indent="-171450">
              <a:buFont typeface="Wingdings" panose="05000000000000000000" pitchFamily="2" charset="2"/>
              <a:buChar char="§"/>
            </a:pPr>
            <a:r>
              <a:rPr lang="en-GB" sz="1100" dirty="0"/>
              <a:t>Complex multi-release, multi-production environment requirements.</a:t>
            </a:r>
          </a:p>
        </p:txBody>
      </p:sp>
      <p:sp>
        <p:nvSpPr>
          <p:cNvPr id="5" name="TextBox 4"/>
          <p:cNvSpPr txBox="1"/>
          <p:nvPr/>
        </p:nvSpPr>
        <p:spPr>
          <a:xfrm>
            <a:off x="4722127" y="1420335"/>
            <a:ext cx="4179600" cy="2398762"/>
          </a:xfrm>
          <a:prstGeom prst="rect">
            <a:avLst/>
          </a:prstGeom>
          <a:noFill/>
          <a:ln w="28575">
            <a:solidFill>
              <a:schemeClr val="bg2">
                <a:lumMod val="90000"/>
              </a:schemeClr>
            </a:solidFill>
          </a:ln>
        </p:spPr>
        <p:txBody>
          <a:bodyPr wrap="square" rtlCol="0">
            <a:noAutofit/>
          </a:bodyPr>
          <a:lstStyle/>
          <a:p>
            <a:endParaRPr lang="en-GB" sz="1100" b="1" dirty="0" smtClean="0"/>
          </a:p>
          <a:p>
            <a:pPr marL="285750" lvl="0" indent="-285750">
              <a:buFont typeface="Wingdings" panose="05000000000000000000" pitchFamily="2" charset="2"/>
              <a:buChar char=""/>
            </a:pPr>
            <a:r>
              <a:rPr lang="en-GB" sz="1100" b="1" dirty="0"/>
              <a:t>Chef Factory &amp; DCSC</a:t>
            </a:r>
          </a:p>
          <a:p>
            <a:pPr marL="742950" lvl="1" indent="-285750">
              <a:buFont typeface="Wingdings" panose="05000000000000000000" pitchFamily="2" charset="2"/>
              <a:buChar char=""/>
            </a:pPr>
            <a:r>
              <a:rPr lang="en-GB" sz="1000" dirty="0"/>
              <a:t>Automated environment creation - </a:t>
            </a:r>
            <a:r>
              <a:rPr lang="en-US" sz="1000" dirty="0"/>
              <a:t>Infrastructure as code</a:t>
            </a:r>
            <a:endParaRPr lang="en-GB" sz="1000" dirty="0"/>
          </a:p>
          <a:p>
            <a:pPr marL="742950" lvl="1" indent="-285750">
              <a:buFont typeface="Wingdings" panose="05000000000000000000" pitchFamily="2" charset="2"/>
              <a:buChar char=""/>
            </a:pPr>
            <a:r>
              <a:rPr lang="en-GB" sz="1000" dirty="0"/>
              <a:t>Tooling design integration and implementation</a:t>
            </a:r>
          </a:p>
          <a:p>
            <a:pPr marL="742950" lvl="1" indent="-285750">
              <a:buFont typeface="Wingdings" panose="05000000000000000000" pitchFamily="2" charset="2"/>
              <a:buChar char=""/>
            </a:pPr>
            <a:r>
              <a:rPr lang="en-GB" sz="1000" dirty="0"/>
              <a:t>Automated application delivery</a:t>
            </a:r>
          </a:p>
          <a:p>
            <a:pPr marL="742950" lvl="1" indent="-285750">
              <a:buFont typeface="Wingdings" panose="05000000000000000000" pitchFamily="2" charset="2"/>
              <a:buChar char=""/>
            </a:pPr>
            <a:r>
              <a:rPr lang="en-GB" sz="1000" dirty="0"/>
              <a:t>Ongoing tooling support</a:t>
            </a:r>
          </a:p>
          <a:p>
            <a:pPr marL="742950" lvl="1" indent="-285750">
              <a:buFont typeface="Wingdings" panose="05000000000000000000" pitchFamily="2" charset="2"/>
              <a:buChar char=""/>
            </a:pPr>
            <a:r>
              <a:rPr lang="en-GB" sz="1000" dirty="0"/>
              <a:t>Industrialised delivery from the outset: continuous integration, automated testing, automated quality </a:t>
            </a:r>
            <a:r>
              <a:rPr lang="en-GB" sz="1000" dirty="0" smtClean="0"/>
              <a:t>gates.</a:t>
            </a:r>
          </a:p>
          <a:p>
            <a:pPr marL="285750" indent="-285750">
              <a:buFont typeface="Wingdings" panose="05000000000000000000" pitchFamily="2" charset="2"/>
              <a:buChar char=""/>
            </a:pPr>
            <a:r>
              <a:rPr lang="en-GB" sz="1100" b="1" dirty="0" smtClean="0"/>
              <a:t>Tools </a:t>
            </a:r>
            <a:r>
              <a:rPr lang="en-GB" sz="1100" b="1" dirty="0"/>
              <a:t>in the Cloud</a:t>
            </a:r>
          </a:p>
          <a:p>
            <a:pPr marL="742950" lvl="1" indent="-285750">
              <a:buFont typeface="Wingdings" panose="05000000000000000000" pitchFamily="2" charset="2"/>
              <a:buChar char=""/>
            </a:pPr>
            <a:r>
              <a:rPr lang="en-GB" sz="1000" dirty="0"/>
              <a:t>Chef and Git configuration management</a:t>
            </a:r>
          </a:p>
          <a:p>
            <a:pPr marL="742950" lvl="1" indent="-285750">
              <a:buFont typeface="Wingdings" panose="05000000000000000000" pitchFamily="2" charset="2"/>
              <a:buChar char=""/>
            </a:pPr>
            <a:r>
              <a:rPr lang="en-GB" sz="1000" dirty="0"/>
              <a:t>Jenkins continuous integration</a:t>
            </a:r>
          </a:p>
          <a:p>
            <a:pPr marL="742950" lvl="1" indent="-285750">
              <a:buFont typeface="Wingdings" panose="05000000000000000000" pitchFamily="2" charset="2"/>
              <a:buChar char=""/>
            </a:pPr>
            <a:r>
              <a:rPr lang="en-GB" sz="1000" dirty="0"/>
              <a:t>Rational Jazz application lifecycle management</a:t>
            </a:r>
          </a:p>
          <a:p>
            <a:pPr marL="742950" lvl="1" indent="-285750">
              <a:buFont typeface="Wingdings" panose="05000000000000000000" pitchFamily="2" charset="2"/>
              <a:buChar char=""/>
            </a:pPr>
            <a:r>
              <a:rPr lang="en-GB" sz="1000" dirty="0"/>
              <a:t>Sonar for code quality analysis</a:t>
            </a:r>
          </a:p>
          <a:p>
            <a:pPr marL="742950" lvl="1" indent="-285750">
              <a:buFont typeface="Wingdings" panose="05000000000000000000" pitchFamily="2" charset="2"/>
              <a:buChar char=""/>
            </a:pPr>
            <a:r>
              <a:rPr lang="en-GB" sz="1000" dirty="0" err="1"/>
              <a:t>Gerrit</a:t>
            </a:r>
            <a:r>
              <a:rPr lang="en-GB" sz="1000" dirty="0"/>
              <a:t> for automated peer </a:t>
            </a:r>
            <a:r>
              <a:rPr lang="en-GB" sz="1000" dirty="0" smtClean="0"/>
              <a:t>review  </a:t>
            </a:r>
            <a:endParaRPr lang="en-GB" sz="1000" dirty="0"/>
          </a:p>
        </p:txBody>
      </p:sp>
      <p:sp>
        <p:nvSpPr>
          <p:cNvPr id="6" name="TextBox 5"/>
          <p:cNvSpPr txBox="1"/>
          <p:nvPr/>
        </p:nvSpPr>
        <p:spPr>
          <a:xfrm>
            <a:off x="257103" y="4070276"/>
            <a:ext cx="4180599" cy="2398762"/>
          </a:xfrm>
          <a:prstGeom prst="rect">
            <a:avLst/>
          </a:prstGeom>
          <a:noFill/>
          <a:ln w="28575">
            <a:solidFill>
              <a:schemeClr val="bg2">
                <a:lumMod val="50000"/>
              </a:schemeClr>
            </a:solidFill>
          </a:ln>
        </p:spPr>
        <p:txBody>
          <a:bodyPr wrap="square" rtlCol="0">
            <a:noAutofit/>
          </a:bodyPr>
          <a:lstStyle/>
          <a:p>
            <a:endParaRPr lang="en-GB" sz="1000" dirty="0" smtClean="0"/>
          </a:p>
          <a:p>
            <a:r>
              <a:rPr lang="en-GB" sz="1000" dirty="0" smtClean="0"/>
              <a:t>From </a:t>
            </a:r>
            <a:r>
              <a:rPr lang="en-GB" sz="1000" dirty="0"/>
              <a:t>“nothing” to code being automatically pulled from version control, built and deployed into automatically created development/test environments within 6 weeks</a:t>
            </a:r>
            <a:r>
              <a:rPr lang="en-GB" sz="1000" dirty="0" smtClean="0"/>
              <a:t>.</a:t>
            </a:r>
            <a:r>
              <a:rPr lang="en-GB" sz="1000" dirty="0"/>
              <a:t> </a:t>
            </a:r>
            <a:endParaRPr lang="en-GB" sz="1000" dirty="0" smtClean="0"/>
          </a:p>
          <a:p>
            <a:r>
              <a:rPr lang="en-GB" sz="1000" dirty="0" smtClean="0"/>
              <a:t>Traceability </a:t>
            </a:r>
            <a:r>
              <a:rPr lang="en-GB" sz="1000" dirty="0"/>
              <a:t>captured from Requirements to Delivery </a:t>
            </a:r>
            <a:r>
              <a:rPr lang="en-GB" sz="1000" dirty="0" smtClean="0"/>
              <a:t>tasks, Requirements </a:t>
            </a:r>
            <a:r>
              <a:rPr lang="en-GB" sz="1000" dirty="0"/>
              <a:t>to Test Cases, Code to Delivery </a:t>
            </a:r>
            <a:r>
              <a:rPr lang="en-GB" sz="1000" dirty="0" smtClean="0"/>
              <a:t>Work </a:t>
            </a:r>
            <a:r>
              <a:rPr lang="en-GB" sz="1000" dirty="0"/>
              <a:t>and </a:t>
            </a:r>
            <a:r>
              <a:rPr lang="en-GB" sz="1000" dirty="0" smtClean="0"/>
              <a:t>Defects, etc.</a:t>
            </a:r>
          </a:p>
          <a:p>
            <a:endParaRPr lang="en-GB" sz="1000" dirty="0"/>
          </a:p>
          <a:p>
            <a:pPr marL="171450" lvl="0" indent="-171450">
              <a:buFont typeface="Wingdings" panose="05000000000000000000" pitchFamily="2" charset="2"/>
              <a:buChar char="ü"/>
            </a:pPr>
            <a:r>
              <a:rPr lang="en-GB" sz="1000" dirty="0" smtClean="0"/>
              <a:t>DCSC </a:t>
            </a:r>
            <a:r>
              <a:rPr lang="en-GB" sz="1000" dirty="0"/>
              <a:t>automated Continuous Integration which </a:t>
            </a:r>
            <a:br>
              <a:rPr lang="en-GB" sz="1000" dirty="0"/>
            </a:br>
            <a:r>
              <a:rPr lang="en-GB" sz="1000" dirty="0"/>
              <a:t>has produced over 5000 builds</a:t>
            </a:r>
          </a:p>
          <a:p>
            <a:pPr marL="171450" lvl="0" indent="-171450">
              <a:buFont typeface="Wingdings" panose="05000000000000000000" pitchFamily="2" charset="2"/>
              <a:buChar char="ü"/>
            </a:pPr>
            <a:r>
              <a:rPr lang="en-GB" sz="1000" dirty="0"/>
              <a:t>90-man days have been saved for manual </a:t>
            </a:r>
            <a:br>
              <a:rPr lang="en-GB" sz="1000" dirty="0"/>
            </a:br>
            <a:r>
              <a:rPr lang="en-GB" sz="1000" dirty="0"/>
              <a:t>builds/deployments over 6 months</a:t>
            </a:r>
          </a:p>
          <a:p>
            <a:pPr marL="171450" lvl="0" indent="-171450">
              <a:buFont typeface="Wingdings" panose="05000000000000000000" pitchFamily="2" charset="2"/>
              <a:buChar char="ü"/>
            </a:pPr>
            <a:r>
              <a:rPr lang="en-GB" sz="1000" dirty="0"/>
              <a:t>Over 135,000 Lines of Code have been analysed using automatic code analysis which has helped improved rule compliance by 10%</a:t>
            </a:r>
          </a:p>
          <a:p>
            <a:pPr marL="171450" lvl="0" indent="-171450">
              <a:buFont typeface="Wingdings" panose="05000000000000000000" pitchFamily="2" charset="2"/>
              <a:buChar char="ü"/>
            </a:pPr>
            <a:r>
              <a:rPr lang="en-GB" sz="1000" dirty="0"/>
              <a:t>Implementing Source Control Management with Git has allowed the project to complete over 7000 code commits</a:t>
            </a:r>
          </a:p>
          <a:p>
            <a:endParaRPr lang="en-GB" sz="1000" dirty="0"/>
          </a:p>
        </p:txBody>
      </p:sp>
      <p:sp>
        <p:nvSpPr>
          <p:cNvPr id="7" name="TextBox 6"/>
          <p:cNvSpPr txBox="1"/>
          <p:nvPr/>
        </p:nvSpPr>
        <p:spPr>
          <a:xfrm>
            <a:off x="4722127" y="4070276"/>
            <a:ext cx="4179600" cy="2398762"/>
          </a:xfrm>
          <a:prstGeom prst="rect">
            <a:avLst/>
          </a:prstGeom>
          <a:noFill/>
          <a:ln w="28575">
            <a:solidFill>
              <a:schemeClr val="accent5">
                <a:lumMod val="75000"/>
              </a:schemeClr>
            </a:solidFill>
          </a:ln>
        </p:spPr>
        <p:txBody>
          <a:bodyPr wrap="square" rtlCol="0">
            <a:noAutofit/>
          </a:bodyPr>
          <a:lstStyle/>
          <a:p>
            <a:pPr marL="285750" indent="-285750">
              <a:buFont typeface="Arial" pitchFamily="34" charset="0"/>
              <a:buChar char="•"/>
            </a:pPr>
            <a:endParaRPr lang="en-GB" sz="1000" dirty="0" smtClean="0"/>
          </a:p>
          <a:p>
            <a:pPr marL="171450" lvl="0" indent="-171450">
              <a:buFont typeface="Arial" panose="020B0604020202020204" pitchFamily="34" charset="0"/>
              <a:buChar char="•"/>
            </a:pPr>
            <a:r>
              <a:rPr lang="en-GB" sz="1100" i="1" dirty="0"/>
              <a:t>“My experience so far with DCSC has been </a:t>
            </a:r>
            <a:r>
              <a:rPr lang="en-GB" sz="1100" i="1" dirty="0" smtClean="0"/>
              <a:t>fantastic! The </a:t>
            </a:r>
            <a:r>
              <a:rPr lang="en-GB" sz="1100" i="1" dirty="0"/>
              <a:t>DCSC team has setup a solid foundation of tools </a:t>
            </a:r>
          </a:p>
          <a:p>
            <a:pPr marL="180975" lvl="0"/>
            <a:r>
              <a:rPr lang="en-GB" sz="1100" i="1" dirty="0"/>
              <a:t>which have allowed us to be successful throughout the development phase</a:t>
            </a:r>
            <a:r>
              <a:rPr lang="en-GB" sz="1100" i="1" dirty="0" smtClean="0"/>
              <a:t>.”</a:t>
            </a:r>
          </a:p>
          <a:p>
            <a:pPr marL="171450" lvl="0" indent="-171450">
              <a:buFont typeface="Arial" panose="020B0604020202020204" pitchFamily="34" charset="0"/>
              <a:buChar char="•"/>
            </a:pPr>
            <a:r>
              <a:rPr lang="en-GB" sz="1100" i="1" dirty="0" smtClean="0"/>
              <a:t>“The </a:t>
            </a:r>
            <a:r>
              <a:rPr lang="en-GB" sz="1100" i="1" dirty="0"/>
              <a:t>training and support we have received from DCSC has also been top notch and extremely thorough</a:t>
            </a:r>
            <a:r>
              <a:rPr lang="en-GB" sz="1100" i="1" dirty="0" smtClean="0"/>
              <a:t>.”</a:t>
            </a:r>
          </a:p>
          <a:p>
            <a:pPr marL="171450" lvl="0" indent="-171450">
              <a:buFont typeface="Arial" panose="020B0604020202020204" pitchFamily="34" charset="0"/>
              <a:buChar char="•"/>
            </a:pPr>
            <a:endParaRPr lang="en-GB" sz="1100" i="1" dirty="0" smtClean="0"/>
          </a:p>
          <a:p>
            <a:pPr marL="171450" lvl="0" indent="-171450">
              <a:buFont typeface="Arial" panose="020B0604020202020204" pitchFamily="34" charset="0"/>
              <a:buChar char="•"/>
            </a:pPr>
            <a:r>
              <a:rPr lang="en-GB" sz="1100" i="1" dirty="0" smtClean="0"/>
              <a:t>“Even </a:t>
            </a:r>
            <a:r>
              <a:rPr lang="en-GB" sz="1100" i="1" dirty="0"/>
              <a:t>when we faced issues, the response time from DCSC has been phenomenal and we have never been truly blocked on anything due to their fast turnaround</a:t>
            </a:r>
            <a:r>
              <a:rPr lang="en-GB" sz="1100" i="1" dirty="0" smtClean="0"/>
              <a:t>.”</a:t>
            </a:r>
          </a:p>
          <a:p>
            <a:pPr marL="171450" lvl="0" indent="-171450">
              <a:buFont typeface="Arial" panose="020B0604020202020204" pitchFamily="34" charset="0"/>
              <a:buChar char="•"/>
            </a:pPr>
            <a:r>
              <a:rPr lang="en-GB" sz="1100" i="1" dirty="0" smtClean="0"/>
              <a:t>“I </a:t>
            </a:r>
            <a:r>
              <a:rPr lang="en-GB" sz="1100" i="1" dirty="0"/>
              <a:t>would gladly work with DCSC and their infrastructure again in the future.”</a:t>
            </a:r>
          </a:p>
        </p:txBody>
      </p:sp>
      <p:sp>
        <p:nvSpPr>
          <p:cNvPr id="8" name="Rectangle 18"/>
          <p:cNvSpPr>
            <a:spLocks noChangeArrowheads="1"/>
          </p:cNvSpPr>
          <p:nvPr/>
        </p:nvSpPr>
        <p:spPr bwMode="auto">
          <a:xfrm>
            <a:off x="1414358" y="1310982"/>
            <a:ext cx="1866088" cy="215444"/>
          </a:xfrm>
          <a:prstGeom prst="rect">
            <a:avLst/>
          </a:prstGeom>
          <a:solidFill>
            <a:schemeClr val="bg1"/>
          </a:solidFill>
          <a:ln w="9525">
            <a:noFill/>
            <a:miter lim="800000"/>
            <a:headEnd/>
            <a:tailEnd/>
          </a:ln>
        </p:spPr>
        <p:txBody>
          <a:bodyPr wrap="none" lIns="54864" tIns="0" rIns="54864" bIns="0">
            <a:spAutoFit/>
          </a:bodyPr>
          <a:lstStyle/>
          <a:p>
            <a:pPr marL="190500" indent="-190500" algn="l" defTabSz="762000"/>
            <a:r>
              <a:rPr lang="en-US" sz="1400" b="1" dirty="0" smtClean="0"/>
              <a:t>PROJECT CONTEXT</a:t>
            </a:r>
            <a:endParaRPr lang="en-US" sz="1400" b="1" dirty="0"/>
          </a:p>
        </p:txBody>
      </p:sp>
      <p:sp>
        <p:nvSpPr>
          <p:cNvPr id="9" name="Rectangle 18"/>
          <p:cNvSpPr>
            <a:spLocks noChangeArrowheads="1"/>
          </p:cNvSpPr>
          <p:nvPr/>
        </p:nvSpPr>
        <p:spPr bwMode="auto">
          <a:xfrm>
            <a:off x="5808383" y="1297487"/>
            <a:ext cx="2007088" cy="215444"/>
          </a:xfrm>
          <a:prstGeom prst="rect">
            <a:avLst/>
          </a:prstGeom>
          <a:solidFill>
            <a:schemeClr val="bg1"/>
          </a:solidFill>
          <a:ln w="9525">
            <a:noFill/>
            <a:miter lim="800000"/>
            <a:headEnd/>
            <a:tailEnd/>
          </a:ln>
        </p:spPr>
        <p:txBody>
          <a:bodyPr wrap="none" lIns="54864" tIns="0" rIns="54864" bIns="0">
            <a:spAutoFit/>
          </a:bodyPr>
          <a:lstStyle/>
          <a:p>
            <a:pPr marL="190500" indent="-190500" algn="l" defTabSz="762000"/>
            <a:r>
              <a:rPr lang="en-US" sz="1400" b="1" dirty="0" smtClean="0"/>
              <a:t>SERVICES PROVIDED</a:t>
            </a:r>
            <a:endParaRPr lang="en-US" sz="1400" b="1" dirty="0"/>
          </a:p>
        </p:txBody>
      </p:sp>
      <p:sp>
        <p:nvSpPr>
          <p:cNvPr id="10" name="Rectangle 18"/>
          <p:cNvSpPr>
            <a:spLocks noChangeArrowheads="1"/>
          </p:cNvSpPr>
          <p:nvPr/>
        </p:nvSpPr>
        <p:spPr bwMode="auto">
          <a:xfrm>
            <a:off x="1773431" y="3950521"/>
            <a:ext cx="1147943" cy="215444"/>
          </a:xfrm>
          <a:prstGeom prst="rect">
            <a:avLst/>
          </a:prstGeom>
          <a:solidFill>
            <a:schemeClr val="bg1"/>
          </a:solidFill>
          <a:ln w="9525">
            <a:noFill/>
            <a:miter lim="800000"/>
            <a:headEnd/>
            <a:tailEnd/>
          </a:ln>
        </p:spPr>
        <p:txBody>
          <a:bodyPr wrap="none" lIns="54864" tIns="0" rIns="54864" bIns="0">
            <a:spAutoFit/>
          </a:bodyPr>
          <a:lstStyle/>
          <a:p>
            <a:pPr marL="190500" indent="-190500" algn="l" defTabSz="762000"/>
            <a:r>
              <a:rPr lang="en-US" sz="1400" b="1" dirty="0" smtClean="0"/>
              <a:t>OUTCOMES</a:t>
            </a:r>
            <a:endParaRPr lang="en-US" sz="1400" b="1" dirty="0"/>
          </a:p>
        </p:txBody>
      </p:sp>
      <p:sp>
        <p:nvSpPr>
          <p:cNvPr id="11" name="Rectangle 18"/>
          <p:cNvSpPr>
            <a:spLocks noChangeArrowheads="1"/>
          </p:cNvSpPr>
          <p:nvPr/>
        </p:nvSpPr>
        <p:spPr bwMode="auto">
          <a:xfrm>
            <a:off x="5884494" y="3950521"/>
            <a:ext cx="1854867" cy="215444"/>
          </a:xfrm>
          <a:prstGeom prst="rect">
            <a:avLst/>
          </a:prstGeom>
          <a:solidFill>
            <a:schemeClr val="bg1"/>
          </a:solidFill>
          <a:ln w="9525">
            <a:noFill/>
            <a:miter lim="800000"/>
            <a:headEnd/>
            <a:tailEnd/>
          </a:ln>
        </p:spPr>
        <p:txBody>
          <a:bodyPr wrap="none" lIns="54864" tIns="0" rIns="54864" bIns="0">
            <a:spAutoFit/>
          </a:bodyPr>
          <a:lstStyle/>
          <a:p>
            <a:pPr marL="190500" indent="-190500" algn="l" defTabSz="762000"/>
            <a:r>
              <a:rPr lang="en-US" sz="1400" b="1" dirty="0" smtClean="0"/>
              <a:t>CLIENT TESTIMONY</a:t>
            </a:r>
            <a:endParaRPr lang="en-US" sz="1400" b="1" dirty="0"/>
          </a:p>
        </p:txBody>
      </p:sp>
    </p:spTree>
    <p:extLst>
      <p:ext uri="{BB962C8B-B14F-4D97-AF65-F5344CB8AC3E}">
        <p14:creationId xmlns:p14="http://schemas.microsoft.com/office/powerpoint/2010/main" val="129653989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Success Story: </a:t>
            </a:r>
            <a:r>
              <a:rPr lang="en-GB" altLang="en-US" sz="2400" dirty="0" smtClean="0"/>
              <a:t>UK </a:t>
            </a:r>
            <a:r>
              <a:rPr lang="en-GB" altLang="en-US" sz="2400" dirty="0"/>
              <a:t>Retailer </a:t>
            </a:r>
            <a:endParaRPr lang="en-US" sz="2400" dirty="0"/>
          </a:p>
        </p:txBody>
      </p:sp>
      <p:sp>
        <p:nvSpPr>
          <p:cNvPr id="15" name="TextBox 14"/>
          <p:cNvSpPr txBox="1"/>
          <p:nvPr/>
        </p:nvSpPr>
        <p:spPr>
          <a:xfrm>
            <a:off x="257103" y="1420335"/>
            <a:ext cx="4180599" cy="2398762"/>
          </a:xfrm>
          <a:prstGeom prst="rect">
            <a:avLst/>
          </a:prstGeom>
          <a:noFill/>
          <a:ln w="28575">
            <a:solidFill>
              <a:schemeClr val="accent2">
                <a:lumMod val="40000"/>
                <a:lumOff val="60000"/>
              </a:schemeClr>
            </a:solidFill>
          </a:ln>
        </p:spPr>
        <p:txBody>
          <a:bodyPr wrap="square" rtlCol="0">
            <a:noAutofit/>
          </a:bodyPr>
          <a:lstStyle/>
          <a:p>
            <a:pPr>
              <a:defRPr/>
            </a:pPr>
            <a:endParaRPr lang="en-GB" altLang="en-US" sz="1200" b="1" dirty="0" smtClean="0"/>
          </a:p>
          <a:p>
            <a:r>
              <a:rPr lang="en-GB" altLang="en-US" sz="1200" b="1" dirty="0" smtClean="0"/>
              <a:t>UK Retailer </a:t>
            </a:r>
            <a:r>
              <a:rPr lang="en-GB" altLang="en-US" sz="1200" b="1" dirty="0"/>
              <a:t>using Chef Factory and </a:t>
            </a:r>
            <a:r>
              <a:rPr lang="en-GB" altLang="en-US" sz="1200" b="1" dirty="0" smtClean="0"/>
              <a:t>DCSC</a:t>
            </a:r>
          </a:p>
          <a:p>
            <a:endParaRPr lang="en-GB" sz="1200" b="1" dirty="0"/>
          </a:p>
          <a:p>
            <a:r>
              <a:rPr lang="en-GB" sz="1100" b="1" dirty="0" smtClean="0"/>
              <a:t>Project </a:t>
            </a:r>
            <a:r>
              <a:rPr lang="en-GB" sz="1100" b="1" dirty="0"/>
              <a:t>characteristics:</a:t>
            </a:r>
            <a:r>
              <a:rPr lang="en-GB" sz="1100" dirty="0"/>
              <a:t>  </a:t>
            </a:r>
            <a:endParaRPr lang="en-GB" sz="1100" dirty="0" smtClean="0"/>
          </a:p>
          <a:p>
            <a:endParaRPr lang="en-GB" sz="1100" dirty="0"/>
          </a:p>
          <a:p>
            <a:pPr marL="171450" indent="-171450">
              <a:buFont typeface="Wingdings" panose="05000000000000000000" pitchFamily="2" charset="2"/>
              <a:buChar char="§"/>
            </a:pPr>
            <a:r>
              <a:rPr lang="en-GB" sz="1100" dirty="0"/>
              <a:t>Systems Integration programme creating new applications to deliver integrated B2C and B2B services.  </a:t>
            </a:r>
          </a:p>
          <a:p>
            <a:pPr marL="171450" indent="-171450">
              <a:buFont typeface="Wingdings" panose="05000000000000000000" pitchFamily="2" charset="2"/>
              <a:buChar char="§"/>
            </a:pPr>
            <a:r>
              <a:rPr lang="en-GB" sz="1100" dirty="0"/>
              <a:t>Varied technologies including : Spring, SOLR, DB2, </a:t>
            </a:r>
            <a:r>
              <a:rPr lang="en-GB" sz="1100" dirty="0" err="1"/>
              <a:t>Tibco</a:t>
            </a:r>
            <a:r>
              <a:rPr lang="en-GB" sz="1100" dirty="0"/>
              <a:t>.  </a:t>
            </a:r>
          </a:p>
          <a:p>
            <a:pPr marL="171450" indent="-171450">
              <a:buFont typeface="Wingdings" panose="05000000000000000000" pitchFamily="2" charset="2"/>
              <a:buChar char="§"/>
            </a:pPr>
            <a:r>
              <a:rPr lang="en-GB" sz="1100" dirty="0"/>
              <a:t>Complex multi-release, multi-production environment requirements.</a:t>
            </a:r>
          </a:p>
        </p:txBody>
      </p:sp>
      <p:sp>
        <p:nvSpPr>
          <p:cNvPr id="5" name="TextBox 4"/>
          <p:cNvSpPr txBox="1"/>
          <p:nvPr/>
        </p:nvSpPr>
        <p:spPr>
          <a:xfrm>
            <a:off x="4722127" y="1420335"/>
            <a:ext cx="4179600" cy="2398762"/>
          </a:xfrm>
          <a:prstGeom prst="rect">
            <a:avLst/>
          </a:prstGeom>
          <a:noFill/>
          <a:ln w="28575">
            <a:solidFill>
              <a:schemeClr val="bg2">
                <a:lumMod val="90000"/>
              </a:schemeClr>
            </a:solidFill>
          </a:ln>
        </p:spPr>
        <p:txBody>
          <a:bodyPr wrap="square" rtlCol="0">
            <a:noAutofit/>
          </a:bodyPr>
          <a:lstStyle/>
          <a:p>
            <a:endParaRPr lang="en-GB" sz="1000" dirty="0"/>
          </a:p>
          <a:p>
            <a:pPr marL="285750" lvl="0" indent="-285750">
              <a:buFont typeface="Wingdings" panose="05000000000000000000" pitchFamily="2" charset="2"/>
              <a:buChar char=""/>
            </a:pPr>
            <a:r>
              <a:rPr lang="en-GB" sz="1100" b="1" dirty="0"/>
              <a:t>Chef Factory &amp; DCSC</a:t>
            </a:r>
          </a:p>
          <a:p>
            <a:pPr marL="742950" lvl="1" indent="-285750">
              <a:buFont typeface="Wingdings" panose="05000000000000000000" pitchFamily="2" charset="2"/>
              <a:buChar char=""/>
            </a:pPr>
            <a:r>
              <a:rPr lang="en-GB" sz="1000" dirty="0"/>
              <a:t>Automated environment creation - </a:t>
            </a:r>
            <a:r>
              <a:rPr lang="en-US" sz="1000" dirty="0"/>
              <a:t>Infrastructure as code</a:t>
            </a:r>
            <a:endParaRPr lang="en-GB" sz="1000" dirty="0"/>
          </a:p>
          <a:p>
            <a:pPr marL="742950" lvl="1" indent="-285750">
              <a:buFont typeface="Wingdings" panose="05000000000000000000" pitchFamily="2" charset="2"/>
              <a:buChar char=""/>
            </a:pPr>
            <a:r>
              <a:rPr lang="en-GB" sz="1000" dirty="0"/>
              <a:t>Tooling design integration and implementation</a:t>
            </a:r>
          </a:p>
          <a:p>
            <a:pPr marL="742950" lvl="1" indent="-285750">
              <a:buFont typeface="Wingdings" panose="05000000000000000000" pitchFamily="2" charset="2"/>
              <a:buChar char=""/>
            </a:pPr>
            <a:r>
              <a:rPr lang="en-GB" sz="1000" dirty="0"/>
              <a:t>Automated application delivery</a:t>
            </a:r>
          </a:p>
          <a:p>
            <a:pPr marL="742950" lvl="1" indent="-285750">
              <a:buFont typeface="Wingdings" panose="05000000000000000000" pitchFamily="2" charset="2"/>
              <a:buChar char=""/>
            </a:pPr>
            <a:r>
              <a:rPr lang="en-GB" sz="1000" dirty="0"/>
              <a:t>Ongoing tooling support</a:t>
            </a:r>
          </a:p>
          <a:p>
            <a:pPr marL="742950" lvl="1" indent="-285750">
              <a:buFont typeface="Wingdings" panose="05000000000000000000" pitchFamily="2" charset="2"/>
              <a:buChar char=""/>
            </a:pPr>
            <a:r>
              <a:rPr lang="en-GB" sz="1000" dirty="0"/>
              <a:t>Industrialised delivery from the outset: continuous integration, automated testing, automated quality gates.</a:t>
            </a:r>
          </a:p>
          <a:p>
            <a:pPr marL="285750" indent="-285750">
              <a:buFont typeface="Wingdings" panose="05000000000000000000" pitchFamily="2" charset="2"/>
              <a:buChar char=""/>
            </a:pPr>
            <a:r>
              <a:rPr lang="en-GB" sz="1100" b="1" dirty="0"/>
              <a:t>Tools in the Cloud</a:t>
            </a:r>
          </a:p>
          <a:p>
            <a:pPr marL="742950" lvl="1" indent="-285750">
              <a:buFont typeface="Wingdings" panose="05000000000000000000" pitchFamily="2" charset="2"/>
              <a:buChar char=""/>
            </a:pPr>
            <a:r>
              <a:rPr lang="en-GB" sz="1000" dirty="0" smtClean="0"/>
              <a:t>Accenture Cloud Platform</a:t>
            </a:r>
          </a:p>
          <a:p>
            <a:pPr marL="742950" lvl="1" indent="-285750">
              <a:buFont typeface="Wingdings" panose="05000000000000000000" pitchFamily="2" charset="2"/>
              <a:buChar char=""/>
            </a:pPr>
            <a:r>
              <a:rPr lang="en-GB" sz="1000" dirty="0" smtClean="0"/>
              <a:t>Chef </a:t>
            </a:r>
            <a:r>
              <a:rPr lang="en-GB" sz="1000" dirty="0"/>
              <a:t>and Git configuration management</a:t>
            </a:r>
          </a:p>
          <a:p>
            <a:pPr marL="742950" lvl="1" indent="-285750">
              <a:buFont typeface="Wingdings" panose="05000000000000000000" pitchFamily="2" charset="2"/>
              <a:buChar char=""/>
            </a:pPr>
            <a:r>
              <a:rPr lang="en-GB" sz="1000" dirty="0"/>
              <a:t>Jenkins continuous integration</a:t>
            </a:r>
          </a:p>
          <a:p>
            <a:pPr marL="742950" lvl="1" indent="-285750">
              <a:buFont typeface="Wingdings" panose="05000000000000000000" pitchFamily="2" charset="2"/>
              <a:buChar char=""/>
            </a:pPr>
            <a:r>
              <a:rPr lang="en-GB" sz="1000" dirty="0"/>
              <a:t>Rational Jazz application lifecycle management</a:t>
            </a:r>
          </a:p>
          <a:p>
            <a:pPr marL="742950" lvl="1" indent="-285750">
              <a:buFont typeface="Wingdings" panose="05000000000000000000" pitchFamily="2" charset="2"/>
              <a:buChar char=""/>
            </a:pPr>
            <a:r>
              <a:rPr lang="en-GB" sz="1000" dirty="0"/>
              <a:t>Sonar and Selenium for code quality analysis</a:t>
            </a:r>
          </a:p>
        </p:txBody>
      </p:sp>
      <p:sp>
        <p:nvSpPr>
          <p:cNvPr id="6" name="TextBox 5"/>
          <p:cNvSpPr txBox="1"/>
          <p:nvPr/>
        </p:nvSpPr>
        <p:spPr>
          <a:xfrm>
            <a:off x="257103" y="4070276"/>
            <a:ext cx="4180599" cy="2398762"/>
          </a:xfrm>
          <a:prstGeom prst="rect">
            <a:avLst/>
          </a:prstGeom>
          <a:noFill/>
          <a:ln w="28575">
            <a:solidFill>
              <a:schemeClr val="bg2">
                <a:lumMod val="50000"/>
              </a:schemeClr>
            </a:solidFill>
          </a:ln>
        </p:spPr>
        <p:txBody>
          <a:bodyPr wrap="square" rtlCol="0">
            <a:noAutofit/>
          </a:bodyPr>
          <a:lstStyle/>
          <a:p>
            <a:endParaRPr lang="en-GB" sz="1000" dirty="0" smtClean="0"/>
          </a:p>
          <a:p>
            <a:r>
              <a:rPr lang="en-GB" sz="1000" dirty="0" smtClean="0"/>
              <a:t>From </a:t>
            </a:r>
            <a:r>
              <a:rPr lang="en-GB" sz="1000" dirty="0"/>
              <a:t>“nothing” to code being automatically pulled from version control, built and deployed into automatically created development/test environments within 6 weeks</a:t>
            </a:r>
            <a:r>
              <a:rPr lang="en-GB" sz="1000" dirty="0" smtClean="0"/>
              <a:t>.</a:t>
            </a:r>
            <a:r>
              <a:rPr lang="en-GB" sz="1000" dirty="0"/>
              <a:t> </a:t>
            </a:r>
            <a:endParaRPr lang="en-GB" sz="1000" dirty="0" smtClean="0"/>
          </a:p>
          <a:p>
            <a:r>
              <a:rPr lang="en-GB" sz="1000" dirty="0" smtClean="0"/>
              <a:t>Traceability </a:t>
            </a:r>
            <a:r>
              <a:rPr lang="en-GB" sz="1000" dirty="0"/>
              <a:t>captured from Requirements to Delivery </a:t>
            </a:r>
            <a:r>
              <a:rPr lang="en-GB" sz="1000" dirty="0" smtClean="0"/>
              <a:t>tasks, Requirements </a:t>
            </a:r>
            <a:r>
              <a:rPr lang="en-GB" sz="1000" dirty="0"/>
              <a:t>to Test Cases, Code to Delivery </a:t>
            </a:r>
            <a:r>
              <a:rPr lang="en-GB" sz="1000" dirty="0" smtClean="0"/>
              <a:t>Work </a:t>
            </a:r>
            <a:r>
              <a:rPr lang="en-GB" sz="1000" dirty="0"/>
              <a:t>and </a:t>
            </a:r>
            <a:r>
              <a:rPr lang="en-GB" sz="1000" dirty="0" smtClean="0"/>
              <a:t>Defects, etc.</a:t>
            </a:r>
          </a:p>
          <a:p>
            <a:endParaRPr lang="en-GB" sz="1000" dirty="0"/>
          </a:p>
          <a:p>
            <a:r>
              <a:rPr lang="en-GB" sz="1000" dirty="0"/>
              <a:t>Savings in 2013</a:t>
            </a:r>
          </a:p>
          <a:p>
            <a:pPr marL="171450" indent="-171450">
              <a:buFont typeface="Wingdings" panose="05000000000000000000" pitchFamily="2" charset="2"/>
              <a:buChar char="ü"/>
            </a:pPr>
            <a:r>
              <a:rPr lang="en-GB" sz="1000" dirty="0"/>
              <a:t>$303k USD saved Build and Deployment effort </a:t>
            </a:r>
          </a:p>
          <a:p>
            <a:pPr marL="171450" indent="-171450">
              <a:buFont typeface="Wingdings" panose="05000000000000000000" pitchFamily="2" charset="2"/>
              <a:buChar char="ü"/>
              <a:defRPr/>
            </a:pPr>
            <a:r>
              <a:rPr lang="en-GB" sz="1000" dirty="0"/>
              <a:t>$1051k USD saved testing effort </a:t>
            </a:r>
          </a:p>
          <a:p>
            <a:endParaRPr lang="en-GB" sz="1000" dirty="0"/>
          </a:p>
          <a:p>
            <a:r>
              <a:rPr lang="en-GB" sz="1000" i="1" dirty="0"/>
              <a:t>Estimated</a:t>
            </a:r>
            <a:r>
              <a:rPr lang="en-GB" sz="1000" dirty="0"/>
              <a:t> savings by end of 2015</a:t>
            </a:r>
          </a:p>
          <a:p>
            <a:pPr marL="171450" indent="-171450">
              <a:buFont typeface="Wingdings" panose="05000000000000000000" pitchFamily="2" charset="2"/>
              <a:buChar char="Ø"/>
            </a:pPr>
            <a:r>
              <a:rPr lang="en-GB" sz="1000" dirty="0"/>
              <a:t>$1628k USD saved Build and Deployment effort </a:t>
            </a:r>
          </a:p>
          <a:p>
            <a:pPr marL="171450" indent="-171450">
              <a:buFont typeface="Wingdings" panose="05000000000000000000" pitchFamily="2" charset="2"/>
              <a:buChar char="Ø"/>
              <a:defRPr/>
            </a:pPr>
            <a:r>
              <a:rPr lang="en-GB" sz="1000" dirty="0"/>
              <a:t>$7.6M USD saved testing effort </a:t>
            </a:r>
          </a:p>
          <a:p>
            <a:endParaRPr lang="en-GB" sz="1000" dirty="0"/>
          </a:p>
          <a:p>
            <a:endParaRPr lang="en-GB" sz="1000" dirty="0"/>
          </a:p>
        </p:txBody>
      </p:sp>
      <p:sp>
        <p:nvSpPr>
          <p:cNvPr id="7" name="TextBox 6"/>
          <p:cNvSpPr txBox="1"/>
          <p:nvPr/>
        </p:nvSpPr>
        <p:spPr>
          <a:xfrm>
            <a:off x="4722127" y="4070276"/>
            <a:ext cx="4179600" cy="2398762"/>
          </a:xfrm>
          <a:prstGeom prst="rect">
            <a:avLst/>
          </a:prstGeom>
          <a:noFill/>
          <a:ln w="28575">
            <a:solidFill>
              <a:schemeClr val="accent5">
                <a:lumMod val="75000"/>
              </a:schemeClr>
            </a:solidFill>
          </a:ln>
        </p:spPr>
        <p:txBody>
          <a:bodyPr wrap="square" rtlCol="0">
            <a:noAutofit/>
          </a:bodyPr>
          <a:lstStyle/>
          <a:p>
            <a:pPr marL="285750" indent="-285750">
              <a:buFont typeface="Arial" pitchFamily="34" charset="0"/>
              <a:buChar char="•"/>
            </a:pPr>
            <a:endParaRPr lang="en-GB" sz="1000" dirty="0" smtClean="0"/>
          </a:p>
          <a:p>
            <a:pPr marL="171450" indent="-171450">
              <a:buFont typeface="Wingdings" panose="05000000000000000000" pitchFamily="2" charset="2"/>
              <a:buChar char="§"/>
            </a:pPr>
            <a:r>
              <a:rPr lang="en-GB" sz="1100" i="1" dirty="0"/>
              <a:t>“Being able to bring in this kind of “black </a:t>
            </a:r>
            <a:r>
              <a:rPr lang="en-GB" sz="1100" i="1" dirty="0" smtClean="0"/>
              <a:t>belt” expertise </a:t>
            </a:r>
            <a:r>
              <a:rPr lang="en-GB" sz="1100" i="1" dirty="0"/>
              <a:t>was one of the reasons I recommended </a:t>
            </a:r>
            <a:r>
              <a:rPr lang="en-GB" sz="1100" i="1" dirty="0" smtClean="0"/>
              <a:t>Accenture </a:t>
            </a:r>
            <a:r>
              <a:rPr lang="en-GB" sz="1100" i="1" dirty="0"/>
              <a:t>over the competition</a:t>
            </a:r>
            <a:r>
              <a:rPr lang="en-GB" sz="1100" i="1" dirty="0" smtClean="0"/>
              <a:t>.”</a:t>
            </a:r>
          </a:p>
          <a:p>
            <a:pPr marL="171450" indent="-171450">
              <a:buFont typeface="Wingdings" panose="05000000000000000000" pitchFamily="2" charset="2"/>
              <a:buChar char="§"/>
            </a:pPr>
            <a:endParaRPr lang="en-GB" sz="1100" i="1" dirty="0"/>
          </a:p>
          <a:p>
            <a:pPr marL="171450" indent="-171450">
              <a:buFont typeface="Wingdings" panose="05000000000000000000" pitchFamily="2" charset="2"/>
              <a:buChar char="§"/>
            </a:pPr>
            <a:r>
              <a:rPr lang="en-GB" sz="1100" i="1" dirty="0"/>
              <a:t>“It’s quite an achievement (and very refreshing) to </a:t>
            </a:r>
            <a:r>
              <a:rPr lang="en-GB" sz="1100" i="1" dirty="0" smtClean="0"/>
              <a:t>have delivered </a:t>
            </a:r>
            <a:r>
              <a:rPr lang="en-GB" sz="1100" i="1" dirty="0"/>
              <a:t>so much in such a short space of time</a:t>
            </a:r>
            <a:r>
              <a:rPr lang="en-GB" sz="1100" i="1" dirty="0" smtClean="0"/>
              <a:t>.”</a:t>
            </a:r>
          </a:p>
          <a:p>
            <a:pPr marL="171450" indent="-171450">
              <a:buFont typeface="Wingdings" panose="05000000000000000000" pitchFamily="2" charset="2"/>
              <a:buChar char="§"/>
            </a:pPr>
            <a:endParaRPr lang="en-GB" sz="1100" i="1" dirty="0"/>
          </a:p>
          <a:p>
            <a:pPr marL="171450" indent="-171450">
              <a:buFont typeface="Wingdings" panose="05000000000000000000" pitchFamily="2" charset="2"/>
              <a:buChar char="§"/>
            </a:pPr>
            <a:r>
              <a:rPr lang="en-GB" sz="1100" i="1" dirty="0"/>
              <a:t>“I’ve worked in IT long enough to know that the success of a project is usually dictated by the way it launches standards, patterns, desktops, tools, repositories etc. Mark’s guys have done a great job in defining and building the working </a:t>
            </a:r>
            <a:r>
              <a:rPr lang="en-GB" sz="1100" i="1" dirty="0" smtClean="0"/>
              <a:t>environments </a:t>
            </a:r>
            <a:r>
              <a:rPr lang="en-GB" sz="1100" i="1" dirty="0"/>
              <a:t>and processes around build that has led to a fantastic iteration 1.”</a:t>
            </a:r>
          </a:p>
        </p:txBody>
      </p:sp>
      <p:sp>
        <p:nvSpPr>
          <p:cNvPr id="8" name="Rectangle 18"/>
          <p:cNvSpPr>
            <a:spLocks noChangeArrowheads="1"/>
          </p:cNvSpPr>
          <p:nvPr/>
        </p:nvSpPr>
        <p:spPr bwMode="auto">
          <a:xfrm>
            <a:off x="1414358" y="1310982"/>
            <a:ext cx="1866088" cy="215444"/>
          </a:xfrm>
          <a:prstGeom prst="rect">
            <a:avLst/>
          </a:prstGeom>
          <a:solidFill>
            <a:schemeClr val="bg1"/>
          </a:solidFill>
          <a:ln w="9525">
            <a:noFill/>
            <a:miter lim="800000"/>
            <a:headEnd/>
            <a:tailEnd/>
          </a:ln>
        </p:spPr>
        <p:txBody>
          <a:bodyPr wrap="none" lIns="54864" tIns="0" rIns="54864" bIns="0">
            <a:spAutoFit/>
          </a:bodyPr>
          <a:lstStyle/>
          <a:p>
            <a:pPr marL="190500" indent="-190500" algn="l" defTabSz="762000"/>
            <a:r>
              <a:rPr lang="en-US" sz="1400" b="1" dirty="0" smtClean="0"/>
              <a:t>PROJECT CONTEXT</a:t>
            </a:r>
            <a:endParaRPr lang="en-US" sz="1400" b="1" dirty="0"/>
          </a:p>
        </p:txBody>
      </p:sp>
      <p:sp>
        <p:nvSpPr>
          <p:cNvPr id="9" name="Rectangle 18"/>
          <p:cNvSpPr>
            <a:spLocks noChangeArrowheads="1"/>
          </p:cNvSpPr>
          <p:nvPr/>
        </p:nvSpPr>
        <p:spPr bwMode="auto">
          <a:xfrm>
            <a:off x="5808383" y="1297487"/>
            <a:ext cx="2007088" cy="215444"/>
          </a:xfrm>
          <a:prstGeom prst="rect">
            <a:avLst/>
          </a:prstGeom>
          <a:solidFill>
            <a:schemeClr val="bg1"/>
          </a:solidFill>
          <a:ln w="9525">
            <a:noFill/>
            <a:miter lim="800000"/>
            <a:headEnd/>
            <a:tailEnd/>
          </a:ln>
        </p:spPr>
        <p:txBody>
          <a:bodyPr wrap="none" lIns="54864" tIns="0" rIns="54864" bIns="0">
            <a:spAutoFit/>
          </a:bodyPr>
          <a:lstStyle/>
          <a:p>
            <a:pPr marL="190500" indent="-190500" algn="l" defTabSz="762000"/>
            <a:r>
              <a:rPr lang="en-US" sz="1400" b="1" dirty="0" smtClean="0"/>
              <a:t>SERVICES PROVIDED</a:t>
            </a:r>
            <a:endParaRPr lang="en-US" sz="1400" b="1" dirty="0"/>
          </a:p>
        </p:txBody>
      </p:sp>
      <p:sp>
        <p:nvSpPr>
          <p:cNvPr id="10" name="Rectangle 18"/>
          <p:cNvSpPr>
            <a:spLocks noChangeArrowheads="1"/>
          </p:cNvSpPr>
          <p:nvPr/>
        </p:nvSpPr>
        <p:spPr bwMode="auto">
          <a:xfrm>
            <a:off x="1773431" y="3950521"/>
            <a:ext cx="1147943" cy="215444"/>
          </a:xfrm>
          <a:prstGeom prst="rect">
            <a:avLst/>
          </a:prstGeom>
          <a:solidFill>
            <a:schemeClr val="bg1"/>
          </a:solidFill>
          <a:ln w="9525">
            <a:noFill/>
            <a:miter lim="800000"/>
            <a:headEnd/>
            <a:tailEnd/>
          </a:ln>
        </p:spPr>
        <p:txBody>
          <a:bodyPr wrap="none" lIns="54864" tIns="0" rIns="54864" bIns="0">
            <a:spAutoFit/>
          </a:bodyPr>
          <a:lstStyle/>
          <a:p>
            <a:pPr marL="190500" indent="-190500" algn="l" defTabSz="762000"/>
            <a:r>
              <a:rPr lang="en-US" sz="1400" b="1" dirty="0" smtClean="0"/>
              <a:t>OUTCOMES</a:t>
            </a:r>
            <a:endParaRPr lang="en-US" sz="1400" b="1" dirty="0"/>
          </a:p>
        </p:txBody>
      </p:sp>
      <p:sp>
        <p:nvSpPr>
          <p:cNvPr id="11" name="Rectangle 18"/>
          <p:cNvSpPr>
            <a:spLocks noChangeArrowheads="1"/>
          </p:cNvSpPr>
          <p:nvPr/>
        </p:nvSpPr>
        <p:spPr bwMode="auto">
          <a:xfrm>
            <a:off x="5884494" y="3950521"/>
            <a:ext cx="1854867" cy="215444"/>
          </a:xfrm>
          <a:prstGeom prst="rect">
            <a:avLst/>
          </a:prstGeom>
          <a:solidFill>
            <a:schemeClr val="bg1"/>
          </a:solidFill>
          <a:ln w="9525">
            <a:noFill/>
            <a:miter lim="800000"/>
            <a:headEnd/>
            <a:tailEnd/>
          </a:ln>
        </p:spPr>
        <p:txBody>
          <a:bodyPr wrap="none" lIns="54864" tIns="0" rIns="54864" bIns="0">
            <a:spAutoFit/>
          </a:bodyPr>
          <a:lstStyle/>
          <a:p>
            <a:pPr marL="190500" indent="-190500" algn="l" defTabSz="762000"/>
            <a:r>
              <a:rPr lang="en-US" sz="1400" b="1" dirty="0" smtClean="0"/>
              <a:t>CLIENT TESTIMONY</a:t>
            </a:r>
            <a:endParaRPr lang="en-US" sz="1400" b="1" dirty="0"/>
          </a:p>
        </p:txBody>
      </p:sp>
    </p:spTree>
    <p:extLst>
      <p:ext uri="{BB962C8B-B14F-4D97-AF65-F5344CB8AC3E}">
        <p14:creationId xmlns:p14="http://schemas.microsoft.com/office/powerpoint/2010/main" val="231526656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t>What assets </a:t>
            </a:r>
            <a:r>
              <a:rPr lang="en-GB" dirty="0" smtClean="0">
                <a:solidFill>
                  <a:srgbClr val="66AA44"/>
                </a:solidFill>
              </a:rPr>
              <a:t>do we already </a:t>
            </a:r>
            <a:r>
              <a:rPr lang="en-GB" dirty="0" smtClean="0"/>
              <a:t>have…</a:t>
            </a:r>
            <a:endParaRPr lang="en-GB" dirty="0"/>
          </a:p>
        </p:txBody>
      </p:sp>
      <p:graphicFrame>
        <p:nvGraphicFramePr>
          <p:cNvPr id="10" name="Table 9"/>
          <p:cNvGraphicFramePr>
            <a:graphicFrameLocks noGrp="1"/>
          </p:cNvGraphicFramePr>
          <p:nvPr>
            <p:extLst>
              <p:ext uri="{D42A27DB-BD31-4B8C-83A1-F6EECF244321}">
                <p14:modId xmlns:p14="http://schemas.microsoft.com/office/powerpoint/2010/main" val="529972822"/>
              </p:ext>
            </p:extLst>
          </p:nvPr>
        </p:nvGraphicFramePr>
        <p:xfrm>
          <a:off x="899592" y="1268760"/>
          <a:ext cx="3124200" cy="5313045"/>
        </p:xfrm>
        <a:graphic>
          <a:graphicData uri="http://schemas.openxmlformats.org/drawingml/2006/table">
            <a:tbl>
              <a:tblPr/>
              <a:tblGrid>
                <a:gridCol w="1930400"/>
                <a:gridCol w="1193800"/>
              </a:tblGrid>
              <a:tr h="144016">
                <a:tc>
                  <a:txBody>
                    <a:bodyPr/>
                    <a:lstStyle/>
                    <a:p>
                      <a:pPr algn="l" fontAlgn="b"/>
                      <a:r>
                        <a:rPr lang="en-GB" sz="1050" b="1" i="0" u="none" strike="noStrike" dirty="0">
                          <a:solidFill>
                            <a:srgbClr val="FFFFFF"/>
                          </a:solidFill>
                          <a:effectLst/>
                          <a:latin typeface="Calibri" panose="020F0502020204030204" pitchFamily="34" charset="0"/>
                        </a:rPr>
                        <a:t>Cookbook </a:t>
                      </a:r>
                      <a:r>
                        <a:rPr lang="en-GB" sz="1050" b="0" i="0" u="none" strike="noStrike" dirty="0">
                          <a:solidFill>
                            <a:srgbClr val="FFFFFF"/>
                          </a:solidFill>
                          <a:effectLst/>
                          <a:latin typeface="Calibri" panose="020F0502020204030204" pitchFamily="34" charset="0"/>
                        </a:rPr>
                        <a:t>Name</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solidFill>
                      <a:srgbClr val="66AA44"/>
                    </a:solidFill>
                  </a:tcPr>
                </a:tc>
                <a:tc>
                  <a:txBody>
                    <a:bodyPr/>
                    <a:lstStyle/>
                    <a:p>
                      <a:pPr algn="l" fontAlgn="b"/>
                      <a:r>
                        <a:rPr lang="en-GB" sz="1050" b="1" i="0" u="none" strike="noStrike" dirty="0">
                          <a:solidFill>
                            <a:srgbClr val="FFFFFF"/>
                          </a:solidFill>
                          <a:effectLst/>
                          <a:latin typeface="Calibri" panose="020F0502020204030204" pitchFamily="34" charset="0"/>
                        </a:rPr>
                        <a:t>Originating Project</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solidFill>
                      <a:srgbClr val="66AA44"/>
                    </a:solidFill>
                  </a:tcPr>
                </a:tc>
              </a:tr>
              <a:tr h="190500">
                <a:tc>
                  <a:txBody>
                    <a:bodyPr/>
                    <a:lstStyle/>
                    <a:p>
                      <a:pPr algn="l" fontAlgn="b"/>
                      <a:r>
                        <a:rPr lang="en-GB" sz="1050" b="0" i="0" u="none" strike="noStrike">
                          <a:solidFill>
                            <a:srgbClr val="000000"/>
                          </a:solidFill>
                          <a:effectLst/>
                          <a:latin typeface="Calibri" panose="020F0502020204030204" pitchFamily="34" charset="0"/>
                        </a:rPr>
                        <a:t>acp_acs_antivirus</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GB" sz="1050" b="0" i="0" u="none" strike="noStrike">
                          <a:solidFill>
                            <a:srgbClr val="000000"/>
                          </a:solidFill>
                          <a:effectLst/>
                          <a:latin typeface="Calibri" panose="020F0502020204030204" pitchFamily="34" charset="0"/>
                        </a:rPr>
                        <a:t>ACP</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r>
              <a:tr h="190500">
                <a:tc>
                  <a:txBody>
                    <a:bodyPr/>
                    <a:lstStyle/>
                    <a:p>
                      <a:pPr algn="l" fontAlgn="b"/>
                      <a:r>
                        <a:rPr lang="en-GB" sz="1050" b="0" i="0" u="none" strike="noStrike">
                          <a:solidFill>
                            <a:srgbClr val="000000"/>
                          </a:solidFill>
                          <a:effectLst/>
                          <a:latin typeface="Calibri" panose="020F0502020204030204" pitchFamily="34" charset="0"/>
                        </a:rPr>
                        <a:t>acp_acs_backup</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GB" sz="1050" b="0" i="0" u="none" strike="noStrike">
                          <a:solidFill>
                            <a:srgbClr val="000000"/>
                          </a:solidFill>
                          <a:effectLst/>
                          <a:latin typeface="Calibri" panose="020F0502020204030204" pitchFamily="34" charset="0"/>
                        </a:rPr>
                        <a:t>ACP</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r>
              <a:tr h="190500">
                <a:tc>
                  <a:txBody>
                    <a:bodyPr/>
                    <a:lstStyle/>
                    <a:p>
                      <a:pPr algn="l" fontAlgn="b"/>
                      <a:r>
                        <a:rPr lang="en-GB" sz="1050" b="0" i="0" u="none" strike="noStrike">
                          <a:solidFill>
                            <a:srgbClr val="000000"/>
                          </a:solidFill>
                          <a:effectLst/>
                          <a:latin typeface="Calibri" panose="020F0502020204030204" pitchFamily="34" charset="0"/>
                        </a:rPr>
                        <a:t>acp_acs_governor </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GB" sz="1050" b="0" i="0" u="none" strike="noStrike">
                          <a:solidFill>
                            <a:srgbClr val="000000"/>
                          </a:solidFill>
                          <a:effectLst/>
                          <a:latin typeface="Calibri" panose="020F0502020204030204" pitchFamily="34" charset="0"/>
                        </a:rPr>
                        <a:t>ACP</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r>
              <a:tr h="190500">
                <a:tc>
                  <a:txBody>
                    <a:bodyPr/>
                    <a:lstStyle/>
                    <a:p>
                      <a:pPr algn="l" fontAlgn="b"/>
                      <a:r>
                        <a:rPr lang="en-GB" sz="1050" b="0" i="0" u="none" strike="noStrike">
                          <a:solidFill>
                            <a:srgbClr val="000000"/>
                          </a:solidFill>
                          <a:effectLst/>
                          <a:latin typeface="Calibri" panose="020F0502020204030204" pitchFamily="34" charset="0"/>
                        </a:rPr>
                        <a:t>acp_acs_monitoring </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GB" sz="1050" b="0" i="0" u="none" strike="noStrike">
                          <a:solidFill>
                            <a:srgbClr val="000000"/>
                          </a:solidFill>
                          <a:effectLst/>
                          <a:latin typeface="Calibri" panose="020F0502020204030204" pitchFamily="34" charset="0"/>
                        </a:rPr>
                        <a:t>ACP</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r>
              <a:tr h="190500">
                <a:tc>
                  <a:txBody>
                    <a:bodyPr/>
                    <a:lstStyle/>
                    <a:p>
                      <a:pPr algn="l" fontAlgn="b"/>
                      <a:r>
                        <a:rPr lang="en-GB" sz="1050" b="0" i="0" u="none" strike="noStrike">
                          <a:solidFill>
                            <a:srgbClr val="000000"/>
                          </a:solidFill>
                          <a:effectLst/>
                          <a:latin typeface="Calibri" panose="020F0502020204030204" pitchFamily="34" charset="0"/>
                        </a:rPr>
                        <a:t>acp_admin_users</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GB" sz="1050" b="0" i="0" u="none" strike="noStrike">
                          <a:solidFill>
                            <a:srgbClr val="000000"/>
                          </a:solidFill>
                          <a:effectLst/>
                          <a:latin typeface="Calibri" panose="020F0502020204030204" pitchFamily="34" charset="0"/>
                        </a:rPr>
                        <a:t>ACP</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r>
              <a:tr h="190500">
                <a:tc>
                  <a:txBody>
                    <a:bodyPr/>
                    <a:lstStyle/>
                    <a:p>
                      <a:pPr algn="l" fontAlgn="b"/>
                      <a:r>
                        <a:rPr lang="en-GB" sz="1050" b="0" i="0" u="none" strike="noStrike" dirty="0" err="1">
                          <a:solidFill>
                            <a:srgbClr val="000000"/>
                          </a:solidFill>
                          <a:effectLst/>
                          <a:latin typeface="Calibri" panose="020F0502020204030204" pitchFamily="34" charset="0"/>
                        </a:rPr>
                        <a:t>acp_api_proxy</a:t>
                      </a:r>
                      <a:endParaRPr lang="en-GB" sz="105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GB" sz="1050" b="0" i="0" u="none" strike="noStrike">
                          <a:solidFill>
                            <a:srgbClr val="000000"/>
                          </a:solidFill>
                          <a:effectLst/>
                          <a:latin typeface="Calibri" panose="020F0502020204030204" pitchFamily="34" charset="0"/>
                        </a:rPr>
                        <a:t>ACP</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r>
              <a:tr h="190500">
                <a:tc>
                  <a:txBody>
                    <a:bodyPr/>
                    <a:lstStyle/>
                    <a:p>
                      <a:pPr algn="l" fontAlgn="b"/>
                      <a:r>
                        <a:rPr lang="en-GB" sz="1050" b="0" i="0" u="none" strike="noStrike" dirty="0" err="1">
                          <a:solidFill>
                            <a:srgbClr val="000000"/>
                          </a:solidFill>
                          <a:effectLst/>
                          <a:latin typeface="Calibri" panose="020F0502020204030204" pitchFamily="34" charset="0"/>
                        </a:rPr>
                        <a:t>acp_hardening</a:t>
                      </a:r>
                      <a:r>
                        <a:rPr lang="en-GB" sz="1050" b="0" i="0" u="none" strike="noStrike" dirty="0">
                          <a:solidFill>
                            <a:srgbClr val="000000"/>
                          </a:solidFill>
                          <a:effectLst/>
                          <a:latin typeface="Calibri" panose="020F0502020204030204" pitchFamily="34" charset="0"/>
                        </a:rPr>
                        <a:t> </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GB" sz="1050" b="0" i="0" u="none" strike="noStrike">
                          <a:solidFill>
                            <a:srgbClr val="000000"/>
                          </a:solidFill>
                          <a:effectLst/>
                          <a:latin typeface="Calibri" panose="020F0502020204030204" pitchFamily="34" charset="0"/>
                        </a:rPr>
                        <a:t>ACP</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r>
              <a:tr h="190500">
                <a:tc>
                  <a:txBody>
                    <a:bodyPr/>
                    <a:lstStyle/>
                    <a:p>
                      <a:pPr algn="l" fontAlgn="b"/>
                      <a:r>
                        <a:rPr lang="en-GB" sz="1050" b="0" i="0" u="none" strike="noStrike">
                          <a:solidFill>
                            <a:srgbClr val="000000"/>
                          </a:solidFill>
                          <a:effectLst/>
                          <a:latin typeface="Calibri" panose="020F0502020204030204" pitchFamily="34" charset="0"/>
                        </a:rPr>
                        <a:t>acp_jaspersoft</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GB" sz="1050" b="0" i="0" u="none" strike="noStrike">
                          <a:solidFill>
                            <a:srgbClr val="000000"/>
                          </a:solidFill>
                          <a:effectLst/>
                          <a:latin typeface="Calibri" panose="020F0502020204030204" pitchFamily="34" charset="0"/>
                        </a:rPr>
                        <a:t>ACP</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r>
              <a:tr h="190500">
                <a:tc>
                  <a:txBody>
                    <a:bodyPr/>
                    <a:lstStyle/>
                    <a:p>
                      <a:pPr algn="l" fontAlgn="b"/>
                      <a:r>
                        <a:rPr lang="en-GB" sz="1050" b="0" i="0" u="none" strike="noStrike">
                          <a:solidFill>
                            <a:srgbClr val="000000"/>
                          </a:solidFill>
                          <a:effectLst/>
                          <a:latin typeface="Calibri" panose="020F0502020204030204" pitchFamily="34" charset="0"/>
                        </a:rPr>
                        <a:t>acp_vmware               </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GB" sz="1050" b="0" i="0" u="none" strike="noStrike">
                          <a:solidFill>
                            <a:srgbClr val="000000"/>
                          </a:solidFill>
                          <a:effectLst/>
                          <a:latin typeface="Calibri" panose="020F0502020204030204" pitchFamily="34" charset="0"/>
                        </a:rPr>
                        <a:t>ACP</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r>
              <a:tr h="190500">
                <a:tc>
                  <a:txBody>
                    <a:bodyPr/>
                    <a:lstStyle/>
                    <a:p>
                      <a:pPr algn="l" fontAlgn="b"/>
                      <a:r>
                        <a:rPr lang="en-GB" sz="1050" b="0" i="0" u="none" strike="noStrike">
                          <a:solidFill>
                            <a:srgbClr val="000000"/>
                          </a:solidFill>
                          <a:effectLst/>
                          <a:latin typeface="Calibri" panose="020F0502020204030204" pitchFamily="34" charset="0"/>
                        </a:rPr>
                        <a:t>acp_yum                  </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GB" sz="1050" b="0" i="0" u="none" strike="noStrike" dirty="0">
                          <a:solidFill>
                            <a:srgbClr val="000000"/>
                          </a:solidFill>
                          <a:effectLst/>
                          <a:latin typeface="Calibri" panose="020F0502020204030204" pitchFamily="34" charset="0"/>
                        </a:rPr>
                        <a:t>ACP</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r>
              <a:tr h="190500">
                <a:tc>
                  <a:txBody>
                    <a:bodyPr/>
                    <a:lstStyle/>
                    <a:p>
                      <a:pPr algn="l" fontAlgn="b"/>
                      <a:r>
                        <a:rPr lang="en-GB" sz="1050" b="0" i="0" u="none" strike="noStrike">
                          <a:solidFill>
                            <a:srgbClr val="000000"/>
                          </a:solidFill>
                          <a:effectLst/>
                          <a:latin typeface="Calibri" panose="020F0502020204030204" pitchFamily="34" charset="0"/>
                        </a:rPr>
                        <a:t>acp_zenoss               </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GB" sz="1050" b="0" i="0" u="none" strike="noStrike">
                          <a:solidFill>
                            <a:srgbClr val="000000"/>
                          </a:solidFill>
                          <a:effectLst/>
                          <a:latin typeface="Calibri" panose="020F0502020204030204" pitchFamily="34" charset="0"/>
                        </a:rPr>
                        <a:t>ACP</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r>
              <a:tr h="190500">
                <a:tc>
                  <a:txBody>
                    <a:bodyPr/>
                    <a:lstStyle/>
                    <a:p>
                      <a:pPr algn="l" fontAlgn="b"/>
                      <a:r>
                        <a:rPr lang="en-GB" sz="1050" b="0" i="0" u="none" strike="noStrike">
                          <a:solidFill>
                            <a:srgbClr val="000000"/>
                          </a:solidFill>
                          <a:effectLst/>
                          <a:latin typeface="Calibri" panose="020F0502020204030204" pitchFamily="34" charset="0"/>
                        </a:rPr>
                        <a:t>acp-mysql</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GB" sz="1050" b="0" i="0" u="none" strike="noStrike">
                          <a:solidFill>
                            <a:srgbClr val="000000"/>
                          </a:solidFill>
                          <a:effectLst/>
                          <a:latin typeface="Calibri" panose="020F0502020204030204" pitchFamily="34" charset="0"/>
                        </a:rPr>
                        <a:t>ACP</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r>
              <a:tr h="190500">
                <a:tc>
                  <a:txBody>
                    <a:bodyPr/>
                    <a:lstStyle/>
                    <a:p>
                      <a:pPr algn="l" fontAlgn="b"/>
                      <a:r>
                        <a:rPr lang="en-GB" sz="1050" b="0" i="0" u="none" strike="noStrike">
                          <a:solidFill>
                            <a:srgbClr val="000000"/>
                          </a:solidFill>
                          <a:effectLst/>
                          <a:latin typeface="Calibri" panose="020F0502020204030204" pitchFamily="34" charset="0"/>
                        </a:rPr>
                        <a:t>apt                      </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GB" sz="1050" b="0" i="0" u="none" strike="noStrike">
                          <a:solidFill>
                            <a:srgbClr val="000000"/>
                          </a:solidFill>
                          <a:effectLst/>
                          <a:latin typeface="Calibri" panose="020F0502020204030204" pitchFamily="34" charset="0"/>
                        </a:rPr>
                        <a:t>ACP</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r>
              <a:tr h="190500">
                <a:tc>
                  <a:txBody>
                    <a:bodyPr/>
                    <a:lstStyle/>
                    <a:p>
                      <a:pPr algn="l" fontAlgn="b"/>
                      <a:r>
                        <a:rPr lang="en-GB" sz="1050" b="0" i="0" u="none" strike="noStrike">
                          <a:solidFill>
                            <a:srgbClr val="000000"/>
                          </a:solidFill>
                          <a:effectLst/>
                          <a:latin typeface="Calibri" panose="020F0502020204030204" pitchFamily="34" charset="0"/>
                        </a:rPr>
                        <a:t>ark</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GB" sz="1050" b="0" i="0" u="none" strike="noStrike">
                          <a:solidFill>
                            <a:srgbClr val="000000"/>
                          </a:solidFill>
                          <a:effectLst/>
                          <a:latin typeface="Calibri" panose="020F0502020204030204" pitchFamily="34" charset="0"/>
                        </a:rPr>
                        <a:t>ACP</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r>
              <a:tr h="190500">
                <a:tc>
                  <a:txBody>
                    <a:bodyPr/>
                    <a:lstStyle/>
                    <a:p>
                      <a:pPr algn="l" fontAlgn="b"/>
                      <a:r>
                        <a:rPr lang="en-GB" sz="1050" b="0" i="0" u="none" strike="noStrike">
                          <a:solidFill>
                            <a:srgbClr val="000000"/>
                          </a:solidFill>
                          <a:effectLst/>
                          <a:latin typeface="Calibri" panose="020F0502020204030204" pitchFamily="34" charset="0"/>
                        </a:rPr>
                        <a:t>aws</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GB" sz="1050" b="0" i="0" u="none" strike="noStrike">
                          <a:solidFill>
                            <a:srgbClr val="000000"/>
                          </a:solidFill>
                          <a:effectLst/>
                          <a:latin typeface="Calibri" panose="020F0502020204030204" pitchFamily="34" charset="0"/>
                        </a:rPr>
                        <a:t>ACP</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r>
              <a:tr h="190500">
                <a:tc>
                  <a:txBody>
                    <a:bodyPr/>
                    <a:lstStyle/>
                    <a:p>
                      <a:pPr algn="l" fontAlgn="b"/>
                      <a:r>
                        <a:rPr lang="en-GB" sz="1050" b="0" i="0" u="none" strike="noStrike">
                          <a:solidFill>
                            <a:srgbClr val="000000"/>
                          </a:solidFill>
                          <a:effectLst/>
                          <a:latin typeface="Calibri" panose="020F0502020204030204" pitchFamily="34" charset="0"/>
                        </a:rPr>
                        <a:t>bluepill</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GB" sz="1050" b="0" i="0" u="none" strike="noStrike">
                          <a:solidFill>
                            <a:srgbClr val="000000"/>
                          </a:solidFill>
                          <a:effectLst/>
                          <a:latin typeface="Calibri" panose="020F0502020204030204" pitchFamily="34" charset="0"/>
                        </a:rPr>
                        <a:t>ACP</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r>
              <a:tr h="190500">
                <a:tc>
                  <a:txBody>
                    <a:bodyPr/>
                    <a:lstStyle/>
                    <a:p>
                      <a:pPr algn="l" fontAlgn="b"/>
                      <a:r>
                        <a:rPr lang="en-GB" sz="1050" b="0" i="0" u="none" strike="noStrike">
                          <a:solidFill>
                            <a:srgbClr val="000000"/>
                          </a:solidFill>
                          <a:effectLst/>
                          <a:latin typeface="Calibri" panose="020F0502020204030204" pitchFamily="34" charset="0"/>
                        </a:rPr>
                        <a:t>bootstrap                </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GB" sz="1050" b="0" i="0" u="none" strike="noStrike">
                          <a:solidFill>
                            <a:srgbClr val="000000"/>
                          </a:solidFill>
                          <a:effectLst/>
                          <a:latin typeface="Calibri" panose="020F0502020204030204" pitchFamily="34" charset="0"/>
                        </a:rPr>
                        <a:t>ACP</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r>
              <a:tr h="190500">
                <a:tc>
                  <a:txBody>
                    <a:bodyPr/>
                    <a:lstStyle/>
                    <a:p>
                      <a:pPr algn="l" fontAlgn="b"/>
                      <a:r>
                        <a:rPr lang="en-GB" sz="1050" b="0" i="0" u="none" strike="noStrike">
                          <a:solidFill>
                            <a:srgbClr val="000000"/>
                          </a:solidFill>
                          <a:effectLst/>
                          <a:latin typeface="Calibri" panose="020F0502020204030204" pitchFamily="34" charset="0"/>
                        </a:rPr>
                        <a:t>build-essential          </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GB" sz="1050" b="0" i="0" u="none" strike="noStrike">
                          <a:solidFill>
                            <a:srgbClr val="000000"/>
                          </a:solidFill>
                          <a:effectLst/>
                          <a:latin typeface="Calibri" panose="020F0502020204030204" pitchFamily="34" charset="0"/>
                        </a:rPr>
                        <a:t>ACP</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r>
              <a:tr h="190500">
                <a:tc>
                  <a:txBody>
                    <a:bodyPr/>
                    <a:lstStyle/>
                    <a:p>
                      <a:pPr algn="l" fontAlgn="b"/>
                      <a:r>
                        <a:rPr lang="en-GB" sz="1050" b="0" i="0" u="none" strike="noStrike" dirty="0">
                          <a:solidFill>
                            <a:srgbClr val="000000"/>
                          </a:solidFill>
                          <a:effectLst/>
                          <a:latin typeface="Calibri" panose="020F0502020204030204" pitchFamily="34" charset="0"/>
                        </a:rPr>
                        <a:t>chef-client</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GB" sz="1050" b="0" i="0" u="none" strike="noStrike" dirty="0">
                          <a:solidFill>
                            <a:srgbClr val="000000"/>
                          </a:solidFill>
                          <a:effectLst/>
                          <a:latin typeface="Calibri" panose="020F0502020204030204" pitchFamily="34" charset="0"/>
                        </a:rPr>
                        <a:t>ACP</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r>
              <a:tr h="190500">
                <a:tc>
                  <a:txBody>
                    <a:bodyPr/>
                    <a:lstStyle/>
                    <a:p>
                      <a:pPr algn="l" fontAlgn="b"/>
                      <a:r>
                        <a:rPr lang="en-GB" sz="1050" b="0" i="0" u="none" strike="noStrike" dirty="0" err="1">
                          <a:solidFill>
                            <a:srgbClr val="000000"/>
                          </a:solidFill>
                          <a:effectLst/>
                          <a:latin typeface="Calibri" panose="020F0502020204030204" pitchFamily="34" charset="0"/>
                        </a:rPr>
                        <a:t>chef_handler</a:t>
                      </a:r>
                      <a:r>
                        <a:rPr lang="en-GB" sz="1050" b="0" i="0" u="none" strike="noStrike" dirty="0">
                          <a:solidFill>
                            <a:srgbClr val="000000"/>
                          </a:solidFill>
                          <a:effectLst/>
                          <a:latin typeface="Calibri" panose="020F0502020204030204" pitchFamily="34" charset="0"/>
                        </a:rPr>
                        <a:t>             </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GB" sz="1050" b="0" i="0" u="none" strike="noStrike">
                          <a:solidFill>
                            <a:srgbClr val="000000"/>
                          </a:solidFill>
                          <a:effectLst/>
                          <a:latin typeface="Calibri" panose="020F0502020204030204" pitchFamily="34" charset="0"/>
                        </a:rPr>
                        <a:t>ACP</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r>
              <a:tr h="190500">
                <a:tc>
                  <a:txBody>
                    <a:bodyPr/>
                    <a:lstStyle/>
                    <a:p>
                      <a:pPr algn="l" fontAlgn="b"/>
                      <a:r>
                        <a:rPr lang="en-GB" sz="1050" b="0" i="0" u="none" strike="noStrike">
                          <a:solidFill>
                            <a:srgbClr val="000000"/>
                          </a:solidFill>
                          <a:effectLst/>
                          <a:latin typeface="Calibri" panose="020F0502020204030204" pitchFamily="34" charset="0"/>
                        </a:rPr>
                        <a:t>chef_proxy</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GB" sz="1050" b="0" i="0" u="none" strike="noStrike">
                          <a:solidFill>
                            <a:srgbClr val="000000"/>
                          </a:solidFill>
                          <a:effectLst/>
                          <a:latin typeface="Calibri" panose="020F0502020204030204" pitchFamily="34" charset="0"/>
                        </a:rPr>
                        <a:t>ACP</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r>
              <a:tr h="190500">
                <a:tc>
                  <a:txBody>
                    <a:bodyPr/>
                    <a:lstStyle/>
                    <a:p>
                      <a:pPr algn="l" fontAlgn="b"/>
                      <a:r>
                        <a:rPr lang="en-GB" sz="1050" b="0" i="0" u="none" strike="noStrike">
                          <a:solidFill>
                            <a:srgbClr val="000000"/>
                          </a:solidFill>
                          <a:effectLst/>
                          <a:latin typeface="Calibri" panose="020F0502020204030204" pitchFamily="34" charset="0"/>
                        </a:rPr>
                        <a:t>clone                    </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GB" sz="1050" b="0" i="0" u="none" strike="noStrike">
                          <a:solidFill>
                            <a:srgbClr val="000000"/>
                          </a:solidFill>
                          <a:effectLst/>
                          <a:latin typeface="Calibri" panose="020F0502020204030204" pitchFamily="34" charset="0"/>
                        </a:rPr>
                        <a:t>ACP</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r>
              <a:tr h="190500">
                <a:tc>
                  <a:txBody>
                    <a:bodyPr/>
                    <a:lstStyle/>
                    <a:p>
                      <a:pPr algn="l" fontAlgn="b"/>
                      <a:r>
                        <a:rPr lang="en-GB" sz="1050" b="0" i="0" u="none" strike="noStrike">
                          <a:solidFill>
                            <a:srgbClr val="000000"/>
                          </a:solidFill>
                          <a:effectLst/>
                          <a:latin typeface="Calibri" panose="020F0502020204030204" pitchFamily="34" charset="0"/>
                        </a:rPr>
                        <a:t>commands                 </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GB" sz="1050" b="0" i="0" u="none" strike="noStrike">
                          <a:solidFill>
                            <a:srgbClr val="000000"/>
                          </a:solidFill>
                          <a:effectLst/>
                          <a:latin typeface="Calibri" panose="020F0502020204030204" pitchFamily="34" charset="0"/>
                        </a:rPr>
                        <a:t>ACP</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r>
              <a:tr h="190500">
                <a:tc>
                  <a:txBody>
                    <a:bodyPr/>
                    <a:lstStyle/>
                    <a:p>
                      <a:pPr algn="l" fontAlgn="b"/>
                      <a:r>
                        <a:rPr lang="en-GB" sz="1050" b="0" i="0" u="none" strike="noStrike">
                          <a:solidFill>
                            <a:srgbClr val="000000"/>
                          </a:solidFill>
                          <a:effectLst/>
                          <a:latin typeface="Calibri" panose="020F0502020204030204" pitchFamily="34" charset="0"/>
                        </a:rPr>
                        <a:t>cron</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GB" sz="1050" b="0" i="0" u="none" strike="noStrike">
                          <a:solidFill>
                            <a:srgbClr val="000000"/>
                          </a:solidFill>
                          <a:effectLst/>
                          <a:latin typeface="Calibri" panose="020F0502020204030204" pitchFamily="34" charset="0"/>
                        </a:rPr>
                        <a:t>ACP</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r>
              <a:tr h="190500">
                <a:tc>
                  <a:txBody>
                    <a:bodyPr/>
                    <a:lstStyle/>
                    <a:p>
                      <a:pPr algn="l" fontAlgn="b"/>
                      <a:r>
                        <a:rPr lang="en-GB" sz="1050" b="0" i="0" u="none" strike="noStrike">
                          <a:solidFill>
                            <a:srgbClr val="000000"/>
                          </a:solidFill>
                          <a:effectLst/>
                          <a:latin typeface="Calibri" panose="020F0502020204030204" pitchFamily="34" charset="0"/>
                        </a:rPr>
                        <a:t>database</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GB" sz="1050" b="0" i="0" u="none" strike="noStrike">
                          <a:solidFill>
                            <a:srgbClr val="000000"/>
                          </a:solidFill>
                          <a:effectLst/>
                          <a:latin typeface="Calibri" panose="020F0502020204030204" pitchFamily="34" charset="0"/>
                        </a:rPr>
                        <a:t>ACP</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r>
              <a:tr h="190500">
                <a:tc>
                  <a:txBody>
                    <a:bodyPr/>
                    <a:lstStyle/>
                    <a:p>
                      <a:pPr algn="l" fontAlgn="b"/>
                      <a:r>
                        <a:rPr lang="en-GB" sz="1050" b="0" i="0" u="none" strike="noStrike">
                          <a:solidFill>
                            <a:srgbClr val="000000"/>
                          </a:solidFill>
                          <a:effectLst/>
                          <a:latin typeface="Calibri" panose="020F0502020204030204" pitchFamily="34" charset="0"/>
                        </a:rPr>
                        <a:t>diskpart                 </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GB" sz="1050" b="0" i="0" u="none" strike="noStrike">
                          <a:solidFill>
                            <a:srgbClr val="000000"/>
                          </a:solidFill>
                          <a:effectLst/>
                          <a:latin typeface="Calibri" panose="020F0502020204030204" pitchFamily="34" charset="0"/>
                        </a:rPr>
                        <a:t>ACP</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r>
              <a:tr h="190500">
                <a:tc>
                  <a:txBody>
                    <a:bodyPr/>
                    <a:lstStyle/>
                    <a:p>
                      <a:pPr algn="l" fontAlgn="b"/>
                      <a:r>
                        <a:rPr lang="en-GB" sz="1050" b="0" i="0" u="none" strike="noStrike" dirty="0" err="1">
                          <a:solidFill>
                            <a:srgbClr val="000000"/>
                          </a:solidFill>
                          <a:effectLst/>
                          <a:latin typeface="Calibri" panose="020F0502020204030204" pitchFamily="34" charset="0"/>
                        </a:rPr>
                        <a:t>dmg</a:t>
                      </a:r>
                      <a:endParaRPr lang="en-GB" sz="105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GB" sz="1050" b="0" i="0" u="none" strike="noStrike" dirty="0">
                          <a:solidFill>
                            <a:srgbClr val="000000"/>
                          </a:solidFill>
                          <a:effectLst/>
                          <a:latin typeface="Calibri" panose="020F0502020204030204" pitchFamily="34" charset="0"/>
                        </a:rPr>
                        <a:t>ACP</a:t>
                      </a:r>
                    </a:p>
                  </a:txBody>
                  <a:tcPr marL="9525" marR="9525" marT="952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1088266188"/>
              </p:ext>
            </p:extLst>
          </p:nvPr>
        </p:nvGraphicFramePr>
        <p:xfrm>
          <a:off x="4932040" y="1268760"/>
          <a:ext cx="3094573" cy="5328596"/>
        </p:xfrm>
        <a:graphic>
          <a:graphicData uri="http://schemas.openxmlformats.org/drawingml/2006/table">
            <a:tbl>
              <a:tblPr/>
              <a:tblGrid>
                <a:gridCol w="1912094"/>
                <a:gridCol w="1182479"/>
              </a:tblGrid>
              <a:tr h="190307">
                <a:tc>
                  <a:txBody>
                    <a:bodyPr/>
                    <a:lstStyle/>
                    <a:p>
                      <a:pPr algn="l" fontAlgn="b"/>
                      <a:r>
                        <a:rPr lang="en-GB" sz="1050" b="1" i="0" u="none" strike="noStrike" dirty="0">
                          <a:solidFill>
                            <a:srgbClr val="FFFFFF"/>
                          </a:solidFill>
                          <a:effectLst/>
                          <a:latin typeface="Calibri" panose="020F0502020204030204" pitchFamily="34" charset="0"/>
                        </a:rPr>
                        <a:t>Cookbook Name</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solidFill>
                      <a:srgbClr val="66AA44"/>
                    </a:solidFill>
                  </a:tcPr>
                </a:tc>
                <a:tc>
                  <a:txBody>
                    <a:bodyPr/>
                    <a:lstStyle/>
                    <a:p>
                      <a:pPr algn="l" fontAlgn="b"/>
                      <a:r>
                        <a:rPr lang="en-GB" sz="1050" b="1" i="0" u="none" strike="noStrike" dirty="0">
                          <a:solidFill>
                            <a:srgbClr val="FFFFFF"/>
                          </a:solidFill>
                          <a:effectLst/>
                          <a:latin typeface="Calibri" panose="020F0502020204030204" pitchFamily="34" charset="0"/>
                        </a:rPr>
                        <a:t>Originating Project</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solidFill>
                      <a:srgbClr val="66AA44"/>
                    </a:solidFill>
                  </a:tcPr>
                </a:tc>
              </a:tr>
              <a:tr h="190307">
                <a:tc>
                  <a:txBody>
                    <a:bodyPr/>
                    <a:lstStyle/>
                    <a:p>
                      <a:pPr algn="l" fontAlgn="b"/>
                      <a:r>
                        <a:rPr lang="en-GB" sz="1050" b="0" i="0" u="none" strike="noStrike">
                          <a:solidFill>
                            <a:srgbClr val="000000"/>
                          </a:solidFill>
                          <a:effectLst/>
                          <a:latin typeface="Calibri" panose="020F0502020204030204" pitchFamily="34" charset="0"/>
                        </a:rPr>
                        <a:t>enstratus                </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CP</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90307">
                <a:tc>
                  <a:txBody>
                    <a:bodyPr/>
                    <a:lstStyle/>
                    <a:p>
                      <a:pPr algn="l" fontAlgn="b"/>
                      <a:r>
                        <a:rPr lang="en-GB" sz="1050" b="0" i="0" u="none" strike="noStrike" dirty="0" err="1">
                          <a:solidFill>
                            <a:srgbClr val="000000"/>
                          </a:solidFill>
                          <a:effectLst/>
                          <a:latin typeface="Calibri" panose="020F0502020204030204" pitchFamily="34" charset="0"/>
                        </a:rPr>
                        <a:t>erlang</a:t>
                      </a:r>
                      <a:r>
                        <a:rPr lang="en-GB" sz="1050" b="0" i="0" u="none" strike="noStrike" dirty="0">
                          <a:solidFill>
                            <a:srgbClr val="000000"/>
                          </a:solidFill>
                          <a:effectLst/>
                          <a:latin typeface="Calibri" panose="020F0502020204030204" pitchFamily="34" charset="0"/>
                        </a:rPr>
                        <a:t>                   </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CP</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90307">
                <a:tc>
                  <a:txBody>
                    <a:bodyPr/>
                    <a:lstStyle/>
                    <a:p>
                      <a:pPr algn="l" fontAlgn="b"/>
                      <a:r>
                        <a:rPr lang="en-GB" sz="1050" b="0" i="0" u="none" strike="noStrike" dirty="0">
                          <a:solidFill>
                            <a:srgbClr val="000000"/>
                          </a:solidFill>
                          <a:effectLst/>
                          <a:latin typeface="Calibri" panose="020F0502020204030204" pitchFamily="34" charset="0"/>
                        </a:rPr>
                        <a:t>git</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CP</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90307">
                <a:tc>
                  <a:txBody>
                    <a:bodyPr/>
                    <a:lstStyle/>
                    <a:p>
                      <a:pPr algn="l" fontAlgn="b"/>
                      <a:r>
                        <a:rPr lang="en-GB" sz="1050" b="0" i="0" u="none" strike="noStrike">
                          <a:solidFill>
                            <a:srgbClr val="000000"/>
                          </a:solidFill>
                          <a:effectLst/>
                          <a:latin typeface="Calibri" panose="020F0502020204030204" pitchFamily="34" charset="0"/>
                        </a:rPr>
                        <a:t>hosts                    </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CP</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90307">
                <a:tc>
                  <a:txBody>
                    <a:bodyPr/>
                    <a:lstStyle/>
                    <a:p>
                      <a:pPr algn="l" fontAlgn="b"/>
                      <a:r>
                        <a:rPr lang="en-GB" sz="1050" b="0" i="0" u="none" strike="noStrike">
                          <a:solidFill>
                            <a:srgbClr val="000000"/>
                          </a:solidFill>
                          <a:effectLst/>
                          <a:latin typeface="Calibri" panose="020F0502020204030204" pitchFamily="34" charset="0"/>
                        </a:rPr>
                        <a:t>iptables</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CP</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90307">
                <a:tc>
                  <a:txBody>
                    <a:bodyPr/>
                    <a:lstStyle/>
                    <a:p>
                      <a:pPr algn="l" fontAlgn="b"/>
                      <a:r>
                        <a:rPr lang="en-GB" sz="1050" b="0" i="0" u="none" strike="noStrike" dirty="0">
                          <a:solidFill>
                            <a:srgbClr val="000000"/>
                          </a:solidFill>
                          <a:effectLst/>
                          <a:latin typeface="Calibri" panose="020F0502020204030204" pitchFamily="34" charset="0"/>
                        </a:rPr>
                        <a:t>java</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CP</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90307">
                <a:tc>
                  <a:txBody>
                    <a:bodyPr/>
                    <a:lstStyle/>
                    <a:p>
                      <a:pPr algn="l" fontAlgn="b"/>
                      <a:r>
                        <a:rPr lang="en-GB" sz="1050" b="0" i="0" u="none" strike="noStrike">
                          <a:solidFill>
                            <a:srgbClr val="000000"/>
                          </a:solidFill>
                          <a:effectLst/>
                          <a:latin typeface="Calibri" panose="020F0502020204030204" pitchFamily="34" charset="0"/>
                        </a:rPr>
                        <a:t>line                     </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CP</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90307">
                <a:tc>
                  <a:txBody>
                    <a:bodyPr/>
                    <a:lstStyle/>
                    <a:p>
                      <a:pPr algn="l" fontAlgn="b"/>
                      <a:r>
                        <a:rPr lang="en-GB" sz="1050" b="0" i="0" u="none" strike="noStrike" dirty="0" err="1">
                          <a:solidFill>
                            <a:srgbClr val="000000"/>
                          </a:solidFill>
                          <a:effectLst/>
                          <a:latin typeface="Calibri" panose="020F0502020204030204" pitchFamily="34" charset="0"/>
                        </a:rPr>
                        <a:t>logrotate</a:t>
                      </a:r>
                      <a:r>
                        <a:rPr lang="en-GB" sz="1050" b="0" i="0" u="none" strike="noStrike" dirty="0">
                          <a:solidFill>
                            <a:srgbClr val="000000"/>
                          </a:solidFill>
                          <a:effectLst/>
                          <a:latin typeface="Calibri" panose="020F0502020204030204" pitchFamily="34" charset="0"/>
                        </a:rPr>
                        <a:t>                </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CP</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90307">
                <a:tc>
                  <a:txBody>
                    <a:bodyPr/>
                    <a:lstStyle/>
                    <a:p>
                      <a:pPr algn="l" fontAlgn="b"/>
                      <a:r>
                        <a:rPr lang="en-GB" sz="1050" b="0" i="0" u="none" strike="noStrike">
                          <a:solidFill>
                            <a:srgbClr val="000000"/>
                          </a:solidFill>
                          <a:effectLst/>
                          <a:latin typeface="Calibri" panose="020F0502020204030204" pitchFamily="34" charset="0"/>
                        </a:rPr>
                        <a:t>manage-common            </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CP</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90307">
                <a:tc>
                  <a:txBody>
                    <a:bodyPr/>
                    <a:lstStyle/>
                    <a:p>
                      <a:pPr algn="l" fontAlgn="b"/>
                      <a:r>
                        <a:rPr lang="en-GB" sz="1050" b="0" i="0" u="none" strike="noStrike">
                          <a:solidFill>
                            <a:srgbClr val="000000"/>
                          </a:solidFill>
                          <a:effectLst/>
                          <a:latin typeface="Calibri" panose="020F0502020204030204" pitchFamily="34" charset="0"/>
                        </a:rPr>
                        <a:t>manage-networks          </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CP</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90307">
                <a:tc>
                  <a:txBody>
                    <a:bodyPr/>
                    <a:lstStyle/>
                    <a:p>
                      <a:pPr algn="l" fontAlgn="b"/>
                      <a:r>
                        <a:rPr lang="en-GB" sz="1050" b="0" i="0" u="none" strike="noStrike">
                          <a:solidFill>
                            <a:srgbClr val="000000"/>
                          </a:solidFill>
                          <a:effectLst/>
                          <a:latin typeface="Calibri" panose="020F0502020204030204" pitchFamily="34" charset="0"/>
                        </a:rPr>
                        <a:t>manage-storage           </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CP</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90307">
                <a:tc>
                  <a:txBody>
                    <a:bodyPr/>
                    <a:lstStyle/>
                    <a:p>
                      <a:pPr algn="l" fontAlgn="b"/>
                      <a:r>
                        <a:rPr lang="en-GB" sz="1050" b="0" i="0" u="none" strike="noStrike">
                          <a:solidFill>
                            <a:srgbClr val="000000"/>
                          </a:solidFill>
                          <a:effectLst/>
                          <a:latin typeface="Calibri" panose="020F0502020204030204" pitchFamily="34" charset="0"/>
                        </a:rPr>
                        <a:t>manage-users             </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CP</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90307">
                <a:tc>
                  <a:txBody>
                    <a:bodyPr/>
                    <a:lstStyle/>
                    <a:p>
                      <a:pPr algn="l" fontAlgn="b"/>
                      <a:r>
                        <a:rPr lang="en-GB" sz="1050" b="0" i="0" u="none" strike="noStrike" dirty="0">
                          <a:solidFill>
                            <a:srgbClr val="000000"/>
                          </a:solidFill>
                          <a:effectLst/>
                          <a:latin typeface="Calibri" panose="020F0502020204030204" pitchFamily="34" charset="0"/>
                        </a:rPr>
                        <a:t>manage-</a:t>
                      </a:r>
                      <a:r>
                        <a:rPr lang="en-GB" sz="1050" b="0" i="0" u="none" strike="noStrike" dirty="0" err="1">
                          <a:solidFill>
                            <a:srgbClr val="000000"/>
                          </a:solidFill>
                          <a:effectLst/>
                          <a:latin typeface="Calibri" panose="020F0502020204030204" pitchFamily="34" charset="0"/>
                        </a:rPr>
                        <a:t>vpn</a:t>
                      </a:r>
                      <a:r>
                        <a:rPr lang="en-GB" sz="1050" b="0" i="0" u="none" strike="noStrike" dirty="0">
                          <a:solidFill>
                            <a:srgbClr val="000000"/>
                          </a:solidFill>
                          <a:effectLst/>
                          <a:latin typeface="Calibri" panose="020F0502020204030204" pitchFamily="34" charset="0"/>
                        </a:rPr>
                        <a:t>-access        </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CP</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90307">
                <a:tc>
                  <a:txBody>
                    <a:bodyPr/>
                    <a:lstStyle/>
                    <a:p>
                      <a:pPr algn="l" fontAlgn="b"/>
                      <a:r>
                        <a:rPr lang="en-GB" sz="1050" b="0" i="0" u="none" strike="noStrike">
                          <a:solidFill>
                            <a:srgbClr val="000000"/>
                          </a:solidFill>
                          <a:effectLst/>
                          <a:latin typeface="Calibri" panose="020F0502020204030204" pitchFamily="34" charset="0"/>
                        </a:rPr>
                        <a:t>maven</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CP</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90307">
                <a:tc>
                  <a:txBody>
                    <a:bodyPr/>
                    <a:lstStyle/>
                    <a:p>
                      <a:pPr algn="l" fontAlgn="b"/>
                      <a:r>
                        <a:rPr lang="en-GB" sz="1050" b="0" i="0" u="none" strike="noStrike">
                          <a:solidFill>
                            <a:srgbClr val="000000"/>
                          </a:solidFill>
                          <a:effectLst/>
                          <a:latin typeface="Calibri" panose="020F0502020204030204" pitchFamily="34" charset="0"/>
                        </a:rPr>
                        <a:t>mysql</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CP</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90307">
                <a:tc>
                  <a:txBody>
                    <a:bodyPr/>
                    <a:lstStyle/>
                    <a:p>
                      <a:pPr algn="l" fontAlgn="b"/>
                      <a:r>
                        <a:rPr lang="en-GB" sz="1050" b="0" i="0" u="none" strike="noStrike">
                          <a:solidFill>
                            <a:srgbClr val="000000"/>
                          </a:solidFill>
                          <a:effectLst/>
                          <a:latin typeface="Calibri" panose="020F0502020204030204" pitchFamily="34" charset="0"/>
                        </a:rPr>
                        <a:t>nginx</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dirty="0">
                          <a:solidFill>
                            <a:srgbClr val="000000"/>
                          </a:solidFill>
                          <a:effectLst/>
                          <a:latin typeface="Calibri" panose="020F0502020204030204" pitchFamily="34" charset="0"/>
                        </a:rPr>
                        <a:t>ACP</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90307">
                <a:tc>
                  <a:txBody>
                    <a:bodyPr/>
                    <a:lstStyle/>
                    <a:p>
                      <a:pPr algn="l" fontAlgn="b"/>
                      <a:r>
                        <a:rPr lang="en-GB" sz="1050" b="0" i="0" u="none" strike="noStrike">
                          <a:solidFill>
                            <a:srgbClr val="000000"/>
                          </a:solidFill>
                          <a:effectLst/>
                          <a:latin typeface="Calibri" panose="020F0502020204030204" pitchFamily="34" charset="0"/>
                        </a:rPr>
                        <a:t>nscd</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CP</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90307">
                <a:tc>
                  <a:txBody>
                    <a:bodyPr/>
                    <a:lstStyle/>
                    <a:p>
                      <a:pPr algn="l" fontAlgn="b"/>
                      <a:r>
                        <a:rPr lang="en-GB" sz="1050" b="0" i="0" u="none" strike="noStrike">
                          <a:solidFill>
                            <a:srgbClr val="000000"/>
                          </a:solidFill>
                          <a:effectLst/>
                          <a:latin typeface="Calibri" panose="020F0502020204030204" pitchFamily="34" charset="0"/>
                        </a:rPr>
                        <a:t>ohai</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CP</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90307">
                <a:tc>
                  <a:txBody>
                    <a:bodyPr/>
                    <a:lstStyle/>
                    <a:p>
                      <a:pPr algn="l" fontAlgn="b"/>
                      <a:r>
                        <a:rPr lang="en-GB" sz="1050" b="0" i="0" u="none" strike="noStrike">
                          <a:solidFill>
                            <a:srgbClr val="000000"/>
                          </a:solidFill>
                          <a:effectLst/>
                          <a:latin typeface="Calibri" panose="020F0502020204030204" pitchFamily="34" charset="0"/>
                        </a:rPr>
                        <a:t>openldap</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CP</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90307">
                <a:tc>
                  <a:txBody>
                    <a:bodyPr/>
                    <a:lstStyle/>
                    <a:p>
                      <a:pPr algn="l" fontAlgn="b"/>
                      <a:r>
                        <a:rPr lang="en-GB" sz="1050" b="0" i="0" u="none" strike="noStrike">
                          <a:solidFill>
                            <a:srgbClr val="000000"/>
                          </a:solidFill>
                          <a:effectLst/>
                          <a:latin typeface="Calibri" panose="020F0502020204030204" pitchFamily="34" charset="0"/>
                        </a:rPr>
                        <a:t>openssh                  </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CP</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90307">
                <a:tc>
                  <a:txBody>
                    <a:bodyPr/>
                    <a:lstStyle/>
                    <a:p>
                      <a:pPr algn="l" fontAlgn="b"/>
                      <a:r>
                        <a:rPr lang="en-GB" sz="1050" b="0" i="0" u="none" strike="noStrike">
                          <a:solidFill>
                            <a:srgbClr val="000000"/>
                          </a:solidFill>
                          <a:effectLst/>
                          <a:latin typeface="Calibri" panose="020F0502020204030204" pitchFamily="34" charset="0"/>
                        </a:rPr>
                        <a:t>openssl</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CP</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90307">
                <a:tc>
                  <a:txBody>
                    <a:bodyPr/>
                    <a:lstStyle/>
                    <a:p>
                      <a:pPr algn="l" fontAlgn="b"/>
                      <a:r>
                        <a:rPr lang="en-GB" sz="1050" b="0" i="0" u="none" strike="noStrike" dirty="0">
                          <a:solidFill>
                            <a:srgbClr val="000000"/>
                          </a:solidFill>
                          <a:effectLst/>
                          <a:latin typeface="Calibri" panose="020F0502020204030204" pitchFamily="34" charset="0"/>
                        </a:rPr>
                        <a:t>patching                 </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CP</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90307">
                <a:tc>
                  <a:txBody>
                    <a:bodyPr/>
                    <a:lstStyle/>
                    <a:p>
                      <a:pPr algn="l" fontAlgn="b"/>
                      <a:r>
                        <a:rPr lang="en-GB" sz="1050" b="0" i="0" u="none" strike="noStrike">
                          <a:solidFill>
                            <a:srgbClr val="000000"/>
                          </a:solidFill>
                          <a:effectLst/>
                          <a:latin typeface="Calibri" panose="020F0502020204030204" pitchFamily="34" charset="0"/>
                        </a:rPr>
                        <a:t>postgresql</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CP</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90307">
                <a:tc>
                  <a:txBody>
                    <a:bodyPr/>
                    <a:lstStyle/>
                    <a:p>
                      <a:pPr algn="l" fontAlgn="b"/>
                      <a:r>
                        <a:rPr lang="en-GB" sz="1050" b="0" i="0" u="none" strike="noStrike">
                          <a:solidFill>
                            <a:srgbClr val="000000"/>
                          </a:solidFill>
                          <a:effectLst/>
                          <a:latin typeface="Calibri" panose="020F0502020204030204" pitchFamily="34" charset="0"/>
                        </a:rPr>
                        <a:t>powershell               </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CP</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90307">
                <a:tc>
                  <a:txBody>
                    <a:bodyPr/>
                    <a:lstStyle/>
                    <a:p>
                      <a:pPr algn="l" fontAlgn="b"/>
                      <a:r>
                        <a:rPr lang="en-GB" sz="1050" b="0" i="0" u="none" strike="noStrike">
                          <a:solidFill>
                            <a:srgbClr val="000000"/>
                          </a:solidFill>
                          <a:effectLst/>
                          <a:latin typeface="Calibri" panose="020F0502020204030204" pitchFamily="34" charset="0"/>
                        </a:rPr>
                        <a:t>provisioning             </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CP</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90307">
                <a:tc>
                  <a:txBody>
                    <a:bodyPr/>
                    <a:lstStyle/>
                    <a:p>
                      <a:pPr algn="l" fontAlgn="b"/>
                      <a:r>
                        <a:rPr lang="en-GB" sz="1050" b="0" i="0" u="none" strike="noStrike">
                          <a:solidFill>
                            <a:srgbClr val="000000"/>
                          </a:solidFill>
                          <a:effectLst/>
                          <a:latin typeface="Calibri" panose="020F0502020204030204" pitchFamily="34" charset="0"/>
                        </a:rPr>
                        <a:t>pvp_setup</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CP</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90307">
                <a:tc>
                  <a:txBody>
                    <a:bodyPr/>
                    <a:lstStyle/>
                    <a:p>
                      <a:pPr algn="l" fontAlgn="b"/>
                      <a:r>
                        <a:rPr lang="en-GB" sz="1050" b="0" i="0" u="none" strike="noStrike">
                          <a:solidFill>
                            <a:srgbClr val="000000"/>
                          </a:solidFill>
                          <a:effectLst/>
                          <a:latin typeface="Calibri" panose="020F0502020204030204" pitchFamily="34" charset="0"/>
                        </a:rPr>
                        <a:t>rabbitmq                 </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dirty="0">
                          <a:solidFill>
                            <a:srgbClr val="000000"/>
                          </a:solidFill>
                          <a:effectLst/>
                          <a:latin typeface="Calibri" panose="020F0502020204030204" pitchFamily="34" charset="0"/>
                        </a:rPr>
                        <a:t>ACP</a:t>
                      </a:r>
                    </a:p>
                  </a:txBody>
                  <a:tcPr marL="9435" marR="9435" marT="9435"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60499632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t>What assets </a:t>
            </a:r>
            <a:r>
              <a:rPr lang="en-GB" dirty="0" smtClean="0">
                <a:solidFill>
                  <a:srgbClr val="66AA44"/>
                </a:solidFill>
              </a:rPr>
              <a:t>do we already </a:t>
            </a:r>
            <a:r>
              <a:rPr lang="en-GB" dirty="0" smtClean="0"/>
              <a:t>have…</a:t>
            </a:r>
            <a:endParaRPr lang="en-GB" dirty="0"/>
          </a:p>
        </p:txBody>
      </p:sp>
      <p:graphicFrame>
        <p:nvGraphicFramePr>
          <p:cNvPr id="9" name="Table 8"/>
          <p:cNvGraphicFramePr>
            <a:graphicFrameLocks noGrp="1"/>
          </p:cNvGraphicFramePr>
          <p:nvPr>
            <p:extLst>
              <p:ext uri="{D42A27DB-BD31-4B8C-83A1-F6EECF244321}">
                <p14:modId xmlns:p14="http://schemas.microsoft.com/office/powerpoint/2010/main" val="3300291220"/>
              </p:ext>
            </p:extLst>
          </p:nvPr>
        </p:nvGraphicFramePr>
        <p:xfrm>
          <a:off x="899592" y="1268760"/>
          <a:ext cx="3105348" cy="5289716"/>
        </p:xfrm>
        <a:graphic>
          <a:graphicData uri="http://schemas.openxmlformats.org/drawingml/2006/table">
            <a:tbl>
              <a:tblPr/>
              <a:tblGrid>
                <a:gridCol w="1811603"/>
                <a:gridCol w="1293745"/>
              </a:tblGrid>
              <a:tr h="182404">
                <a:tc>
                  <a:txBody>
                    <a:bodyPr/>
                    <a:lstStyle/>
                    <a:p>
                      <a:pPr algn="l" fontAlgn="b"/>
                      <a:r>
                        <a:rPr lang="en-GB" sz="1050" b="1" i="0" u="none" strike="noStrike" dirty="0">
                          <a:solidFill>
                            <a:srgbClr val="FFFFFF"/>
                          </a:solidFill>
                          <a:effectLst/>
                          <a:latin typeface="Calibri" panose="020F0502020204030204" pitchFamily="34" charset="0"/>
                        </a:rPr>
                        <a:t>Cookbook Name</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solidFill>
                      <a:srgbClr val="66AA44"/>
                    </a:solidFill>
                  </a:tcPr>
                </a:tc>
                <a:tc>
                  <a:txBody>
                    <a:bodyPr/>
                    <a:lstStyle/>
                    <a:p>
                      <a:pPr algn="l" fontAlgn="b"/>
                      <a:r>
                        <a:rPr lang="en-GB" sz="1050" b="1" i="0" u="none" strike="noStrike" dirty="0">
                          <a:solidFill>
                            <a:srgbClr val="FFFFFF"/>
                          </a:solidFill>
                          <a:effectLst/>
                          <a:latin typeface="Calibri" panose="020F0502020204030204" pitchFamily="34" charset="0"/>
                        </a:rPr>
                        <a:t>Originating Project</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lnTlToBr w="12700" cmpd="sng">
                      <a:noFill/>
                      <a:prstDash val="solid"/>
                    </a:lnTlToBr>
                    <a:lnBlToTr w="12700" cmpd="sng">
                      <a:noFill/>
                      <a:prstDash val="solid"/>
                    </a:lnBlToTr>
                    <a:solidFill>
                      <a:srgbClr val="66AA44"/>
                    </a:solidFill>
                  </a:tcPr>
                </a:tc>
              </a:tr>
              <a:tr h="182404">
                <a:tc>
                  <a:txBody>
                    <a:bodyPr/>
                    <a:lstStyle/>
                    <a:p>
                      <a:pPr algn="l" fontAlgn="b"/>
                      <a:r>
                        <a:rPr lang="en-GB" sz="1050" b="0" i="0" u="none" strike="noStrike">
                          <a:solidFill>
                            <a:srgbClr val="000000"/>
                          </a:solidFill>
                          <a:effectLst/>
                          <a:latin typeface="Calibri" panose="020F0502020204030204" pitchFamily="34" charset="0"/>
                        </a:rPr>
                        <a:t>rabbitmq_ssl</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CP</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2404">
                <a:tc>
                  <a:txBody>
                    <a:bodyPr/>
                    <a:lstStyle/>
                    <a:p>
                      <a:pPr algn="l" fontAlgn="b"/>
                      <a:r>
                        <a:rPr lang="en-GB" sz="1050" b="0" i="0" u="none" strike="noStrike">
                          <a:solidFill>
                            <a:srgbClr val="000000"/>
                          </a:solidFill>
                          <a:effectLst/>
                          <a:latin typeface="Calibri" panose="020F0502020204030204" pitchFamily="34" charset="0"/>
                        </a:rPr>
                        <a:t>rhn                      </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CP</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2404">
                <a:tc>
                  <a:txBody>
                    <a:bodyPr/>
                    <a:lstStyle/>
                    <a:p>
                      <a:pPr algn="l" fontAlgn="b"/>
                      <a:r>
                        <a:rPr lang="en-GB" sz="1050" b="0" i="0" u="none" strike="noStrike">
                          <a:solidFill>
                            <a:srgbClr val="000000"/>
                          </a:solidFill>
                          <a:effectLst/>
                          <a:latin typeface="Calibri" panose="020F0502020204030204" pitchFamily="34" charset="0"/>
                        </a:rPr>
                        <a:t>rsyslog</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CP</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2404">
                <a:tc>
                  <a:txBody>
                    <a:bodyPr/>
                    <a:lstStyle/>
                    <a:p>
                      <a:pPr algn="l" fontAlgn="b"/>
                      <a:r>
                        <a:rPr lang="en-GB" sz="1050" b="0" i="0" u="none" strike="noStrike">
                          <a:solidFill>
                            <a:srgbClr val="000000"/>
                          </a:solidFill>
                          <a:effectLst/>
                          <a:latin typeface="Calibri" panose="020F0502020204030204" pitchFamily="34" charset="0"/>
                        </a:rPr>
                        <a:t>runit</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CP</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2404">
                <a:tc>
                  <a:txBody>
                    <a:bodyPr/>
                    <a:lstStyle/>
                    <a:p>
                      <a:pPr algn="l" fontAlgn="b"/>
                      <a:r>
                        <a:rPr lang="en-GB" sz="1050" b="0" i="0" u="none" strike="noStrike">
                          <a:solidFill>
                            <a:srgbClr val="000000"/>
                          </a:solidFill>
                          <a:effectLst/>
                          <a:latin typeface="Calibri" panose="020F0502020204030204" pitchFamily="34" charset="0"/>
                        </a:rPr>
                        <a:t>symantec-antivirus       </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CP</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2404">
                <a:tc>
                  <a:txBody>
                    <a:bodyPr/>
                    <a:lstStyle/>
                    <a:p>
                      <a:pPr algn="l" fontAlgn="b"/>
                      <a:r>
                        <a:rPr lang="en-GB" sz="1050" b="0" i="0" u="none" strike="noStrike" dirty="0">
                          <a:solidFill>
                            <a:srgbClr val="000000"/>
                          </a:solidFill>
                          <a:effectLst/>
                          <a:latin typeface="Calibri" panose="020F0502020204030204" pitchFamily="34" charset="0"/>
                        </a:rPr>
                        <a:t>tomcat</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CP</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2404">
                <a:tc>
                  <a:txBody>
                    <a:bodyPr/>
                    <a:lstStyle/>
                    <a:p>
                      <a:pPr algn="l" fontAlgn="b"/>
                      <a:r>
                        <a:rPr lang="en-GB" sz="1050" b="0" i="0" u="none" strike="noStrike" dirty="0">
                          <a:solidFill>
                            <a:srgbClr val="000000"/>
                          </a:solidFill>
                          <a:effectLst/>
                          <a:latin typeface="Calibri" panose="020F0502020204030204" pitchFamily="34" charset="0"/>
                        </a:rPr>
                        <a:t>windows                  </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CP</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2404">
                <a:tc>
                  <a:txBody>
                    <a:bodyPr/>
                    <a:lstStyle/>
                    <a:p>
                      <a:pPr algn="l" fontAlgn="b"/>
                      <a:r>
                        <a:rPr lang="en-GB" sz="1050" b="0" i="0" u="none" strike="noStrike" dirty="0">
                          <a:solidFill>
                            <a:srgbClr val="000000"/>
                          </a:solidFill>
                          <a:effectLst/>
                          <a:latin typeface="Calibri" panose="020F0502020204030204" pitchFamily="34" charset="0"/>
                        </a:rPr>
                        <a:t>windows-reaper-test</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CP</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2404">
                <a:tc>
                  <a:txBody>
                    <a:bodyPr/>
                    <a:lstStyle/>
                    <a:p>
                      <a:pPr algn="l" fontAlgn="b"/>
                      <a:r>
                        <a:rPr lang="en-GB" sz="1050" b="0" i="0" u="none" strike="noStrike" dirty="0" err="1">
                          <a:solidFill>
                            <a:srgbClr val="000000"/>
                          </a:solidFill>
                          <a:effectLst/>
                          <a:latin typeface="Calibri" panose="020F0502020204030204" pitchFamily="34" charset="0"/>
                        </a:rPr>
                        <a:t>wsus</a:t>
                      </a:r>
                      <a:r>
                        <a:rPr lang="en-GB" sz="1050" b="0" i="0" u="none" strike="noStrike" dirty="0">
                          <a:solidFill>
                            <a:srgbClr val="000000"/>
                          </a:solidFill>
                          <a:effectLst/>
                          <a:latin typeface="Calibri" panose="020F0502020204030204" pitchFamily="34" charset="0"/>
                        </a:rPr>
                        <a:t>                     </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CP</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2404">
                <a:tc>
                  <a:txBody>
                    <a:bodyPr/>
                    <a:lstStyle/>
                    <a:p>
                      <a:pPr algn="l" fontAlgn="b"/>
                      <a:r>
                        <a:rPr lang="en-GB" sz="1050" b="0" i="0" u="none" strike="noStrike">
                          <a:solidFill>
                            <a:srgbClr val="000000"/>
                          </a:solidFill>
                          <a:effectLst/>
                          <a:latin typeface="Calibri" panose="020F0502020204030204" pitchFamily="34" charset="0"/>
                        </a:rPr>
                        <a:t>xfs</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CP</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2404">
                <a:tc>
                  <a:txBody>
                    <a:bodyPr/>
                    <a:lstStyle/>
                    <a:p>
                      <a:pPr algn="l" fontAlgn="b"/>
                      <a:r>
                        <a:rPr lang="en-GB" sz="1050" b="0" i="0" u="none" strike="noStrike">
                          <a:solidFill>
                            <a:srgbClr val="000000"/>
                          </a:solidFill>
                          <a:effectLst/>
                          <a:latin typeface="Calibri" panose="020F0502020204030204" pitchFamily="34" charset="0"/>
                        </a:rPr>
                        <a:t>yum                      </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dirty="0">
                          <a:solidFill>
                            <a:srgbClr val="000000"/>
                          </a:solidFill>
                          <a:effectLst/>
                          <a:latin typeface="Calibri" panose="020F0502020204030204" pitchFamily="34" charset="0"/>
                        </a:rPr>
                        <a:t>ACP</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2404">
                <a:tc>
                  <a:txBody>
                    <a:bodyPr/>
                    <a:lstStyle/>
                    <a:p>
                      <a:pPr algn="l" fontAlgn="b"/>
                      <a:r>
                        <a:rPr lang="en-GB" sz="1050" b="0" i="0" u="none" strike="noStrike">
                          <a:solidFill>
                            <a:srgbClr val="000000"/>
                          </a:solidFill>
                          <a:effectLst/>
                          <a:latin typeface="Calibri" panose="020F0502020204030204" pitchFamily="34" charset="0"/>
                        </a:rPr>
                        <a:t>yum-epel</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CP</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2404">
                <a:tc>
                  <a:txBody>
                    <a:bodyPr/>
                    <a:lstStyle/>
                    <a:p>
                      <a:pPr algn="l" fontAlgn="b"/>
                      <a:r>
                        <a:rPr lang="en-GB" sz="1050" b="0" i="0" u="none" strike="noStrike">
                          <a:solidFill>
                            <a:srgbClr val="000000"/>
                          </a:solidFill>
                          <a:effectLst/>
                          <a:latin typeface="Calibri" panose="020F0502020204030204" pitchFamily="34" charset="0"/>
                        </a:rPr>
                        <a:t>yum-erlang_solutions</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CP</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2404">
                <a:tc>
                  <a:txBody>
                    <a:bodyPr/>
                    <a:lstStyle/>
                    <a:p>
                      <a:pPr algn="l" fontAlgn="b"/>
                      <a:r>
                        <a:rPr lang="en-GB" sz="1050" b="0" i="0" u="none" strike="noStrike">
                          <a:solidFill>
                            <a:srgbClr val="000000"/>
                          </a:solidFill>
                          <a:effectLst/>
                          <a:latin typeface="Calibri" panose="020F0502020204030204" pitchFamily="34" charset="0"/>
                        </a:rPr>
                        <a:t>zenoss-monitoring        </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CP</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2404">
                <a:tc>
                  <a:txBody>
                    <a:bodyPr/>
                    <a:lstStyle/>
                    <a:p>
                      <a:pPr algn="l" fontAlgn="b"/>
                      <a:r>
                        <a:rPr lang="en-GB" sz="1050" b="0" i="0" u="none" strike="noStrike">
                          <a:solidFill>
                            <a:srgbClr val="000000"/>
                          </a:solidFill>
                          <a:effectLst/>
                          <a:latin typeface="Calibri" panose="020F0502020204030204" pitchFamily="34" charset="0"/>
                        </a:rPr>
                        <a:t>7-zip</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2404">
                <a:tc>
                  <a:txBody>
                    <a:bodyPr/>
                    <a:lstStyle/>
                    <a:p>
                      <a:pPr algn="l" fontAlgn="b"/>
                      <a:r>
                        <a:rPr lang="en-GB" sz="1050" b="0" i="0" u="none" strike="noStrike">
                          <a:solidFill>
                            <a:srgbClr val="000000"/>
                          </a:solidFill>
                          <a:effectLst/>
                          <a:latin typeface="Calibri" panose="020F0502020204030204" pitchFamily="34" charset="0"/>
                        </a:rPr>
                        <a:t>ant</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2404">
                <a:tc>
                  <a:txBody>
                    <a:bodyPr/>
                    <a:lstStyle/>
                    <a:p>
                      <a:pPr algn="l" fontAlgn="b"/>
                      <a:r>
                        <a:rPr lang="en-GB" sz="1050" b="0" i="0" u="none" strike="noStrike">
                          <a:solidFill>
                            <a:srgbClr val="000000"/>
                          </a:solidFill>
                          <a:effectLst/>
                          <a:latin typeface="Calibri" panose="020F0502020204030204" pitchFamily="34" charset="0"/>
                        </a:rPr>
                        <a:t>apache2</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2404">
                <a:tc>
                  <a:txBody>
                    <a:bodyPr/>
                    <a:lstStyle/>
                    <a:p>
                      <a:pPr algn="l" fontAlgn="b"/>
                      <a:r>
                        <a:rPr lang="en-GB" sz="1050" b="0" i="0" u="none" strike="noStrike">
                          <a:solidFill>
                            <a:srgbClr val="000000"/>
                          </a:solidFill>
                          <a:effectLst/>
                          <a:latin typeface="Calibri" panose="020F0502020204030204" pitchFamily="34" charset="0"/>
                        </a:rPr>
                        <a:t>apt</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dirty="0">
                          <a:solidFill>
                            <a:srgbClr val="000000"/>
                          </a:solidFill>
                          <a:effectLst/>
                          <a:latin typeface="Calibri" panose="020F0502020204030204" pitchFamily="34" charset="0"/>
                        </a:rPr>
                        <a:t>Monsoon</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2404">
                <a:tc>
                  <a:txBody>
                    <a:bodyPr/>
                    <a:lstStyle/>
                    <a:p>
                      <a:pPr algn="l" fontAlgn="b"/>
                      <a:r>
                        <a:rPr lang="en-GB" sz="1050" b="0" i="0" u="none" strike="noStrike">
                          <a:solidFill>
                            <a:srgbClr val="000000"/>
                          </a:solidFill>
                          <a:effectLst/>
                          <a:latin typeface="Calibri" panose="020F0502020204030204" pitchFamily="34" charset="0"/>
                        </a:rPr>
                        <a:t>ark</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2404">
                <a:tc>
                  <a:txBody>
                    <a:bodyPr/>
                    <a:lstStyle/>
                    <a:p>
                      <a:pPr algn="l" fontAlgn="b"/>
                      <a:r>
                        <a:rPr lang="en-GB" sz="1050" b="0" i="0" u="none" strike="noStrike" dirty="0" err="1">
                          <a:solidFill>
                            <a:srgbClr val="000000"/>
                          </a:solidFill>
                          <a:effectLst/>
                          <a:latin typeface="Calibri" panose="020F0502020204030204" pitchFamily="34" charset="0"/>
                        </a:rPr>
                        <a:t>artifact</a:t>
                      </a:r>
                      <a:endParaRPr lang="en-GB" sz="1050" b="0" i="0" u="none" strike="noStrike" dirty="0">
                        <a:solidFill>
                          <a:srgbClr val="000000"/>
                        </a:solidFill>
                        <a:effectLst/>
                        <a:latin typeface="Calibri" panose="020F0502020204030204" pitchFamily="34" charset="0"/>
                      </a:endParaRP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2404">
                <a:tc>
                  <a:txBody>
                    <a:bodyPr/>
                    <a:lstStyle/>
                    <a:p>
                      <a:pPr algn="l" fontAlgn="b"/>
                      <a:r>
                        <a:rPr lang="en-GB" sz="1050" b="0" i="0" u="none" strike="noStrike">
                          <a:solidFill>
                            <a:srgbClr val="000000"/>
                          </a:solidFill>
                          <a:effectLst/>
                          <a:latin typeface="Calibri" panose="020F0502020204030204" pitchFamily="34" charset="0"/>
                        </a:rPr>
                        <a:t>aws</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2404">
                <a:tc>
                  <a:txBody>
                    <a:bodyPr/>
                    <a:lstStyle/>
                    <a:p>
                      <a:pPr algn="l" fontAlgn="b"/>
                      <a:r>
                        <a:rPr lang="en-GB" sz="1050" b="0" i="0" u="none" strike="noStrike">
                          <a:solidFill>
                            <a:srgbClr val="000000"/>
                          </a:solidFill>
                          <a:effectLst/>
                          <a:latin typeface="Calibri" panose="020F0502020204030204" pitchFamily="34" charset="0"/>
                        </a:rPr>
                        <a:t>bluepill</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2404">
                <a:tc>
                  <a:txBody>
                    <a:bodyPr/>
                    <a:lstStyle/>
                    <a:p>
                      <a:pPr algn="l" fontAlgn="b"/>
                      <a:r>
                        <a:rPr lang="en-GB" sz="1050" b="0" i="0" u="none" strike="noStrike">
                          <a:solidFill>
                            <a:srgbClr val="000000"/>
                          </a:solidFill>
                          <a:effectLst/>
                          <a:latin typeface="Calibri" panose="020F0502020204030204" pitchFamily="34" charset="0"/>
                        </a:rPr>
                        <a:t>build-essential</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2404">
                <a:tc>
                  <a:txBody>
                    <a:bodyPr/>
                    <a:lstStyle/>
                    <a:p>
                      <a:pPr algn="l" fontAlgn="b"/>
                      <a:r>
                        <a:rPr lang="en-GB" sz="1050" b="0" i="0" u="none" strike="noStrike">
                          <a:solidFill>
                            <a:srgbClr val="000000"/>
                          </a:solidFill>
                          <a:effectLst/>
                          <a:latin typeface="Calibri" panose="020F0502020204030204" pitchFamily="34" charset="0"/>
                        </a:rPr>
                        <a:t>chef-client</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2404">
                <a:tc>
                  <a:txBody>
                    <a:bodyPr/>
                    <a:lstStyle/>
                    <a:p>
                      <a:pPr algn="l" fontAlgn="b"/>
                      <a:r>
                        <a:rPr lang="en-GB" sz="1050" b="0" i="0" u="none" strike="noStrike">
                          <a:solidFill>
                            <a:srgbClr val="000000"/>
                          </a:solidFill>
                          <a:effectLst/>
                          <a:latin typeface="Calibri" panose="020F0502020204030204" pitchFamily="34" charset="0"/>
                        </a:rPr>
                        <a:t>chef_handler</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2404">
                <a:tc>
                  <a:txBody>
                    <a:bodyPr/>
                    <a:lstStyle/>
                    <a:p>
                      <a:pPr algn="l" fontAlgn="b"/>
                      <a:r>
                        <a:rPr lang="en-GB" sz="1050" b="0" i="0" u="none" strike="noStrike">
                          <a:solidFill>
                            <a:srgbClr val="000000"/>
                          </a:solidFill>
                          <a:effectLst/>
                          <a:latin typeface="Calibri" panose="020F0502020204030204" pitchFamily="34" charset="0"/>
                        </a:rPr>
                        <a:t>cron</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2404">
                <a:tc>
                  <a:txBody>
                    <a:bodyPr/>
                    <a:lstStyle/>
                    <a:p>
                      <a:pPr algn="l" fontAlgn="b"/>
                      <a:r>
                        <a:rPr lang="en-GB" sz="1050" b="0" i="0" u="none" strike="noStrike">
                          <a:solidFill>
                            <a:srgbClr val="000000"/>
                          </a:solidFill>
                          <a:effectLst/>
                          <a:latin typeface="Calibri" panose="020F0502020204030204" pitchFamily="34" charset="0"/>
                        </a:rPr>
                        <a:t>database</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2404">
                <a:tc>
                  <a:txBody>
                    <a:bodyPr/>
                    <a:lstStyle/>
                    <a:p>
                      <a:pPr algn="l" fontAlgn="b"/>
                      <a:r>
                        <a:rPr lang="en-GB" sz="1050" b="0" i="0" u="none" strike="noStrike">
                          <a:solidFill>
                            <a:srgbClr val="000000"/>
                          </a:solidFill>
                          <a:effectLst/>
                          <a:latin typeface="Calibri" panose="020F0502020204030204" pitchFamily="34" charset="0"/>
                        </a:rPr>
                        <a:t>dmg</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dirty="0">
                          <a:solidFill>
                            <a:srgbClr val="000000"/>
                          </a:solidFill>
                          <a:effectLst/>
                          <a:latin typeface="Calibri" panose="020F0502020204030204" pitchFamily="34" charset="0"/>
                        </a:rPr>
                        <a:t>Monsoon</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bl>
          </a:graphicData>
        </a:graphic>
      </p:graphicFrame>
      <p:graphicFrame>
        <p:nvGraphicFramePr>
          <p:cNvPr id="11" name="Table 10"/>
          <p:cNvGraphicFramePr>
            <a:graphicFrameLocks noGrp="1"/>
          </p:cNvGraphicFramePr>
          <p:nvPr>
            <p:extLst>
              <p:ext uri="{D42A27DB-BD31-4B8C-83A1-F6EECF244321}">
                <p14:modId xmlns:p14="http://schemas.microsoft.com/office/powerpoint/2010/main" val="3970700328"/>
              </p:ext>
            </p:extLst>
          </p:nvPr>
        </p:nvGraphicFramePr>
        <p:xfrm>
          <a:off x="4932040" y="1268760"/>
          <a:ext cx="3096344" cy="5298660"/>
        </p:xfrm>
        <a:graphic>
          <a:graphicData uri="http://schemas.openxmlformats.org/drawingml/2006/table">
            <a:tbl>
              <a:tblPr/>
              <a:tblGrid>
                <a:gridCol w="1913188"/>
                <a:gridCol w="1183156"/>
              </a:tblGrid>
              <a:tr h="98995">
                <a:tc>
                  <a:txBody>
                    <a:bodyPr/>
                    <a:lstStyle/>
                    <a:p>
                      <a:pPr algn="l" fontAlgn="b"/>
                      <a:r>
                        <a:rPr lang="en-GB" sz="1050" b="1" i="0" u="none" strike="noStrike" dirty="0">
                          <a:solidFill>
                            <a:srgbClr val="FFFFFF"/>
                          </a:solidFill>
                          <a:effectLst/>
                          <a:latin typeface="Calibri" panose="020F0502020204030204" pitchFamily="34" charset="0"/>
                        </a:rPr>
                        <a:t>Cookbook Name</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solidFill>
                      <a:srgbClr val="66AA44"/>
                    </a:solidFill>
                  </a:tcPr>
                </a:tc>
                <a:tc>
                  <a:txBody>
                    <a:bodyPr/>
                    <a:lstStyle/>
                    <a:p>
                      <a:pPr algn="l" fontAlgn="b"/>
                      <a:r>
                        <a:rPr lang="en-GB" sz="1050" b="1" i="0" u="none" strike="noStrike" dirty="0">
                          <a:solidFill>
                            <a:srgbClr val="FFFFFF"/>
                          </a:solidFill>
                          <a:effectLst/>
                          <a:latin typeface="Calibri" panose="020F0502020204030204" pitchFamily="34" charset="0"/>
                        </a:rPr>
                        <a:t>Originating Project</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solidFill>
                      <a:srgbClr val="66AA44"/>
                    </a:solidFill>
                  </a:tcPr>
                </a:tc>
              </a:tr>
              <a:tr h="171003">
                <a:tc>
                  <a:txBody>
                    <a:bodyPr/>
                    <a:lstStyle/>
                    <a:p>
                      <a:pPr algn="l" fontAlgn="b"/>
                      <a:r>
                        <a:rPr lang="en-GB" sz="1050" b="0" i="0" u="none" strike="noStrike">
                          <a:solidFill>
                            <a:srgbClr val="000000"/>
                          </a:solidFill>
                          <a:effectLst/>
                          <a:latin typeface="Calibri" panose="020F0502020204030204" pitchFamily="34" charset="0"/>
                        </a:rPr>
                        <a:t>git</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71003">
                <a:tc>
                  <a:txBody>
                    <a:bodyPr/>
                    <a:lstStyle/>
                    <a:p>
                      <a:pPr algn="l" fontAlgn="b"/>
                      <a:r>
                        <a:rPr lang="en-GB" sz="1050" b="0" i="0" u="none" strike="noStrike">
                          <a:solidFill>
                            <a:srgbClr val="000000"/>
                          </a:solidFill>
                          <a:effectLst/>
                          <a:latin typeface="Calibri" panose="020F0502020204030204" pitchFamily="34" charset="0"/>
                        </a:rPr>
                        <a:t>hostsfile</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71003">
                <a:tc>
                  <a:txBody>
                    <a:bodyPr/>
                    <a:lstStyle/>
                    <a:p>
                      <a:pPr algn="l" fontAlgn="b"/>
                      <a:r>
                        <a:rPr lang="en-GB" sz="1050" b="0" i="0" u="none" strike="noStrike">
                          <a:solidFill>
                            <a:srgbClr val="000000"/>
                          </a:solidFill>
                          <a:effectLst/>
                          <a:latin typeface="Calibri" panose="020F0502020204030204" pitchFamily="34" charset="0"/>
                        </a:rPr>
                        <a:t>iptables</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71003">
                <a:tc>
                  <a:txBody>
                    <a:bodyPr/>
                    <a:lstStyle/>
                    <a:p>
                      <a:pPr algn="l" fontAlgn="b"/>
                      <a:r>
                        <a:rPr lang="en-GB" sz="1050" b="0" i="0" u="none" strike="noStrike">
                          <a:solidFill>
                            <a:srgbClr val="000000"/>
                          </a:solidFill>
                          <a:effectLst/>
                          <a:latin typeface="Calibri" panose="020F0502020204030204" pitchFamily="34" charset="0"/>
                        </a:rPr>
                        <a:t>java</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71003">
                <a:tc>
                  <a:txBody>
                    <a:bodyPr/>
                    <a:lstStyle/>
                    <a:p>
                      <a:pPr algn="l" fontAlgn="b"/>
                      <a:r>
                        <a:rPr lang="en-GB" sz="1050" b="0" i="0" u="none" strike="noStrike" dirty="0" err="1">
                          <a:solidFill>
                            <a:srgbClr val="000000"/>
                          </a:solidFill>
                          <a:effectLst/>
                          <a:latin typeface="Calibri" panose="020F0502020204030204" pitchFamily="34" charset="0"/>
                        </a:rPr>
                        <a:t>jenkins</a:t>
                      </a:r>
                      <a:endParaRPr lang="en-GB" sz="1050" b="0" i="0" u="none" strike="noStrike" dirty="0">
                        <a:solidFill>
                          <a:srgbClr val="000000"/>
                        </a:solidFill>
                        <a:effectLst/>
                        <a:latin typeface="Calibri" panose="020F0502020204030204" pitchFamily="34" charset="0"/>
                      </a:endParaRP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71003">
                <a:tc>
                  <a:txBody>
                    <a:bodyPr/>
                    <a:lstStyle/>
                    <a:p>
                      <a:pPr algn="l" fontAlgn="b"/>
                      <a:r>
                        <a:rPr lang="en-GB" sz="1050" b="0" i="0" u="none" strike="noStrike">
                          <a:solidFill>
                            <a:srgbClr val="000000"/>
                          </a:solidFill>
                          <a:effectLst/>
                          <a:latin typeface="Calibri" panose="020F0502020204030204" pitchFamily="34" charset="0"/>
                        </a:rPr>
                        <a:t>logrotate</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71003">
                <a:tc>
                  <a:txBody>
                    <a:bodyPr/>
                    <a:lstStyle/>
                    <a:p>
                      <a:pPr algn="l" fontAlgn="b"/>
                      <a:r>
                        <a:rPr lang="en-GB" sz="1050" b="0" i="0" u="none" strike="noStrike">
                          <a:solidFill>
                            <a:srgbClr val="000000"/>
                          </a:solidFill>
                          <a:effectLst/>
                          <a:latin typeface="Calibri" panose="020F0502020204030204" pitchFamily="34" charset="0"/>
                        </a:rPr>
                        <a:t>maven</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71003">
                <a:tc>
                  <a:txBody>
                    <a:bodyPr/>
                    <a:lstStyle/>
                    <a:p>
                      <a:pPr algn="l" fontAlgn="b"/>
                      <a:r>
                        <a:rPr lang="en-GB" sz="1050" b="0" i="0" u="none" strike="noStrike">
                          <a:solidFill>
                            <a:srgbClr val="000000"/>
                          </a:solidFill>
                          <a:effectLst/>
                          <a:latin typeface="Calibri" panose="020F0502020204030204" pitchFamily="34" charset="0"/>
                        </a:rPr>
                        <a:t>mediawiki</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71003">
                <a:tc>
                  <a:txBody>
                    <a:bodyPr/>
                    <a:lstStyle/>
                    <a:p>
                      <a:pPr algn="l" fontAlgn="b"/>
                      <a:r>
                        <a:rPr lang="en-GB" sz="1050" b="0" i="0" u="none" strike="noStrike">
                          <a:solidFill>
                            <a:srgbClr val="000000"/>
                          </a:solidFill>
                          <a:effectLst/>
                          <a:latin typeface="Calibri" panose="020F0502020204030204" pitchFamily="34" charset="0"/>
                        </a:rPr>
                        <a:t>minitest-handler</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71003">
                <a:tc>
                  <a:txBody>
                    <a:bodyPr/>
                    <a:lstStyle/>
                    <a:p>
                      <a:pPr algn="l" fontAlgn="b"/>
                      <a:r>
                        <a:rPr lang="en-GB" sz="1050" b="0" i="0" u="none" strike="noStrike">
                          <a:solidFill>
                            <a:srgbClr val="000000"/>
                          </a:solidFill>
                          <a:effectLst/>
                          <a:latin typeface="Calibri" panose="020F0502020204030204" pitchFamily="34" charset="0"/>
                        </a:rPr>
                        <a:t>monsoon_alpj_template</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71003">
                <a:tc>
                  <a:txBody>
                    <a:bodyPr/>
                    <a:lstStyle/>
                    <a:p>
                      <a:pPr algn="l" fontAlgn="b"/>
                      <a:r>
                        <a:rPr lang="en-GB" sz="1050" b="0" i="0" u="none" strike="noStrike">
                          <a:solidFill>
                            <a:srgbClr val="000000"/>
                          </a:solidFill>
                          <a:effectLst/>
                          <a:latin typeface="Calibri" panose="020F0502020204030204" pitchFamily="34" charset="0"/>
                        </a:rPr>
                        <a:t>monsoon_aowp_template</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71003">
                <a:tc>
                  <a:txBody>
                    <a:bodyPr/>
                    <a:lstStyle/>
                    <a:p>
                      <a:pPr algn="l" fontAlgn="b"/>
                      <a:r>
                        <a:rPr lang="en-GB" sz="1050" b="0" i="0" u="none" strike="noStrike">
                          <a:solidFill>
                            <a:srgbClr val="000000"/>
                          </a:solidFill>
                          <a:effectLst/>
                          <a:latin typeface="Calibri" panose="020F0502020204030204" pitchFamily="34" charset="0"/>
                        </a:rPr>
                        <a:t>monsoon_framework_libraries</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71003">
                <a:tc>
                  <a:txBody>
                    <a:bodyPr/>
                    <a:lstStyle/>
                    <a:p>
                      <a:pPr algn="l" fontAlgn="b"/>
                      <a:r>
                        <a:rPr lang="en-GB" sz="1050" b="0" i="0" u="none" strike="noStrike">
                          <a:solidFill>
                            <a:srgbClr val="000000"/>
                          </a:solidFill>
                          <a:effectLst/>
                          <a:latin typeface="Calibri" panose="020F0502020204030204" pitchFamily="34" charset="0"/>
                        </a:rPr>
                        <a:t>monsoon_gerrit</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71003">
                <a:tc>
                  <a:txBody>
                    <a:bodyPr/>
                    <a:lstStyle/>
                    <a:p>
                      <a:pPr algn="l" fontAlgn="b"/>
                      <a:r>
                        <a:rPr lang="en-GB" sz="1050" b="0" i="0" u="none" strike="noStrike">
                          <a:solidFill>
                            <a:srgbClr val="000000"/>
                          </a:solidFill>
                          <a:effectLst/>
                          <a:latin typeface="Calibri" panose="020F0502020204030204" pitchFamily="34" charset="0"/>
                        </a:rPr>
                        <a:t>monsoon_git</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71003">
                <a:tc>
                  <a:txBody>
                    <a:bodyPr/>
                    <a:lstStyle/>
                    <a:p>
                      <a:pPr algn="l" fontAlgn="b"/>
                      <a:r>
                        <a:rPr lang="en-GB" sz="1050" b="0" i="0" u="none" strike="noStrike">
                          <a:solidFill>
                            <a:srgbClr val="000000"/>
                          </a:solidFill>
                          <a:effectLst/>
                          <a:latin typeface="Calibri" panose="020F0502020204030204" pitchFamily="34" charset="0"/>
                        </a:rPr>
                        <a:t>monsoon_java</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71003">
                <a:tc>
                  <a:txBody>
                    <a:bodyPr/>
                    <a:lstStyle/>
                    <a:p>
                      <a:pPr algn="l" fontAlgn="b"/>
                      <a:r>
                        <a:rPr lang="en-GB" sz="1050" b="0" i="0" u="none" strike="noStrike">
                          <a:solidFill>
                            <a:srgbClr val="000000"/>
                          </a:solidFill>
                          <a:effectLst/>
                          <a:latin typeface="Calibri" panose="020F0502020204030204" pitchFamily="34" charset="0"/>
                        </a:rPr>
                        <a:t>monsoon_jenkins</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71003">
                <a:tc>
                  <a:txBody>
                    <a:bodyPr/>
                    <a:lstStyle/>
                    <a:p>
                      <a:pPr algn="l" fontAlgn="b"/>
                      <a:r>
                        <a:rPr lang="en-GB" sz="1050" b="0" i="0" u="none" strike="noStrike">
                          <a:solidFill>
                            <a:srgbClr val="000000"/>
                          </a:solidFill>
                          <a:effectLst/>
                          <a:latin typeface="Calibri" panose="020F0502020204030204" pitchFamily="34" charset="0"/>
                        </a:rPr>
                        <a:t>monsoon_maven</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71003">
                <a:tc>
                  <a:txBody>
                    <a:bodyPr/>
                    <a:lstStyle/>
                    <a:p>
                      <a:pPr algn="l" fontAlgn="b"/>
                      <a:r>
                        <a:rPr lang="en-GB" sz="1050" b="0" i="0" u="none" strike="noStrike">
                          <a:solidFill>
                            <a:srgbClr val="000000"/>
                          </a:solidFill>
                          <a:effectLst/>
                          <a:latin typeface="Calibri" panose="020F0502020204030204" pitchFamily="34" charset="0"/>
                        </a:rPr>
                        <a:t>monsoon_mediawiki</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71003">
                <a:tc>
                  <a:txBody>
                    <a:bodyPr/>
                    <a:lstStyle/>
                    <a:p>
                      <a:pPr algn="l" fontAlgn="b"/>
                      <a:r>
                        <a:rPr lang="en-GB" sz="1050" b="0" i="0" u="none" strike="noStrike">
                          <a:solidFill>
                            <a:srgbClr val="000000"/>
                          </a:solidFill>
                          <a:effectLst/>
                          <a:latin typeface="Calibri" panose="020F0502020204030204" pitchFamily="34" charset="0"/>
                        </a:rPr>
                        <a:t>monsoon_mysql</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71003">
                <a:tc>
                  <a:txBody>
                    <a:bodyPr/>
                    <a:lstStyle/>
                    <a:p>
                      <a:pPr algn="l" fontAlgn="b"/>
                      <a:r>
                        <a:rPr lang="en-GB" sz="1050" b="0" i="0" u="none" strike="noStrike">
                          <a:solidFill>
                            <a:srgbClr val="000000"/>
                          </a:solidFill>
                          <a:effectLst/>
                          <a:latin typeface="Calibri" panose="020F0502020204030204" pitchFamily="34" charset="0"/>
                        </a:rPr>
                        <a:t>monsoon_nexus</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71003">
                <a:tc>
                  <a:txBody>
                    <a:bodyPr/>
                    <a:lstStyle/>
                    <a:p>
                      <a:pPr algn="l" fontAlgn="b"/>
                      <a:r>
                        <a:rPr lang="en-GB" sz="1050" b="0" i="0" u="none" strike="noStrike">
                          <a:solidFill>
                            <a:srgbClr val="000000"/>
                          </a:solidFill>
                          <a:effectLst/>
                          <a:latin typeface="Calibri" panose="020F0502020204030204" pitchFamily="34" charset="0"/>
                        </a:rPr>
                        <a:t>monsoon_npm</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71003">
                <a:tc>
                  <a:txBody>
                    <a:bodyPr/>
                    <a:lstStyle/>
                    <a:p>
                      <a:pPr algn="l" fontAlgn="b"/>
                      <a:r>
                        <a:rPr lang="en-GB" sz="1050" b="0" i="0" u="none" strike="noStrike">
                          <a:solidFill>
                            <a:srgbClr val="000000"/>
                          </a:solidFill>
                          <a:effectLst/>
                          <a:latin typeface="Calibri" panose="020F0502020204030204" pitchFamily="34" charset="0"/>
                        </a:rPr>
                        <a:t>monsoon_phabricator</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71003">
                <a:tc>
                  <a:txBody>
                    <a:bodyPr/>
                    <a:lstStyle/>
                    <a:p>
                      <a:pPr algn="l" fontAlgn="b"/>
                      <a:r>
                        <a:rPr lang="en-GB" sz="1050" b="0" i="0" u="none" strike="noStrike">
                          <a:solidFill>
                            <a:srgbClr val="000000"/>
                          </a:solidFill>
                          <a:effectLst/>
                          <a:latin typeface="Calibri" panose="020F0502020204030204" pitchFamily="34" charset="0"/>
                        </a:rPr>
                        <a:t>monsoon_sfdc_template</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71003">
                <a:tc>
                  <a:txBody>
                    <a:bodyPr/>
                    <a:lstStyle/>
                    <a:p>
                      <a:pPr algn="l" fontAlgn="b"/>
                      <a:r>
                        <a:rPr lang="en-GB" sz="1050" b="0" i="0" u="none" strike="noStrike">
                          <a:solidFill>
                            <a:srgbClr val="000000"/>
                          </a:solidFill>
                          <a:effectLst/>
                          <a:latin typeface="Calibri" panose="020F0502020204030204" pitchFamily="34" charset="0"/>
                        </a:rPr>
                        <a:t>monsoon_sonar</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71003">
                <a:tc>
                  <a:txBody>
                    <a:bodyPr/>
                    <a:lstStyle/>
                    <a:p>
                      <a:pPr algn="l" fontAlgn="b"/>
                      <a:r>
                        <a:rPr lang="en-GB" sz="1050" b="0" i="0" u="none" strike="noStrike">
                          <a:solidFill>
                            <a:srgbClr val="000000"/>
                          </a:solidFill>
                          <a:effectLst/>
                          <a:latin typeface="Calibri" panose="020F0502020204030204" pitchFamily="34" charset="0"/>
                        </a:rPr>
                        <a:t>ms_dotnet4</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71003">
                <a:tc>
                  <a:txBody>
                    <a:bodyPr/>
                    <a:lstStyle/>
                    <a:p>
                      <a:pPr algn="l" fontAlgn="b"/>
                      <a:r>
                        <a:rPr lang="en-GB" sz="1050" b="0" i="0" u="none" strike="noStrike">
                          <a:solidFill>
                            <a:srgbClr val="000000"/>
                          </a:solidFill>
                          <a:effectLst/>
                          <a:latin typeface="Calibri" panose="020F0502020204030204" pitchFamily="34" charset="0"/>
                        </a:rPr>
                        <a:t>mysql</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71003">
                <a:tc>
                  <a:txBody>
                    <a:bodyPr/>
                    <a:lstStyle/>
                    <a:p>
                      <a:pPr algn="l" fontAlgn="b"/>
                      <a:r>
                        <a:rPr lang="en-GB" sz="1050" b="0" i="0" u="none" strike="noStrike">
                          <a:solidFill>
                            <a:srgbClr val="000000"/>
                          </a:solidFill>
                          <a:effectLst/>
                          <a:latin typeface="Calibri" panose="020F0502020204030204" pitchFamily="34" charset="0"/>
                        </a:rPr>
                        <a:t>nexus</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71003">
                <a:tc>
                  <a:txBody>
                    <a:bodyPr/>
                    <a:lstStyle/>
                    <a:p>
                      <a:pPr algn="l" fontAlgn="b"/>
                      <a:r>
                        <a:rPr lang="en-GB" sz="1050" b="0" i="0" u="none" strike="noStrike">
                          <a:solidFill>
                            <a:srgbClr val="000000"/>
                          </a:solidFill>
                          <a:effectLst/>
                          <a:latin typeface="Calibri" panose="020F0502020204030204" pitchFamily="34" charset="0"/>
                        </a:rPr>
                        <a:t>nginx</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71003">
                <a:tc>
                  <a:txBody>
                    <a:bodyPr/>
                    <a:lstStyle/>
                    <a:p>
                      <a:pPr algn="l" fontAlgn="b"/>
                      <a:r>
                        <a:rPr lang="en-GB" sz="1050" b="0" i="0" u="none" strike="noStrike">
                          <a:solidFill>
                            <a:srgbClr val="000000"/>
                          </a:solidFill>
                          <a:effectLst/>
                          <a:latin typeface="Calibri" panose="020F0502020204030204" pitchFamily="34" charset="0"/>
                        </a:rPr>
                        <a:t>npm</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71003">
                <a:tc>
                  <a:txBody>
                    <a:bodyPr/>
                    <a:lstStyle/>
                    <a:p>
                      <a:pPr algn="l" fontAlgn="b"/>
                      <a:r>
                        <a:rPr lang="en-GB" sz="1050" b="0" i="0" u="none" strike="noStrike">
                          <a:solidFill>
                            <a:srgbClr val="000000"/>
                          </a:solidFill>
                          <a:effectLst/>
                          <a:latin typeface="Calibri" panose="020F0502020204030204" pitchFamily="34" charset="0"/>
                        </a:rPr>
                        <a:t>ohai</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dirty="0">
                          <a:solidFill>
                            <a:srgbClr val="000000"/>
                          </a:solidFill>
                          <a:effectLst/>
                          <a:latin typeface="Calibri" panose="020F0502020204030204" pitchFamily="34" charset="0"/>
                        </a:rPr>
                        <a:t>Monsoon</a:t>
                      </a:r>
                    </a:p>
                  </a:txBody>
                  <a:tcPr marL="8550" marR="8550" marT="855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71995886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t>What assets </a:t>
            </a:r>
            <a:r>
              <a:rPr lang="en-GB" dirty="0" smtClean="0">
                <a:solidFill>
                  <a:srgbClr val="66AA44"/>
                </a:solidFill>
              </a:rPr>
              <a:t>do we already </a:t>
            </a:r>
            <a:r>
              <a:rPr lang="en-GB" dirty="0" smtClean="0"/>
              <a:t>have…</a:t>
            </a:r>
            <a:endParaRPr lang="en-GB" dirty="0"/>
          </a:p>
        </p:txBody>
      </p:sp>
      <p:graphicFrame>
        <p:nvGraphicFramePr>
          <p:cNvPr id="10" name="Table 9"/>
          <p:cNvGraphicFramePr>
            <a:graphicFrameLocks noGrp="1"/>
          </p:cNvGraphicFramePr>
          <p:nvPr>
            <p:extLst>
              <p:ext uri="{D42A27DB-BD31-4B8C-83A1-F6EECF244321}">
                <p14:modId xmlns:p14="http://schemas.microsoft.com/office/powerpoint/2010/main" val="1351753106"/>
              </p:ext>
            </p:extLst>
          </p:nvPr>
        </p:nvGraphicFramePr>
        <p:xfrm>
          <a:off x="915973" y="1268760"/>
          <a:ext cx="3088967" cy="5385952"/>
        </p:xfrm>
        <a:graphic>
          <a:graphicData uri="http://schemas.openxmlformats.org/drawingml/2006/table">
            <a:tbl>
              <a:tblPr/>
              <a:tblGrid>
                <a:gridCol w="1908630"/>
                <a:gridCol w="1180337"/>
              </a:tblGrid>
              <a:tr h="0">
                <a:tc>
                  <a:txBody>
                    <a:bodyPr/>
                    <a:lstStyle/>
                    <a:p>
                      <a:pPr algn="l" fontAlgn="b"/>
                      <a:r>
                        <a:rPr lang="en-GB" sz="1050" b="1" i="0" u="none" strike="noStrike" dirty="0">
                          <a:solidFill>
                            <a:srgbClr val="FFFFFF"/>
                          </a:solidFill>
                          <a:effectLst/>
                          <a:latin typeface="Calibri" panose="020F0502020204030204" pitchFamily="34" charset="0"/>
                        </a:rPr>
                        <a:t>Cookbook Name</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solidFill>
                      <a:srgbClr val="66AA44"/>
                    </a:solidFill>
                  </a:tcPr>
                </a:tc>
                <a:tc>
                  <a:txBody>
                    <a:bodyPr/>
                    <a:lstStyle/>
                    <a:p>
                      <a:pPr algn="l" fontAlgn="b"/>
                      <a:r>
                        <a:rPr lang="en-GB" sz="1050" b="1" i="0" u="none" strike="noStrike" dirty="0">
                          <a:solidFill>
                            <a:srgbClr val="FFFFFF"/>
                          </a:solidFill>
                          <a:effectLst/>
                          <a:latin typeface="Calibri" panose="020F0502020204030204" pitchFamily="34" charset="0"/>
                        </a:rPr>
                        <a:t>Originating Project</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solidFill>
                      <a:srgbClr val="66AA44"/>
                    </a:solidFill>
                  </a:tcPr>
                </a:tc>
              </a:tr>
              <a:tr h="165822">
                <a:tc>
                  <a:txBody>
                    <a:bodyPr/>
                    <a:lstStyle/>
                    <a:p>
                      <a:pPr algn="l" fontAlgn="b"/>
                      <a:r>
                        <a:rPr lang="en-GB" sz="1050" b="0" i="0" u="none" strike="noStrike">
                          <a:solidFill>
                            <a:srgbClr val="000000"/>
                          </a:solidFill>
                          <a:effectLst/>
                          <a:latin typeface="Calibri" panose="020F0502020204030204" pitchFamily="34" charset="0"/>
                        </a:rPr>
                        <a:t>openssl</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65822">
                <a:tc>
                  <a:txBody>
                    <a:bodyPr/>
                    <a:lstStyle/>
                    <a:p>
                      <a:pPr algn="l" fontAlgn="b"/>
                      <a:r>
                        <a:rPr lang="en-GB" sz="1050" b="0" i="0" u="none" strike="noStrike">
                          <a:solidFill>
                            <a:srgbClr val="000000"/>
                          </a:solidFill>
                          <a:effectLst/>
                          <a:latin typeface="Calibri" panose="020F0502020204030204" pitchFamily="34" charset="0"/>
                        </a:rPr>
                        <a:t>phabricator</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65822">
                <a:tc>
                  <a:txBody>
                    <a:bodyPr/>
                    <a:lstStyle/>
                    <a:p>
                      <a:pPr algn="l" fontAlgn="b"/>
                      <a:r>
                        <a:rPr lang="en-GB" sz="1050" b="0" i="0" u="none" strike="noStrike">
                          <a:solidFill>
                            <a:srgbClr val="000000"/>
                          </a:solidFill>
                          <a:effectLst/>
                          <a:latin typeface="Calibri" panose="020F0502020204030204" pitchFamily="34" charset="0"/>
                        </a:rPr>
                        <a:t>php</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65822">
                <a:tc>
                  <a:txBody>
                    <a:bodyPr/>
                    <a:lstStyle/>
                    <a:p>
                      <a:pPr algn="l" fontAlgn="b"/>
                      <a:r>
                        <a:rPr lang="en-GB" sz="1050" b="0" i="0" u="none" strike="noStrike">
                          <a:solidFill>
                            <a:srgbClr val="000000"/>
                          </a:solidFill>
                          <a:effectLst/>
                          <a:latin typeface="Calibri" panose="020F0502020204030204" pitchFamily="34" charset="0"/>
                        </a:rPr>
                        <a:t>postgresql</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65822">
                <a:tc>
                  <a:txBody>
                    <a:bodyPr/>
                    <a:lstStyle/>
                    <a:p>
                      <a:pPr algn="l" fontAlgn="b"/>
                      <a:r>
                        <a:rPr lang="en-GB" sz="1050" b="0" i="0" u="none" strike="noStrike">
                          <a:solidFill>
                            <a:srgbClr val="000000"/>
                          </a:solidFill>
                          <a:effectLst/>
                          <a:latin typeface="Calibri" panose="020F0502020204030204" pitchFamily="34" charset="0"/>
                        </a:rPr>
                        <a:t>python</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65822">
                <a:tc>
                  <a:txBody>
                    <a:bodyPr/>
                    <a:lstStyle/>
                    <a:p>
                      <a:pPr algn="l" fontAlgn="b"/>
                      <a:r>
                        <a:rPr lang="en-GB" sz="1050" b="0" i="0" u="none" strike="noStrike">
                          <a:solidFill>
                            <a:srgbClr val="000000"/>
                          </a:solidFill>
                          <a:effectLst/>
                          <a:latin typeface="Calibri" panose="020F0502020204030204" pitchFamily="34" charset="0"/>
                        </a:rPr>
                        <a:t>rsyslog</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65822">
                <a:tc>
                  <a:txBody>
                    <a:bodyPr/>
                    <a:lstStyle/>
                    <a:p>
                      <a:pPr algn="l" fontAlgn="b"/>
                      <a:r>
                        <a:rPr lang="en-GB" sz="1050" b="0" i="0" u="none" strike="noStrike">
                          <a:solidFill>
                            <a:srgbClr val="000000"/>
                          </a:solidFill>
                          <a:effectLst/>
                          <a:latin typeface="Calibri" panose="020F0502020204030204" pitchFamily="34" charset="0"/>
                        </a:rPr>
                        <a:t>runit</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65822">
                <a:tc>
                  <a:txBody>
                    <a:bodyPr/>
                    <a:lstStyle/>
                    <a:p>
                      <a:pPr algn="l" fontAlgn="b"/>
                      <a:r>
                        <a:rPr lang="en-GB" sz="1050" b="0" i="0" u="none" strike="noStrike">
                          <a:solidFill>
                            <a:srgbClr val="000000"/>
                          </a:solidFill>
                          <a:effectLst/>
                          <a:latin typeface="Calibri" panose="020F0502020204030204" pitchFamily="34" charset="0"/>
                        </a:rPr>
                        <a:t>service_discovery</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65822">
                <a:tc>
                  <a:txBody>
                    <a:bodyPr/>
                    <a:lstStyle/>
                    <a:p>
                      <a:pPr algn="l" fontAlgn="b"/>
                      <a:r>
                        <a:rPr lang="en-GB" sz="1050" b="0" i="0" u="none" strike="noStrike">
                          <a:solidFill>
                            <a:srgbClr val="000000"/>
                          </a:solidFill>
                          <a:effectLst/>
                          <a:latin typeface="Calibri" panose="020F0502020204030204" pitchFamily="34" charset="0"/>
                        </a:rPr>
                        <a:t>silverware</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65822">
                <a:tc>
                  <a:txBody>
                    <a:bodyPr/>
                    <a:lstStyle/>
                    <a:p>
                      <a:pPr algn="l" fontAlgn="b"/>
                      <a:r>
                        <a:rPr lang="en-GB" sz="1050" b="0" i="0" u="none" strike="noStrike">
                          <a:solidFill>
                            <a:srgbClr val="000000"/>
                          </a:solidFill>
                          <a:effectLst/>
                          <a:latin typeface="Calibri" panose="020F0502020204030204" pitchFamily="34" charset="0"/>
                        </a:rPr>
                        <a:t>sonar</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65822">
                <a:tc>
                  <a:txBody>
                    <a:bodyPr/>
                    <a:lstStyle/>
                    <a:p>
                      <a:pPr algn="l" fontAlgn="b"/>
                      <a:r>
                        <a:rPr lang="en-GB" sz="1050" b="0" i="0" u="none" strike="noStrike">
                          <a:solidFill>
                            <a:srgbClr val="000000"/>
                          </a:solidFill>
                          <a:effectLst/>
                          <a:latin typeface="Calibri" panose="020F0502020204030204" pitchFamily="34" charset="0"/>
                        </a:rPr>
                        <a:t>ssl_certificates</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65822">
                <a:tc>
                  <a:txBody>
                    <a:bodyPr/>
                    <a:lstStyle/>
                    <a:p>
                      <a:pPr algn="l" fontAlgn="b"/>
                      <a:r>
                        <a:rPr lang="en-GB" sz="1050" b="0" i="0" u="none" strike="noStrike">
                          <a:solidFill>
                            <a:srgbClr val="000000"/>
                          </a:solidFill>
                          <a:effectLst/>
                          <a:latin typeface="Calibri" panose="020F0502020204030204" pitchFamily="34" charset="0"/>
                        </a:rPr>
                        <a:t>vc2010</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dirty="0">
                          <a:solidFill>
                            <a:srgbClr val="000000"/>
                          </a:solidFill>
                          <a:effectLst/>
                          <a:latin typeface="Calibri" panose="020F0502020204030204" pitchFamily="34" charset="0"/>
                        </a:rPr>
                        <a:t>Monsoon</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65822">
                <a:tc>
                  <a:txBody>
                    <a:bodyPr/>
                    <a:lstStyle/>
                    <a:p>
                      <a:pPr algn="l" fontAlgn="b"/>
                      <a:r>
                        <a:rPr lang="en-GB" sz="1050" b="0" i="0" u="none" strike="noStrike">
                          <a:solidFill>
                            <a:srgbClr val="000000"/>
                          </a:solidFill>
                          <a:effectLst/>
                          <a:latin typeface="Calibri" panose="020F0502020204030204" pitchFamily="34" charset="0"/>
                        </a:rPr>
                        <a:t>windows</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65822">
                <a:tc>
                  <a:txBody>
                    <a:bodyPr/>
                    <a:lstStyle/>
                    <a:p>
                      <a:pPr algn="l" fontAlgn="b"/>
                      <a:r>
                        <a:rPr lang="en-GB" sz="1050" b="0" i="0" u="none" strike="noStrike">
                          <a:solidFill>
                            <a:srgbClr val="000000"/>
                          </a:solidFill>
                          <a:effectLst/>
                          <a:latin typeface="Calibri" panose="020F0502020204030204" pitchFamily="34" charset="0"/>
                        </a:rPr>
                        <a:t>xfs</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65822">
                <a:tc>
                  <a:txBody>
                    <a:bodyPr/>
                    <a:lstStyle/>
                    <a:p>
                      <a:pPr algn="l" fontAlgn="b"/>
                      <a:r>
                        <a:rPr lang="en-GB" sz="1050" b="0" i="0" u="none" strike="noStrike">
                          <a:solidFill>
                            <a:srgbClr val="000000"/>
                          </a:solidFill>
                          <a:effectLst/>
                          <a:latin typeface="Calibri" panose="020F0502020204030204" pitchFamily="34" charset="0"/>
                        </a:rPr>
                        <a:t>xml</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65822">
                <a:tc>
                  <a:txBody>
                    <a:bodyPr/>
                    <a:lstStyle/>
                    <a:p>
                      <a:pPr algn="l" fontAlgn="b"/>
                      <a:r>
                        <a:rPr lang="en-GB" sz="1050" b="0" i="0" u="none" strike="noStrike">
                          <a:solidFill>
                            <a:srgbClr val="000000"/>
                          </a:solidFill>
                          <a:effectLst/>
                          <a:latin typeface="Calibri" panose="020F0502020204030204" pitchFamily="34" charset="0"/>
                        </a:rPr>
                        <a:t>yum</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Monsoon</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65822">
                <a:tc>
                  <a:txBody>
                    <a:bodyPr/>
                    <a:lstStyle/>
                    <a:p>
                      <a:pPr algn="l" fontAlgn="b"/>
                      <a:r>
                        <a:rPr lang="en-GB" sz="1050" b="0" i="0" u="none" strike="noStrike">
                          <a:solidFill>
                            <a:srgbClr val="000000"/>
                          </a:solidFill>
                          <a:effectLst/>
                          <a:latin typeface="Calibri" panose="020F0502020204030204" pitchFamily="34" charset="0"/>
                        </a:rPr>
                        <a:t>aws</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SAP</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65822">
                <a:tc>
                  <a:txBody>
                    <a:bodyPr/>
                    <a:lstStyle/>
                    <a:p>
                      <a:pPr algn="l" fontAlgn="b"/>
                      <a:r>
                        <a:rPr lang="en-GB" sz="1050" b="0" i="0" u="none" strike="noStrike">
                          <a:solidFill>
                            <a:srgbClr val="000000"/>
                          </a:solidFill>
                          <a:effectLst/>
                          <a:latin typeface="Calibri" panose="020F0502020204030204" pitchFamily="34" charset="0"/>
                        </a:rPr>
                        <a:t>chef_handler</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SAP</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65822">
                <a:tc>
                  <a:txBody>
                    <a:bodyPr/>
                    <a:lstStyle/>
                    <a:p>
                      <a:pPr algn="l" fontAlgn="b"/>
                      <a:r>
                        <a:rPr lang="en-GB" sz="1050" b="0" i="0" u="none" strike="noStrike">
                          <a:solidFill>
                            <a:srgbClr val="000000"/>
                          </a:solidFill>
                          <a:effectLst/>
                          <a:latin typeface="Calibri" panose="020F0502020204030204" pitchFamily="34" charset="0"/>
                        </a:rPr>
                        <a:t>diskpart</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SAP</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65822">
                <a:tc>
                  <a:txBody>
                    <a:bodyPr/>
                    <a:lstStyle/>
                    <a:p>
                      <a:pPr algn="l" fontAlgn="b"/>
                      <a:r>
                        <a:rPr lang="en-GB" sz="1050" b="0" i="0" u="none" strike="noStrike">
                          <a:solidFill>
                            <a:srgbClr val="000000"/>
                          </a:solidFill>
                          <a:effectLst/>
                          <a:latin typeface="Calibri" panose="020F0502020204030204" pitchFamily="34" charset="0"/>
                        </a:rPr>
                        <a:t>java</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SAP</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65822">
                <a:tc>
                  <a:txBody>
                    <a:bodyPr/>
                    <a:lstStyle/>
                    <a:p>
                      <a:pPr algn="l" fontAlgn="b"/>
                      <a:r>
                        <a:rPr lang="en-GB" sz="1050" b="0" i="0" u="none" strike="noStrike">
                          <a:solidFill>
                            <a:srgbClr val="000000"/>
                          </a:solidFill>
                          <a:effectLst/>
                          <a:latin typeface="Calibri" panose="020F0502020204030204" pitchFamily="34" charset="0"/>
                        </a:rPr>
                        <a:t>openssl</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SAP</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65822">
                <a:tc>
                  <a:txBody>
                    <a:bodyPr/>
                    <a:lstStyle/>
                    <a:p>
                      <a:pPr algn="l" fontAlgn="b"/>
                      <a:r>
                        <a:rPr lang="en-GB" sz="1050" b="0" i="0" u="none" strike="noStrike">
                          <a:solidFill>
                            <a:srgbClr val="000000"/>
                          </a:solidFill>
                          <a:effectLst/>
                          <a:latin typeface="Calibri" panose="020F0502020204030204" pitchFamily="34" charset="0"/>
                        </a:rPr>
                        <a:t>powershell</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SAP</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0">
                <a:tc>
                  <a:txBody>
                    <a:bodyPr/>
                    <a:lstStyle/>
                    <a:p>
                      <a:pPr algn="l" fontAlgn="b"/>
                      <a:r>
                        <a:rPr lang="en-GB" sz="1050" b="0" i="0" u="none" strike="noStrike">
                          <a:solidFill>
                            <a:srgbClr val="000000"/>
                          </a:solidFill>
                          <a:effectLst/>
                          <a:latin typeface="Calibri" panose="020F0502020204030204" pitchFamily="34" charset="0"/>
                        </a:rPr>
                        <a:t>sap</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SAP</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65822">
                <a:tc>
                  <a:txBody>
                    <a:bodyPr/>
                    <a:lstStyle/>
                    <a:p>
                      <a:pPr algn="l" fontAlgn="b"/>
                      <a:r>
                        <a:rPr lang="en-GB" sz="1050" b="0" i="0" u="none" strike="noStrike">
                          <a:solidFill>
                            <a:srgbClr val="000000"/>
                          </a:solidFill>
                          <a:effectLst/>
                          <a:latin typeface="Calibri" panose="020F0502020204030204" pitchFamily="34" charset="0"/>
                        </a:rPr>
                        <a:t>windows</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SAP</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65822">
                <a:tc>
                  <a:txBody>
                    <a:bodyPr/>
                    <a:lstStyle/>
                    <a:p>
                      <a:pPr algn="l" fontAlgn="b"/>
                      <a:r>
                        <a:rPr lang="en-GB" sz="1050" b="0" i="0" u="none" strike="noStrike">
                          <a:solidFill>
                            <a:srgbClr val="000000"/>
                          </a:solidFill>
                          <a:effectLst/>
                          <a:latin typeface="Calibri" panose="020F0502020204030204" pitchFamily="34" charset="0"/>
                        </a:rPr>
                        <a:t>addsudouser</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dirty="0">
                          <a:solidFill>
                            <a:srgbClr val="000000"/>
                          </a:solidFill>
                          <a:effectLst/>
                          <a:latin typeface="Calibri" panose="020F0502020204030204" pitchFamily="34" charset="0"/>
                        </a:rPr>
                        <a:t>ADD</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65822">
                <a:tc>
                  <a:txBody>
                    <a:bodyPr/>
                    <a:lstStyle/>
                    <a:p>
                      <a:pPr algn="l" fontAlgn="b"/>
                      <a:r>
                        <a:rPr lang="en-GB" sz="1050" b="0" i="0" u="none" strike="noStrike">
                          <a:solidFill>
                            <a:srgbClr val="000000"/>
                          </a:solidFill>
                          <a:effectLst/>
                          <a:latin typeface="Calibri" panose="020F0502020204030204" pitchFamily="34" charset="0"/>
                        </a:rPr>
                        <a:t>ark</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DD</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65822">
                <a:tc>
                  <a:txBody>
                    <a:bodyPr/>
                    <a:lstStyle/>
                    <a:p>
                      <a:pPr algn="l" fontAlgn="b"/>
                      <a:r>
                        <a:rPr lang="en-GB" sz="1050" b="0" i="0" u="none" strike="noStrike">
                          <a:solidFill>
                            <a:srgbClr val="000000"/>
                          </a:solidFill>
                          <a:effectLst/>
                          <a:latin typeface="Calibri" panose="020F0502020204030204" pitchFamily="34" charset="0"/>
                        </a:rPr>
                        <a:t>aws</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DD</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65822">
                <a:tc>
                  <a:txBody>
                    <a:bodyPr/>
                    <a:lstStyle/>
                    <a:p>
                      <a:pPr algn="l" fontAlgn="b"/>
                      <a:r>
                        <a:rPr lang="en-GB" sz="1050" b="0" i="0" u="none" strike="noStrike">
                          <a:solidFill>
                            <a:srgbClr val="000000"/>
                          </a:solidFill>
                          <a:effectLst/>
                          <a:latin typeface="Calibri" panose="020F0502020204030204" pitchFamily="34" charset="0"/>
                        </a:rPr>
                        <a:t>aws_store</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DD</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65822">
                <a:tc>
                  <a:txBody>
                    <a:bodyPr/>
                    <a:lstStyle/>
                    <a:p>
                      <a:pPr algn="l" fontAlgn="b"/>
                      <a:r>
                        <a:rPr lang="en-GB" sz="1050" b="0" i="0" u="none" strike="noStrike">
                          <a:solidFill>
                            <a:srgbClr val="000000"/>
                          </a:solidFill>
                          <a:effectLst/>
                          <a:latin typeface="Calibri" panose="020F0502020204030204" pitchFamily="34" charset="0"/>
                        </a:rPr>
                        <a:t>boost</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DD</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65822">
                <a:tc>
                  <a:txBody>
                    <a:bodyPr/>
                    <a:lstStyle/>
                    <a:p>
                      <a:pPr algn="l" fontAlgn="b"/>
                      <a:r>
                        <a:rPr lang="en-GB" sz="1050" b="0" i="0" u="none" strike="noStrike">
                          <a:solidFill>
                            <a:srgbClr val="000000"/>
                          </a:solidFill>
                          <a:effectLst/>
                          <a:latin typeface="Calibri" panose="020F0502020204030204" pitchFamily="34" charset="0"/>
                        </a:rPr>
                        <a:t>build-essential</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DD</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65822">
                <a:tc>
                  <a:txBody>
                    <a:bodyPr/>
                    <a:lstStyle/>
                    <a:p>
                      <a:pPr algn="l" fontAlgn="b"/>
                      <a:r>
                        <a:rPr lang="en-GB" sz="1050" b="0" i="0" u="none" strike="noStrike">
                          <a:solidFill>
                            <a:srgbClr val="000000"/>
                          </a:solidFill>
                          <a:effectLst/>
                          <a:latin typeface="Calibri" panose="020F0502020204030204" pitchFamily="34" charset="0"/>
                        </a:rPr>
                        <a:t>data_node</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dirty="0">
                          <a:solidFill>
                            <a:srgbClr val="000000"/>
                          </a:solidFill>
                          <a:effectLst/>
                          <a:latin typeface="Calibri" panose="020F0502020204030204" pitchFamily="34" charset="0"/>
                        </a:rPr>
                        <a:t>ADD</a:t>
                      </a:r>
                    </a:p>
                  </a:txBody>
                  <a:tcPr marL="8291" marR="8291" marT="8291"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2733110616"/>
              </p:ext>
            </p:extLst>
          </p:nvPr>
        </p:nvGraphicFramePr>
        <p:xfrm>
          <a:off x="4932040" y="1268760"/>
          <a:ext cx="3096344" cy="5400600"/>
        </p:xfrm>
        <a:graphic>
          <a:graphicData uri="http://schemas.openxmlformats.org/drawingml/2006/table">
            <a:tbl>
              <a:tblPr/>
              <a:tblGrid>
                <a:gridCol w="1913188"/>
                <a:gridCol w="1183156"/>
              </a:tblGrid>
              <a:tr h="180020">
                <a:tc>
                  <a:txBody>
                    <a:bodyPr/>
                    <a:lstStyle/>
                    <a:p>
                      <a:pPr algn="l" fontAlgn="b"/>
                      <a:r>
                        <a:rPr lang="en-GB" sz="1050" b="1" i="0" u="none" strike="noStrike" dirty="0">
                          <a:solidFill>
                            <a:srgbClr val="FFFFFF"/>
                          </a:solidFill>
                          <a:effectLst/>
                          <a:latin typeface="Calibri" panose="020F0502020204030204" pitchFamily="34" charset="0"/>
                        </a:rPr>
                        <a:t>Cookbook Name</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solidFill>
                      <a:srgbClr val="66AA44"/>
                    </a:solidFill>
                  </a:tcPr>
                </a:tc>
                <a:tc>
                  <a:txBody>
                    <a:bodyPr/>
                    <a:lstStyle/>
                    <a:p>
                      <a:pPr algn="l" fontAlgn="b"/>
                      <a:r>
                        <a:rPr lang="en-GB" sz="1050" b="1" i="0" u="none" strike="noStrike" dirty="0">
                          <a:solidFill>
                            <a:srgbClr val="FFFFFF"/>
                          </a:solidFill>
                          <a:effectLst/>
                          <a:latin typeface="Calibri" panose="020F0502020204030204" pitchFamily="34" charset="0"/>
                        </a:rPr>
                        <a:t>Originating Project</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solidFill>
                      <a:srgbClr val="66AA44"/>
                    </a:solidFill>
                  </a:tcPr>
                </a:tc>
              </a:tr>
              <a:tr h="180020">
                <a:tc>
                  <a:txBody>
                    <a:bodyPr/>
                    <a:lstStyle/>
                    <a:p>
                      <a:pPr algn="l" fontAlgn="b"/>
                      <a:r>
                        <a:rPr lang="en-GB" sz="1050" b="0" i="0" u="none" strike="noStrike">
                          <a:solidFill>
                            <a:srgbClr val="000000"/>
                          </a:solidFill>
                          <a:effectLst/>
                          <a:latin typeface="Calibri" panose="020F0502020204030204" pitchFamily="34" charset="0"/>
                        </a:rPr>
                        <a:t>database</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DD</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0020">
                <a:tc>
                  <a:txBody>
                    <a:bodyPr/>
                    <a:lstStyle/>
                    <a:p>
                      <a:pPr algn="l" fontAlgn="b"/>
                      <a:r>
                        <a:rPr lang="en-GB" sz="1050" b="0" i="0" u="none" strike="noStrike">
                          <a:solidFill>
                            <a:srgbClr val="000000"/>
                          </a:solidFill>
                          <a:effectLst/>
                          <a:latin typeface="Calibri" panose="020F0502020204030204" pitchFamily="34" charset="0"/>
                        </a:rPr>
                        <a:t>edge_node</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DD</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0020">
                <a:tc>
                  <a:txBody>
                    <a:bodyPr/>
                    <a:lstStyle/>
                    <a:p>
                      <a:pPr algn="l" fontAlgn="b"/>
                      <a:r>
                        <a:rPr lang="en-GB" sz="1050" b="0" i="0" u="none" strike="noStrike">
                          <a:solidFill>
                            <a:srgbClr val="000000"/>
                          </a:solidFill>
                          <a:effectLst/>
                          <a:latin typeface="Calibri" panose="020F0502020204030204" pitchFamily="34" charset="0"/>
                        </a:rPr>
                        <a:t>env_setup</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DD</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0020">
                <a:tc>
                  <a:txBody>
                    <a:bodyPr/>
                    <a:lstStyle/>
                    <a:p>
                      <a:pPr algn="l" fontAlgn="b"/>
                      <a:r>
                        <a:rPr lang="en-GB" sz="1050" b="0" i="0" u="none" strike="noStrike">
                          <a:solidFill>
                            <a:srgbClr val="000000"/>
                          </a:solidFill>
                          <a:effectLst/>
                          <a:latin typeface="Calibri" panose="020F0502020204030204" pitchFamily="34" charset="0"/>
                        </a:rPr>
                        <a:t>hadoop_cluster_manager</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DD</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0020">
                <a:tc>
                  <a:txBody>
                    <a:bodyPr/>
                    <a:lstStyle/>
                    <a:p>
                      <a:pPr algn="l" fontAlgn="b"/>
                      <a:r>
                        <a:rPr lang="en-GB" sz="1050" b="0" i="0" u="none" strike="noStrike">
                          <a:solidFill>
                            <a:srgbClr val="000000"/>
                          </a:solidFill>
                          <a:effectLst/>
                          <a:latin typeface="Calibri" panose="020F0502020204030204" pitchFamily="34" charset="0"/>
                        </a:rPr>
                        <a:t>hive_mysql</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DD</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0020">
                <a:tc>
                  <a:txBody>
                    <a:bodyPr/>
                    <a:lstStyle/>
                    <a:p>
                      <a:pPr algn="l" fontAlgn="b"/>
                      <a:r>
                        <a:rPr lang="en-GB" sz="1050" b="0" i="0" u="none" strike="noStrike">
                          <a:solidFill>
                            <a:srgbClr val="000000"/>
                          </a:solidFill>
                          <a:effectLst/>
                          <a:latin typeface="Calibri" panose="020F0502020204030204" pitchFamily="34" charset="0"/>
                        </a:rPr>
                        <a:t>hostfile_update</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DD</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0020">
                <a:tc>
                  <a:txBody>
                    <a:bodyPr/>
                    <a:lstStyle/>
                    <a:p>
                      <a:pPr algn="l" fontAlgn="b"/>
                      <a:r>
                        <a:rPr lang="en-GB" sz="1050" b="0" i="0" u="none" strike="noStrike">
                          <a:solidFill>
                            <a:srgbClr val="000000"/>
                          </a:solidFill>
                          <a:effectLst/>
                          <a:latin typeface="Calibri" panose="020F0502020204030204" pitchFamily="34" charset="0"/>
                        </a:rPr>
                        <a:t>java</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DD</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0020">
                <a:tc>
                  <a:txBody>
                    <a:bodyPr/>
                    <a:lstStyle/>
                    <a:p>
                      <a:pPr algn="l" fontAlgn="b"/>
                      <a:r>
                        <a:rPr lang="en-GB" sz="1050" b="0" i="0" u="none" strike="noStrike">
                          <a:solidFill>
                            <a:srgbClr val="000000"/>
                          </a:solidFill>
                          <a:effectLst/>
                          <a:latin typeface="Calibri" panose="020F0502020204030204" pitchFamily="34" charset="0"/>
                        </a:rPr>
                        <a:t>jdk_setup</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DD</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0020">
                <a:tc>
                  <a:txBody>
                    <a:bodyPr/>
                    <a:lstStyle/>
                    <a:p>
                      <a:pPr algn="l" fontAlgn="b"/>
                      <a:r>
                        <a:rPr lang="en-GB" sz="1050" b="0" i="0" u="none" strike="noStrike">
                          <a:solidFill>
                            <a:srgbClr val="000000"/>
                          </a:solidFill>
                          <a:effectLst/>
                          <a:latin typeface="Calibri" panose="020F0502020204030204" pitchFamily="34" charset="0"/>
                        </a:rPr>
                        <a:t>line</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DD</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0020">
                <a:tc>
                  <a:txBody>
                    <a:bodyPr/>
                    <a:lstStyle/>
                    <a:p>
                      <a:pPr algn="l" fontAlgn="b"/>
                      <a:r>
                        <a:rPr lang="en-GB" sz="1050" b="0" i="0" u="none" strike="noStrike">
                          <a:solidFill>
                            <a:srgbClr val="000000"/>
                          </a:solidFill>
                          <a:effectLst/>
                          <a:latin typeface="Calibri" panose="020F0502020204030204" pitchFamily="34" charset="0"/>
                        </a:rPr>
                        <a:t>mahout</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DD</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0020">
                <a:tc>
                  <a:txBody>
                    <a:bodyPr/>
                    <a:lstStyle/>
                    <a:p>
                      <a:pPr algn="l" fontAlgn="b"/>
                      <a:r>
                        <a:rPr lang="en-GB" sz="1050" b="0" i="0" u="none" strike="noStrike">
                          <a:solidFill>
                            <a:srgbClr val="000000"/>
                          </a:solidFill>
                          <a:effectLst/>
                          <a:latin typeface="Calibri" panose="020F0502020204030204" pitchFamily="34" charset="0"/>
                        </a:rPr>
                        <a:t>mysql</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DD</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0020">
                <a:tc>
                  <a:txBody>
                    <a:bodyPr/>
                    <a:lstStyle/>
                    <a:p>
                      <a:pPr algn="l" fontAlgn="b"/>
                      <a:r>
                        <a:rPr lang="en-GB" sz="1050" b="0" i="0" u="none" strike="noStrike">
                          <a:solidFill>
                            <a:srgbClr val="000000"/>
                          </a:solidFill>
                          <a:effectLst/>
                          <a:latin typeface="Calibri" panose="020F0502020204030204" pitchFamily="34" charset="0"/>
                        </a:rPr>
                        <a:t>mysql-chef_gem</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DD</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0020">
                <a:tc>
                  <a:txBody>
                    <a:bodyPr/>
                    <a:lstStyle/>
                    <a:p>
                      <a:pPr algn="l" fontAlgn="b"/>
                      <a:r>
                        <a:rPr lang="en-GB" sz="1050" b="0" i="0" u="none" strike="noStrike">
                          <a:solidFill>
                            <a:srgbClr val="000000"/>
                          </a:solidFill>
                          <a:effectLst/>
                          <a:latin typeface="Calibri" panose="020F0502020204030204" pitchFamily="34" charset="0"/>
                        </a:rPr>
                        <a:t>openr</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DD</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0020">
                <a:tc>
                  <a:txBody>
                    <a:bodyPr/>
                    <a:lstStyle/>
                    <a:p>
                      <a:pPr algn="l" fontAlgn="b"/>
                      <a:r>
                        <a:rPr lang="en-GB" sz="1050" b="0" i="0" u="none" strike="noStrike">
                          <a:solidFill>
                            <a:srgbClr val="000000"/>
                          </a:solidFill>
                          <a:effectLst/>
                          <a:latin typeface="Calibri" panose="020F0502020204030204" pitchFamily="34" charset="0"/>
                        </a:rPr>
                        <a:t>openssl</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DD</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0020">
                <a:tc>
                  <a:txBody>
                    <a:bodyPr/>
                    <a:lstStyle/>
                    <a:p>
                      <a:pPr algn="l" fontAlgn="b"/>
                      <a:r>
                        <a:rPr lang="en-GB" sz="1050" b="0" i="0" u="none" strike="noStrike">
                          <a:solidFill>
                            <a:srgbClr val="000000"/>
                          </a:solidFill>
                          <a:effectLst/>
                          <a:latin typeface="Calibri" panose="020F0502020204030204" pitchFamily="34" charset="0"/>
                        </a:rPr>
                        <a:t>postgresql</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dirty="0">
                          <a:solidFill>
                            <a:srgbClr val="000000"/>
                          </a:solidFill>
                          <a:effectLst/>
                          <a:latin typeface="Calibri" panose="020F0502020204030204" pitchFamily="34" charset="0"/>
                        </a:rPr>
                        <a:t>ADD</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0020">
                <a:tc>
                  <a:txBody>
                    <a:bodyPr/>
                    <a:lstStyle/>
                    <a:p>
                      <a:pPr algn="l" fontAlgn="b"/>
                      <a:r>
                        <a:rPr lang="en-GB" sz="1050" b="0" i="0" u="none" strike="noStrike">
                          <a:solidFill>
                            <a:srgbClr val="000000"/>
                          </a:solidFill>
                          <a:effectLst/>
                          <a:latin typeface="Calibri" panose="020F0502020204030204" pitchFamily="34" charset="0"/>
                        </a:rPr>
                        <a:t>python</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DD</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0020">
                <a:tc>
                  <a:txBody>
                    <a:bodyPr/>
                    <a:lstStyle/>
                    <a:p>
                      <a:pPr algn="l" fontAlgn="b"/>
                      <a:r>
                        <a:rPr lang="en-GB" sz="1050" b="0" i="0" u="none" strike="noStrike">
                          <a:solidFill>
                            <a:srgbClr val="000000"/>
                          </a:solidFill>
                          <a:effectLst/>
                          <a:latin typeface="Calibri" panose="020F0502020204030204" pitchFamily="34" charset="0"/>
                        </a:rPr>
                        <a:t>revor</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DD</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0020">
                <a:tc>
                  <a:txBody>
                    <a:bodyPr/>
                    <a:lstStyle/>
                    <a:p>
                      <a:pPr algn="l" fontAlgn="b"/>
                      <a:r>
                        <a:rPr lang="en-GB" sz="1050" b="0" i="0" u="none" strike="noStrike" dirty="0" err="1">
                          <a:solidFill>
                            <a:srgbClr val="000000"/>
                          </a:solidFill>
                          <a:effectLst/>
                          <a:latin typeface="Calibri" panose="020F0502020204030204" pitchFamily="34" charset="0"/>
                        </a:rPr>
                        <a:t>scala</a:t>
                      </a:r>
                      <a:endParaRPr lang="en-GB" sz="1050" b="0" i="0" u="none" strike="noStrike" dirty="0">
                        <a:solidFill>
                          <a:srgbClr val="000000"/>
                        </a:solidFill>
                        <a:effectLst/>
                        <a:latin typeface="Calibri" panose="020F0502020204030204" pitchFamily="34" charset="0"/>
                      </a:endParaRP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DD</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0020">
                <a:tc>
                  <a:txBody>
                    <a:bodyPr/>
                    <a:lstStyle/>
                    <a:p>
                      <a:pPr algn="l" fontAlgn="b"/>
                      <a:r>
                        <a:rPr lang="en-GB" sz="1050" b="0" i="0" u="none" strike="noStrike">
                          <a:solidFill>
                            <a:srgbClr val="000000"/>
                          </a:solidFill>
                          <a:effectLst/>
                          <a:latin typeface="Calibri" panose="020F0502020204030204" pitchFamily="34" charset="0"/>
                        </a:rPr>
                        <a:t>set_recipe</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dirty="0">
                          <a:solidFill>
                            <a:srgbClr val="000000"/>
                          </a:solidFill>
                          <a:effectLst/>
                          <a:latin typeface="Calibri" panose="020F0502020204030204" pitchFamily="34" charset="0"/>
                        </a:rPr>
                        <a:t>ADD</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0020">
                <a:tc>
                  <a:txBody>
                    <a:bodyPr/>
                    <a:lstStyle/>
                    <a:p>
                      <a:pPr algn="l" fontAlgn="b"/>
                      <a:r>
                        <a:rPr lang="en-GB" sz="1050" b="0" i="0" u="none" strike="noStrike">
                          <a:solidFill>
                            <a:srgbClr val="000000"/>
                          </a:solidFill>
                          <a:effectLst/>
                          <a:latin typeface="Calibri" panose="020F0502020204030204" pitchFamily="34" charset="0"/>
                        </a:rPr>
                        <a:t>sudo</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DD</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0020">
                <a:tc>
                  <a:txBody>
                    <a:bodyPr/>
                    <a:lstStyle/>
                    <a:p>
                      <a:pPr algn="l" fontAlgn="b"/>
                      <a:r>
                        <a:rPr lang="en-GB" sz="1050" b="0" i="0" u="none" strike="noStrike">
                          <a:solidFill>
                            <a:srgbClr val="000000"/>
                          </a:solidFill>
                          <a:effectLst/>
                          <a:latin typeface="Calibri" panose="020F0502020204030204" pitchFamily="34" charset="0"/>
                        </a:rPr>
                        <a:t>tableau</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DD</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0020">
                <a:tc>
                  <a:txBody>
                    <a:bodyPr/>
                    <a:lstStyle/>
                    <a:p>
                      <a:pPr algn="l" fontAlgn="b"/>
                      <a:r>
                        <a:rPr lang="en-GB" sz="1050" b="0" i="0" u="none" strike="noStrike">
                          <a:solidFill>
                            <a:srgbClr val="000000"/>
                          </a:solidFill>
                          <a:effectLst/>
                          <a:latin typeface="Calibri" panose="020F0502020204030204" pitchFamily="34" charset="0"/>
                        </a:rPr>
                        <a:t>talend</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DD</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0020">
                <a:tc>
                  <a:txBody>
                    <a:bodyPr/>
                    <a:lstStyle/>
                    <a:p>
                      <a:pPr algn="l" fontAlgn="b"/>
                      <a:r>
                        <a:rPr lang="en-GB" sz="1050" b="0" i="0" u="none" strike="noStrike">
                          <a:solidFill>
                            <a:srgbClr val="000000"/>
                          </a:solidFill>
                          <a:effectLst/>
                          <a:latin typeface="Calibri" panose="020F0502020204030204" pitchFamily="34" charset="0"/>
                        </a:rPr>
                        <a:t>xfs</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DD</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0020">
                <a:tc>
                  <a:txBody>
                    <a:bodyPr/>
                    <a:lstStyle/>
                    <a:p>
                      <a:pPr algn="l" fontAlgn="b"/>
                      <a:r>
                        <a:rPr lang="en-GB" sz="1050" b="0" i="0" u="none" strike="noStrike">
                          <a:solidFill>
                            <a:srgbClr val="000000"/>
                          </a:solidFill>
                          <a:effectLst/>
                          <a:latin typeface="Calibri" panose="020F0502020204030204" pitchFamily="34" charset="0"/>
                        </a:rPr>
                        <a:t>yum</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dirty="0">
                          <a:solidFill>
                            <a:srgbClr val="000000"/>
                          </a:solidFill>
                          <a:effectLst/>
                          <a:latin typeface="Calibri" panose="020F0502020204030204" pitchFamily="34" charset="0"/>
                        </a:rPr>
                        <a:t>ADD</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0020">
                <a:tc>
                  <a:txBody>
                    <a:bodyPr/>
                    <a:lstStyle/>
                    <a:p>
                      <a:pPr algn="l" fontAlgn="b"/>
                      <a:r>
                        <a:rPr lang="en-GB" sz="1050" b="0" i="0" u="none" strike="noStrike">
                          <a:solidFill>
                            <a:srgbClr val="000000"/>
                          </a:solidFill>
                          <a:effectLst/>
                          <a:latin typeface="Calibri" panose="020F0502020204030204" pitchFamily="34" charset="0"/>
                        </a:rPr>
                        <a:t>yum-cdh</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dirty="0">
                          <a:solidFill>
                            <a:srgbClr val="000000"/>
                          </a:solidFill>
                          <a:effectLst/>
                          <a:latin typeface="Calibri" panose="020F0502020204030204" pitchFamily="34" charset="0"/>
                        </a:rPr>
                        <a:t>ADD</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0020">
                <a:tc>
                  <a:txBody>
                    <a:bodyPr/>
                    <a:lstStyle/>
                    <a:p>
                      <a:pPr algn="l" fontAlgn="b"/>
                      <a:r>
                        <a:rPr lang="en-GB" sz="1050" b="0" i="0" u="none" strike="noStrike">
                          <a:solidFill>
                            <a:srgbClr val="000000"/>
                          </a:solidFill>
                          <a:effectLst/>
                          <a:latin typeface="Calibri" panose="020F0502020204030204" pitchFamily="34" charset="0"/>
                        </a:rPr>
                        <a:t>yum-epel</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DD</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0020">
                <a:tc>
                  <a:txBody>
                    <a:bodyPr/>
                    <a:lstStyle/>
                    <a:p>
                      <a:pPr algn="l" fontAlgn="b"/>
                      <a:r>
                        <a:rPr lang="en-GB" sz="1050" b="0" i="0" u="none" strike="noStrike" dirty="0">
                          <a:solidFill>
                            <a:srgbClr val="000000"/>
                          </a:solidFill>
                          <a:effectLst/>
                          <a:latin typeface="Calibri" panose="020F0502020204030204" pitchFamily="34" charset="0"/>
                        </a:rPr>
                        <a:t>yum-</a:t>
                      </a:r>
                      <a:r>
                        <a:rPr lang="en-GB" sz="1050" b="0" i="0" u="none" strike="noStrike" dirty="0" err="1">
                          <a:solidFill>
                            <a:srgbClr val="000000"/>
                          </a:solidFill>
                          <a:effectLst/>
                          <a:latin typeface="Calibri" panose="020F0502020204030204" pitchFamily="34" charset="0"/>
                        </a:rPr>
                        <a:t>hdp</a:t>
                      </a:r>
                      <a:endParaRPr lang="en-GB" sz="1050" b="0" i="0" u="none" strike="noStrike" dirty="0">
                        <a:solidFill>
                          <a:srgbClr val="000000"/>
                        </a:solidFill>
                        <a:effectLst/>
                        <a:latin typeface="Calibri" panose="020F0502020204030204" pitchFamily="34" charset="0"/>
                      </a:endParaRP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a:solidFill>
                            <a:srgbClr val="000000"/>
                          </a:solidFill>
                          <a:effectLst/>
                          <a:latin typeface="Calibri" panose="020F0502020204030204" pitchFamily="34" charset="0"/>
                        </a:rPr>
                        <a:t>ADD</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0020">
                <a:tc>
                  <a:txBody>
                    <a:bodyPr/>
                    <a:lstStyle/>
                    <a:p>
                      <a:pPr algn="l" fontAlgn="b"/>
                      <a:r>
                        <a:rPr lang="en-GB" sz="1050" b="0" i="0" u="none" strike="noStrike">
                          <a:solidFill>
                            <a:srgbClr val="000000"/>
                          </a:solidFill>
                          <a:effectLst/>
                          <a:latin typeface="Calibri" panose="020F0502020204030204" pitchFamily="34" charset="0"/>
                        </a:rPr>
                        <a:t>yum-mysql-community</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dirty="0">
                          <a:solidFill>
                            <a:srgbClr val="000000"/>
                          </a:solidFill>
                          <a:effectLst/>
                          <a:latin typeface="Calibri" panose="020F0502020204030204" pitchFamily="34" charset="0"/>
                        </a:rPr>
                        <a:t>ADD</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r h="180020">
                <a:tc>
                  <a:txBody>
                    <a:bodyPr/>
                    <a:lstStyle/>
                    <a:p>
                      <a:pPr algn="l" fontAlgn="b"/>
                      <a:r>
                        <a:rPr lang="en-GB" sz="1050" b="0" i="0" u="none" strike="noStrike" dirty="0">
                          <a:solidFill>
                            <a:srgbClr val="000000"/>
                          </a:solidFill>
                          <a:effectLst/>
                          <a:latin typeface="Calibri" panose="020F0502020204030204" pitchFamily="34" charset="0"/>
                        </a:rPr>
                        <a:t>yum-</a:t>
                      </a:r>
                      <a:r>
                        <a:rPr lang="en-GB" sz="1050" b="0" i="0" u="none" strike="noStrike" dirty="0" err="1">
                          <a:solidFill>
                            <a:srgbClr val="000000"/>
                          </a:solidFill>
                          <a:effectLst/>
                          <a:latin typeface="Calibri" panose="020F0502020204030204" pitchFamily="34" charset="0"/>
                        </a:rPr>
                        <a:t>pgdg</a:t>
                      </a:r>
                      <a:endParaRPr lang="en-GB" sz="1050" b="0" i="0" u="none" strike="noStrike" dirty="0">
                        <a:solidFill>
                          <a:srgbClr val="000000"/>
                        </a:solidFill>
                        <a:effectLst/>
                        <a:latin typeface="Calibri" panose="020F0502020204030204" pitchFamily="34" charset="0"/>
                      </a:endParaRP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c>
                  <a:txBody>
                    <a:bodyPr/>
                    <a:lstStyle/>
                    <a:p>
                      <a:pPr algn="l" fontAlgn="b"/>
                      <a:r>
                        <a:rPr lang="en-GB" sz="1050" b="0" i="0" u="none" strike="noStrike" dirty="0">
                          <a:solidFill>
                            <a:srgbClr val="000000"/>
                          </a:solidFill>
                          <a:effectLst/>
                          <a:latin typeface="Calibri" panose="020F0502020204030204" pitchFamily="34" charset="0"/>
                        </a:rPr>
                        <a:t>ADD</a:t>
                      </a:r>
                    </a:p>
                  </a:txBody>
                  <a:tcPr marL="9120" marR="9120" marT="9120" marB="0" anchor="b">
                    <a:lnL w="12700" cap="flat" cmpd="sng" algn="ctr">
                      <a:solidFill>
                        <a:srgbClr val="66AA44"/>
                      </a:solidFill>
                      <a:prstDash val="solid"/>
                      <a:round/>
                      <a:headEnd type="none" w="med" len="med"/>
                      <a:tailEnd type="none" w="med" len="med"/>
                    </a:lnL>
                    <a:lnR w="12700" cap="flat" cmpd="sng" algn="ctr">
                      <a:solidFill>
                        <a:srgbClr val="66AA44"/>
                      </a:solidFill>
                      <a:prstDash val="solid"/>
                      <a:round/>
                      <a:headEnd type="none" w="med" len="med"/>
                      <a:tailEnd type="none" w="med" len="med"/>
                    </a:lnR>
                    <a:lnT w="12700" cap="flat" cmpd="sng" algn="ctr">
                      <a:solidFill>
                        <a:srgbClr val="66AA44"/>
                      </a:solidFill>
                      <a:prstDash val="solid"/>
                      <a:round/>
                      <a:headEnd type="none" w="med" len="med"/>
                      <a:tailEnd type="none" w="med" len="med"/>
                    </a:lnT>
                    <a:lnB w="12700" cap="flat" cmpd="sng" algn="ctr">
                      <a:solidFill>
                        <a:srgbClr val="66AA44"/>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01881238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23528" y="1124744"/>
            <a:ext cx="8496945" cy="5328592"/>
          </a:xfrm>
        </p:spPr>
        <p:txBody>
          <a:bodyPr lIns="90000" rIns="216000"/>
          <a:lstStyle/>
          <a:p>
            <a:pPr marL="36000" indent="-342900">
              <a:lnSpc>
                <a:spcPct val="200000"/>
              </a:lnSpc>
              <a:spcBef>
                <a:spcPts val="0"/>
              </a:spcBef>
              <a:spcAft>
                <a:spcPts val="0"/>
              </a:spcAft>
              <a:buFont typeface="Arial" panose="020B0604020202020204" pitchFamily="34" charset="0"/>
              <a:buChar char="•"/>
            </a:pPr>
            <a:r>
              <a:rPr lang="en-GB" sz="1600" i="1" dirty="0" smtClean="0">
                <a:solidFill>
                  <a:schemeClr val="tx1">
                    <a:lumMod val="75000"/>
                    <a:lumOff val="25000"/>
                  </a:schemeClr>
                </a:solidFill>
              </a:rPr>
              <a:t>Business Value</a:t>
            </a:r>
          </a:p>
          <a:p>
            <a:pPr marL="36000" indent="-342900">
              <a:lnSpc>
                <a:spcPct val="200000"/>
              </a:lnSpc>
              <a:spcBef>
                <a:spcPts val="0"/>
              </a:spcBef>
              <a:spcAft>
                <a:spcPts val="0"/>
              </a:spcAft>
              <a:buFont typeface="Arial" panose="020B0604020202020204" pitchFamily="34" charset="0"/>
              <a:buChar char="•"/>
            </a:pPr>
            <a:r>
              <a:rPr lang="en-GB" sz="1600" i="1" dirty="0" smtClean="0">
                <a:solidFill>
                  <a:schemeClr val="tx1">
                    <a:lumMod val="75000"/>
                    <a:lumOff val="25000"/>
                  </a:schemeClr>
                </a:solidFill>
              </a:rPr>
              <a:t>Build and Deployment Automation</a:t>
            </a:r>
          </a:p>
          <a:p>
            <a:pPr marL="36000" indent="-342900">
              <a:lnSpc>
                <a:spcPct val="200000"/>
              </a:lnSpc>
              <a:spcBef>
                <a:spcPts val="0"/>
              </a:spcBef>
              <a:spcAft>
                <a:spcPts val="0"/>
              </a:spcAft>
              <a:buFont typeface="Arial" panose="020B0604020202020204" pitchFamily="34" charset="0"/>
              <a:buChar char="•"/>
            </a:pPr>
            <a:r>
              <a:rPr lang="en-GB" sz="1600" i="1" dirty="0" smtClean="0">
                <a:solidFill>
                  <a:schemeClr val="tx1">
                    <a:lumMod val="75000"/>
                    <a:lumOff val="25000"/>
                  </a:schemeClr>
                </a:solidFill>
              </a:rPr>
              <a:t>Chef Factory </a:t>
            </a:r>
          </a:p>
          <a:p>
            <a:pPr marL="490025" lvl="2" indent="-342900">
              <a:lnSpc>
                <a:spcPct val="200000"/>
              </a:lnSpc>
              <a:spcBef>
                <a:spcPts val="0"/>
              </a:spcBef>
              <a:spcAft>
                <a:spcPts val="0"/>
              </a:spcAft>
              <a:buFont typeface="Wingdings" panose="05000000000000000000" pitchFamily="2" charset="2"/>
              <a:buChar char="Ø"/>
            </a:pPr>
            <a:r>
              <a:rPr lang="en-GB" sz="1200" i="1" dirty="0" smtClean="0">
                <a:solidFill>
                  <a:schemeClr val="tx1">
                    <a:lumMod val="75000"/>
                    <a:lumOff val="25000"/>
                  </a:schemeClr>
                </a:solidFill>
              </a:rPr>
              <a:t>What are the benefits?</a:t>
            </a:r>
          </a:p>
          <a:p>
            <a:pPr marL="490025" lvl="2" indent="-342900">
              <a:lnSpc>
                <a:spcPct val="200000"/>
              </a:lnSpc>
              <a:spcBef>
                <a:spcPts val="0"/>
              </a:spcBef>
              <a:spcAft>
                <a:spcPts val="0"/>
              </a:spcAft>
              <a:buFont typeface="Wingdings" panose="05000000000000000000" pitchFamily="2" charset="2"/>
              <a:buChar char="Ø"/>
            </a:pPr>
            <a:r>
              <a:rPr lang="en-GB" sz="1200" i="1" dirty="0" smtClean="0">
                <a:solidFill>
                  <a:schemeClr val="tx1">
                    <a:lumMod val="75000"/>
                    <a:lumOff val="25000"/>
                  </a:schemeClr>
                </a:solidFill>
              </a:rPr>
              <a:t>What is the Operating Model?</a:t>
            </a:r>
          </a:p>
          <a:p>
            <a:pPr marL="36000" lvl="1" indent="-342900">
              <a:lnSpc>
                <a:spcPct val="200000"/>
              </a:lnSpc>
              <a:spcBef>
                <a:spcPts val="0"/>
              </a:spcBef>
              <a:spcAft>
                <a:spcPts val="0"/>
              </a:spcAft>
              <a:buFont typeface="Arial" panose="020B0604020202020204" pitchFamily="34" charset="0"/>
              <a:buChar char="•"/>
            </a:pPr>
            <a:r>
              <a:rPr lang="en-GB" sz="1600" i="1" dirty="0" smtClean="0">
                <a:solidFill>
                  <a:schemeClr val="tx1">
                    <a:lumMod val="75000"/>
                    <a:lumOff val="25000"/>
                  </a:schemeClr>
                </a:solidFill>
                <a:ea typeface="+mn-ea"/>
                <a:cs typeface="+mn-cs"/>
              </a:rPr>
              <a:t>DCSC Tools </a:t>
            </a:r>
            <a:r>
              <a:rPr lang="en-GB" sz="1600" i="1" dirty="0">
                <a:solidFill>
                  <a:schemeClr val="tx1">
                    <a:lumMod val="75000"/>
                    <a:lumOff val="25000"/>
                  </a:schemeClr>
                </a:solidFill>
                <a:ea typeface="+mn-ea"/>
                <a:cs typeface="+mn-cs"/>
              </a:rPr>
              <a:t>Blueprint</a:t>
            </a:r>
          </a:p>
          <a:p>
            <a:pPr marL="36000" lvl="1" indent="-342900">
              <a:lnSpc>
                <a:spcPct val="200000"/>
              </a:lnSpc>
              <a:spcBef>
                <a:spcPts val="0"/>
              </a:spcBef>
              <a:spcAft>
                <a:spcPts val="0"/>
              </a:spcAft>
              <a:buFont typeface="Arial" panose="020B0604020202020204" pitchFamily="34" charset="0"/>
              <a:buChar char="•"/>
            </a:pPr>
            <a:r>
              <a:rPr lang="en-GB" sz="1600" i="1" dirty="0">
                <a:solidFill>
                  <a:schemeClr val="tx1">
                    <a:lumMod val="75000"/>
                    <a:lumOff val="25000"/>
                  </a:schemeClr>
                </a:solidFill>
                <a:ea typeface="+mn-ea"/>
                <a:cs typeface="+mn-cs"/>
              </a:rPr>
              <a:t>Continuous Delivery </a:t>
            </a:r>
            <a:r>
              <a:rPr lang="en-GB" sz="1600" i="1" dirty="0" smtClean="0">
                <a:solidFill>
                  <a:schemeClr val="tx1">
                    <a:lumMod val="75000"/>
                    <a:lumOff val="25000"/>
                  </a:schemeClr>
                </a:solidFill>
                <a:ea typeface="+mn-ea"/>
                <a:cs typeface="+mn-cs"/>
              </a:rPr>
              <a:t>Pipeline</a:t>
            </a:r>
          </a:p>
          <a:p>
            <a:pPr marL="36000" lvl="1" indent="-342900">
              <a:lnSpc>
                <a:spcPct val="200000"/>
              </a:lnSpc>
              <a:spcBef>
                <a:spcPts val="0"/>
              </a:spcBef>
              <a:spcAft>
                <a:spcPts val="0"/>
              </a:spcAft>
              <a:buFont typeface="Arial" panose="020B0604020202020204" pitchFamily="34" charset="0"/>
              <a:buChar char="•"/>
            </a:pPr>
            <a:r>
              <a:rPr lang="en-GB" sz="1600" i="1" dirty="0" smtClean="0">
                <a:solidFill>
                  <a:schemeClr val="tx1">
                    <a:lumMod val="75000"/>
                    <a:lumOff val="25000"/>
                  </a:schemeClr>
                </a:solidFill>
                <a:ea typeface="+mn-ea"/>
                <a:cs typeface="+mn-cs"/>
              </a:rPr>
              <a:t>What Assets we do already have…</a:t>
            </a:r>
            <a:endParaRPr lang="en-GB" sz="1600" i="1" dirty="0">
              <a:solidFill>
                <a:schemeClr val="tx1">
                  <a:lumMod val="75000"/>
                  <a:lumOff val="25000"/>
                </a:schemeClr>
              </a:solidFill>
              <a:ea typeface="+mn-ea"/>
              <a:cs typeface="+mn-cs"/>
            </a:endParaRPr>
          </a:p>
          <a:p>
            <a:pPr marL="36000" indent="-342900">
              <a:lnSpc>
                <a:spcPct val="200000"/>
              </a:lnSpc>
              <a:spcBef>
                <a:spcPts val="0"/>
              </a:spcBef>
              <a:spcAft>
                <a:spcPts val="0"/>
              </a:spcAft>
              <a:buFont typeface="Arial" panose="020B0604020202020204" pitchFamily="34" charset="0"/>
              <a:buChar char="•"/>
            </a:pPr>
            <a:r>
              <a:rPr lang="en-GB" sz="1600" i="1" dirty="0">
                <a:solidFill>
                  <a:schemeClr val="tx1">
                    <a:lumMod val="75000"/>
                    <a:lumOff val="25000"/>
                  </a:schemeClr>
                </a:solidFill>
              </a:rPr>
              <a:t>Why Accenture</a:t>
            </a:r>
          </a:p>
          <a:p>
            <a:pPr marL="36000" indent="-342900">
              <a:lnSpc>
                <a:spcPct val="200000"/>
              </a:lnSpc>
              <a:spcBef>
                <a:spcPts val="0"/>
              </a:spcBef>
              <a:spcAft>
                <a:spcPts val="0"/>
              </a:spcAft>
              <a:buFont typeface="Arial" panose="020B0604020202020204" pitchFamily="34" charset="0"/>
              <a:buChar char="•"/>
            </a:pPr>
            <a:r>
              <a:rPr lang="en-GB" sz="1600" i="1" dirty="0" smtClean="0">
                <a:solidFill>
                  <a:schemeClr val="tx1">
                    <a:lumMod val="75000"/>
                    <a:lumOff val="25000"/>
                  </a:schemeClr>
                </a:solidFill>
              </a:rPr>
              <a:t>Contact us</a:t>
            </a:r>
          </a:p>
          <a:p>
            <a:pPr marL="36000" indent="-342900">
              <a:lnSpc>
                <a:spcPct val="200000"/>
              </a:lnSpc>
              <a:spcBef>
                <a:spcPts val="0"/>
              </a:spcBef>
              <a:spcAft>
                <a:spcPts val="0"/>
              </a:spcAft>
              <a:buFont typeface="Arial" panose="020B0604020202020204" pitchFamily="34" charset="0"/>
              <a:buChar char="•"/>
            </a:pPr>
            <a:r>
              <a:rPr lang="en-GB" sz="1600" i="1" dirty="0" smtClean="0">
                <a:solidFill>
                  <a:schemeClr val="tx1">
                    <a:lumMod val="75000"/>
                    <a:lumOff val="25000"/>
                  </a:schemeClr>
                </a:solidFill>
              </a:rPr>
              <a:t>Appendix: </a:t>
            </a:r>
            <a:r>
              <a:rPr lang="en-GB" sz="1400" i="1" dirty="0" smtClean="0">
                <a:solidFill>
                  <a:schemeClr val="tx1">
                    <a:lumMod val="75000"/>
                    <a:lumOff val="25000"/>
                  </a:schemeClr>
                </a:solidFill>
              </a:rPr>
              <a:t>Success Stories</a:t>
            </a:r>
          </a:p>
        </p:txBody>
      </p:sp>
      <p:sp>
        <p:nvSpPr>
          <p:cNvPr id="5" name="Title 4"/>
          <p:cNvSpPr>
            <a:spLocks noGrp="1"/>
          </p:cNvSpPr>
          <p:nvPr>
            <p:ph type="title"/>
          </p:nvPr>
        </p:nvSpPr>
        <p:spPr/>
        <p:txBody>
          <a:bodyPr/>
          <a:lstStyle/>
          <a:p>
            <a:r>
              <a:rPr lang="en-GB" dirty="0" smtClean="0"/>
              <a:t>Agenda</a:t>
            </a:r>
            <a:endParaRPr lang="en-GB" dirty="0"/>
          </a:p>
        </p:txBody>
      </p:sp>
    </p:spTree>
    <p:extLst>
      <p:ext uri="{BB962C8B-B14F-4D97-AF65-F5344CB8AC3E}">
        <p14:creationId xmlns:p14="http://schemas.microsoft.com/office/powerpoint/2010/main" val="229781029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dirty="0" smtClean="0"/>
              <a:t>Business Value</a:t>
            </a:r>
            <a:endParaRPr lang="en-GB" dirty="0"/>
          </a:p>
        </p:txBody>
      </p:sp>
      <p:sp>
        <p:nvSpPr>
          <p:cNvPr id="7" name="Rectangle 6"/>
          <p:cNvSpPr/>
          <p:nvPr/>
        </p:nvSpPr>
        <p:spPr>
          <a:xfrm>
            <a:off x="251520" y="1268760"/>
            <a:ext cx="8568952" cy="1107996"/>
          </a:xfrm>
          <a:prstGeom prst="rect">
            <a:avLst/>
          </a:prstGeom>
        </p:spPr>
        <p:txBody>
          <a:bodyPr wrap="square">
            <a:spAutoFit/>
          </a:bodyPr>
          <a:lstStyle/>
          <a:p>
            <a:r>
              <a:rPr lang="en-US" sz="1600" dirty="0" err="1">
                <a:solidFill>
                  <a:schemeClr val="tx1">
                    <a:lumMod val="75000"/>
                    <a:lumOff val="25000"/>
                  </a:schemeClr>
                </a:solidFill>
              </a:rPr>
              <a:t>DevOps</a:t>
            </a:r>
            <a:r>
              <a:rPr lang="en-US" sz="1600" dirty="0">
                <a:solidFill>
                  <a:schemeClr val="tx1">
                    <a:lumMod val="75000"/>
                    <a:lumOff val="25000"/>
                  </a:schemeClr>
                </a:solidFill>
              </a:rPr>
              <a:t> uses automation techniques to optimize collaboration across development and operations, enabling faster, more predictable and more frequent deployments to market. The benefits of using a </a:t>
            </a:r>
            <a:r>
              <a:rPr lang="en-US" sz="1600" dirty="0" err="1">
                <a:solidFill>
                  <a:schemeClr val="tx1">
                    <a:lumMod val="75000"/>
                    <a:lumOff val="25000"/>
                  </a:schemeClr>
                </a:solidFill>
              </a:rPr>
              <a:t>DevOps</a:t>
            </a:r>
            <a:r>
              <a:rPr lang="en-US" sz="1600" dirty="0">
                <a:solidFill>
                  <a:schemeClr val="tx1">
                    <a:lumMod val="75000"/>
                    <a:lumOff val="25000"/>
                  </a:schemeClr>
                </a:solidFill>
              </a:rPr>
              <a:t> approach as are follows:</a:t>
            </a:r>
          </a:p>
          <a:p>
            <a:endParaRPr lang="en-US" dirty="0"/>
          </a:p>
        </p:txBody>
      </p:sp>
      <p:sp>
        <p:nvSpPr>
          <p:cNvPr id="3" name="Rectangle 2"/>
          <p:cNvSpPr/>
          <p:nvPr/>
        </p:nvSpPr>
        <p:spPr>
          <a:xfrm>
            <a:off x="971600" y="2132856"/>
            <a:ext cx="7128792" cy="3785652"/>
          </a:xfrm>
          <a:prstGeom prst="rect">
            <a:avLst/>
          </a:prstGeom>
        </p:spPr>
        <p:txBody>
          <a:bodyPr wrap="square">
            <a:spAutoFit/>
          </a:bodyPr>
          <a:lstStyle/>
          <a:p>
            <a:pPr marL="171450" lvl="1" indent="-171450" eaLnBrk="0" fontAlgn="base" hangingPunct="0">
              <a:buFont typeface="Arial" panose="020B0604020202020204" pitchFamily="34" charset="0"/>
              <a:buChar char="•"/>
              <a:defRPr/>
            </a:pPr>
            <a:r>
              <a:rPr lang="en-US" sz="1600" kern="0" dirty="0">
                <a:solidFill>
                  <a:schemeClr val="tx1">
                    <a:lumMod val="75000"/>
                    <a:lumOff val="25000"/>
                  </a:schemeClr>
                </a:solidFill>
              </a:rPr>
              <a:t>10% - 20% </a:t>
            </a:r>
            <a:r>
              <a:rPr lang="en-US" sz="1600" b="1" kern="0" dirty="0">
                <a:solidFill>
                  <a:schemeClr val="tx1">
                    <a:lumMod val="75000"/>
                    <a:lumOff val="25000"/>
                  </a:schemeClr>
                </a:solidFill>
              </a:rPr>
              <a:t>C</a:t>
            </a:r>
            <a:r>
              <a:rPr lang="en-US" sz="1600" b="1" kern="0" dirty="0" smtClean="0">
                <a:solidFill>
                  <a:schemeClr val="tx1">
                    <a:lumMod val="75000"/>
                    <a:lumOff val="25000"/>
                  </a:schemeClr>
                </a:solidFill>
              </a:rPr>
              <a:t>ost </a:t>
            </a:r>
            <a:r>
              <a:rPr lang="en-US" sz="1600" b="1" kern="0" dirty="0">
                <a:solidFill>
                  <a:schemeClr val="tx1">
                    <a:lumMod val="75000"/>
                    <a:lumOff val="25000"/>
                  </a:schemeClr>
                </a:solidFill>
              </a:rPr>
              <a:t>Reduction across delivery </a:t>
            </a:r>
            <a:r>
              <a:rPr lang="en-US" sz="1600" kern="0" dirty="0">
                <a:solidFill>
                  <a:schemeClr val="tx1">
                    <a:lumMod val="75000"/>
                    <a:lumOff val="25000"/>
                  </a:schemeClr>
                </a:solidFill>
              </a:rPr>
              <a:t>- Reduction in operational cost for running applications and reduction in total cost of change for new development and maintenance</a:t>
            </a:r>
          </a:p>
          <a:p>
            <a:pPr marL="0" lvl="1" eaLnBrk="0" fontAlgn="base" hangingPunct="0">
              <a:defRPr/>
            </a:pPr>
            <a:endParaRPr lang="en-US" sz="1600" kern="0" dirty="0">
              <a:solidFill>
                <a:schemeClr val="tx1">
                  <a:lumMod val="75000"/>
                  <a:lumOff val="25000"/>
                </a:schemeClr>
              </a:solidFill>
            </a:endParaRPr>
          </a:p>
          <a:p>
            <a:pPr marL="171450" lvl="1" indent="-171450" eaLnBrk="0" fontAlgn="base" hangingPunct="0">
              <a:buFont typeface="Arial" panose="020B0604020202020204" pitchFamily="34" charset="0"/>
              <a:buChar char="•"/>
              <a:defRPr/>
            </a:pPr>
            <a:r>
              <a:rPr lang="en-US" sz="1600" kern="0" dirty="0">
                <a:solidFill>
                  <a:schemeClr val="tx1">
                    <a:lumMod val="75000"/>
                    <a:lumOff val="25000"/>
                  </a:schemeClr>
                </a:solidFill>
              </a:rPr>
              <a:t>Up to 50% increase of </a:t>
            </a:r>
            <a:r>
              <a:rPr lang="en-US" sz="1600" b="1" kern="0" dirty="0">
                <a:solidFill>
                  <a:schemeClr val="tx1">
                    <a:lumMod val="75000"/>
                    <a:lumOff val="25000"/>
                  </a:schemeClr>
                </a:solidFill>
              </a:rPr>
              <a:t>Speed to Market </a:t>
            </a:r>
            <a:r>
              <a:rPr lang="en-US" sz="1600" kern="0" dirty="0">
                <a:solidFill>
                  <a:schemeClr val="tx1">
                    <a:lumMod val="75000"/>
                    <a:lumOff val="25000"/>
                  </a:schemeClr>
                </a:solidFill>
              </a:rPr>
              <a:t>– Reduction in software delivery cycle times by streamlining and automating the delivery lifecycle</a:t>
            </a:r>
          </a:p>
          <a:p>
            <a:pPr marL="171450" lvl="1" indent="-171450" eaLnBrk="0" fontAlgn="base" hangingPunct="0">
              <a:buFont typeface="Arial" panose="020B0604020202020204" pitchFamily="34" charset="0"/>
              <a:buChar char="•"/>
              <a:defRPr/>
            </a:pPr>
            <a:endParaRPr lang="en-US" sz="1600" kern="0" dirty="0">
              <a:solidFill>
                <a:schemeClr val="tx1">
                  <a:lumMod val="75000"/>
                  <a:lumOff val="25000"/>
                </a:schemeClr>
              </a:solidFill>
            </a:endParaRPr>
          </a:p>
          <a:p>
            <a:pPr marL="171450" lvl="1" indent="-171450" eaLnBrk="0" fontAlgn="base" hangingPunct="0">
              <a:buFont typeface="Arial" panose="020B0604020202020204" pitchFamily="34" charset="0"/>
              <a:buChar char="•"/>
              <a:defRPr/>
            </a:pPr>
            <a:r>
              <a:rPr lang="en-US" sz="1600" b="1" kern="0" dirty="0">
                <a:solidFill>
                  <a:schemeClr val="tx1">
                    <a:lumMod val="75000"/>
                    <a:lumOff val="25000"/>
                  </a:schemeClr>
                </a:solidFill>
              </a:rPr>
              <a:t>Predictable Quality </a:t>
            </a:r>
            <a:r>
              <a:rPr lang="en-US" sz="1600" kern="0" dirty="0">
                <a:solidFill>
                  <a:schemeClr val="tx1">
                    <a:lumMod val="75000"/>
                    <a:lumOff val="25000"/>
                  </a:schemeClr>
                </a:solidFill>
              </a:rPr>
              <a:t>by reducing defects in later test phases by 30% – via increased level of quality control, predictable processes and earlier detection of problems</a:t>
            </a:r>
          </a:p>
          <a:p>
            <a:pPr marL="171450" lvl="1" indent="-171450" eaLnBrk="0" fontAlgn="base" hangingPunct="0">
              <a:buFont typeface="Arial" panose="020B0604020202020204" pitchFamily="34" charset="0"/>
              <a:buChar char="•"/>
              <a:defRPr/>
            </a:pPr>
            <a:endParaRPr lang="en-US" sz="1600" kern="0" dirty="0">
              <a:solidFill>
                <a:schemeClr val="tx1">
                  <a:lumMod val="75000"/>
                  <a:lumOff val="25000"/>
                </a:schemeClr>
              </a:solidFill>
            </a:endParaRPr>
          </a:p>
          <a:p>
            <a:pPr marL="171450" lvl="1" indent="-171450" eaLnBrk="0" fontAlgn="base" hangingPunct="0">
              <a:buFont typeface="Arial" panose="020B0604020202020204" pitchFamily="34" charset="0"/>
              <a:buChar char="•"/>
              <a:defRPr/>
            </a:pPr>
            <a:r>
              <a:rPr lang="en-US" sz="1600" b="1" kern="0" dirty="0">
                <a:solidFill>
                  <a:schemeClr val="tx1">
                    <a:lumMod val="75000"/>
                    <a:lumOff val="25000"/>
                  </a:schemeClr>
                </a:solidFill>
              </a:rPr>
              <a:t>Fast Feedback </a:t>
            </a:r>
            <a:r>
              <a:rPr lang="en-US" sz="1600" kern="0" dirty="0">
                <a:solidFill>
                  <a:schemeClr val="tx1">
                    <a:lumMod val="75000"/>
                    <a:lumOff val="25000"/>
                  </a:schemeClr>
                </a:solidFill>
              </a:rPr>
              <a:t>– providing new features to the customer within hours to days</a:t>
            </a:r>
          </a:p>
          <a:p>
            <a:pPr marL="171450" lvl="1" indent="-171450" eaLnBrk="0" fontAlgn="base" hangingPunct="0">
              <a:buFont typeface="Arial" panose="020B0604020202020204" pitchFamily="34" charset="0"/>
              <a:buChar char="•"/>
              <a:defRPr/>
            </a:pPr>
            <a:endParaRPr lang="en-US" sz="1600" kern="0" dirty="0">
              <a:solidFill>
                <a:schemeClr val="tx1">
                  <a:lumMod val="75000"/>
                  <a:lumOff val="25000"/>
                </a:schemeClr>
              </a:solidFill>
            </a:endParaRPr>
          </a:p>
          <a:p>
            <a:pPr marL="171450" lvl="1" indent="-171450" eaLnBrk="0" fontAlgn="base" hangingPunct="0">
              <a:buFont typeface="Arial" panose="020B0604020202020204" pitchFamily="34" charset="0"/>
              <a:buChar char="•"/>
              <a:defRPr/>
            </a:pPr>
            <a:r>
              <a:rPr lang="en-US" sz="1600" kern="0" dirty="0">
                <a:solidFill>
                  <a:schemeClr val="tx1">
                    <a:lumMod val="75000"/>
                    <a:lumOff val="25000"/>
                  </a:schemeClr>
                </a:solidFill>
              </a:rPr>
              <a:t>Provides response to rapidly evolving </a:t>
            </a:r>
            <a:r>
              <a:rPr lang="en-US" sz="1600" b="1" kern="0" dirty="0" smtClean="0">
                <a:solidFill>
                  <a:schemeClr val="tx1">
                    <a:lumMod val="75000"/>
                    <a:lumOff val="25000"/>
                  </a:schemeClr>
                </a:solidFill>
              </a:rPr>
              <a:t>Digital world </a:t>
            </a:r>
            <a:endParaRPr lang="en-US" sz="1200" b="1" kern="0" dirty="0">
              <a:solidFill>
                <a:schemeClr val="tx1">
                  <a:lumMod val="75000"/>
                  <a:lumOff val="25000"/>
                </a:schemeClr>
              </a:solidFill>
            </a:endParaRPr>
          </a:p>
        </p:txBody>
      </p:sp>
      <p:sp>
        <p:nvSpPr>
          <p:cNvPr id="2" name="TextBox 1"/>
          <p:cNvSpPr txBox="1"/>
          <p:nvPr/>
        </p:nvSpPr>
        <p:spPr>
          <a:xfrm>
            <a:off x="251520" y="6021288"/>
            <a:ext cx="8280920" cy="584775"/>
          </a:xfrm>
          <a:prstGeom prst="rect">
            <a:avLst/>
          </a:prstGeom>
          <a:noFill/>
        </p:spPr>
        <p:txBody>
          <a:bodyPr wrap="square" rtlCol="0">
            <a:spAutoFit/>
          </a:bodyPr>
          <a:lstStyle/>
          <a:p>
            <a:r>
              <a:rPr lang="en-GB" sz="1600" b="0" dirty="0" smtClean="0">
                <a:solidFill>
                  <a:schemeClr val="tx1">
                    <a:lumMod val="75000"/>
                    <a:lumOff val="25000"/>
                  </a:schemeClr>
                </a:solidFill>
              </a:rPr>
              <a:t>Tools such as Chef allow the</a:t>
            </a:r>
            <a:r>
              <a:rPr lang="en-GB" sz="1600" dirty="0" smtClean="0">
                <a:solidFill>
                  <a:schemeClr val="tx1">
                    <a:lumMod val="75000"/>
                    <a:lumOff val="25000"/>
                  </a:schemeClr>
                </a:solidFill>
              </a:rPr>
              <a:t> </a:t>
            </a:r>
            <a:r>
              <a:rPr lang="en-GB" sz="1600" kern="0" dirty="0" smtClean="0">
                <a:solidFill>
                  <a:schemeClr val="tx1">
                    <a:lumMod val="75000"/>
                    <a:lumOff val="25000"/>
                  </a:schemeClr>
                </a:solidFill>
              </a:rPr>
              <a:t>automation of </a:t>
            </a:r>
            <a:r>
              <a:rPr lang="en-GB" sz="1600" kern="0" dirty="0">
                <a:solidFill>
                  <a:schemeClr val="tx1">
                    <a:lumMod val="75000"/>
                    <a:lumOff val="25000"/>
                  </a:schemeClr>
                </a:solidFill>
              </a:rPr>
              <a:t>the Build and Deployment of the infrastructure and </a:t>
            </a:r>
            <a:r>
              <a:rPr lang="en-GB" sz="1600" kern="0" dirty="0" smtClean="0">
                <a:solidFill>
                  <a:schemeClr val="tx1">
                    <a:lumMod val="75000"/>
                    <a:lumOff val="25000"/>
                  </a:schemeClr>
                </a:solidFill>
              </a:rPr>
              <a:t>applications </a:t>
            </a:r>
            <a:r>
              <a:rPr lang="en-GB" sz="1600" kern="0" dirty="0">
                <a:solidFill>
                  <a:schemeClr val="tx1">
                    <a:lumMod val="75000"/>
                    <a:lumOff val="25000"/>
                  </a:schemeClr>
                </a:solidFill>
              </a:rPr>
              <a:t>in your </a:t>
            </a:r>
            <a:r>
              <a:rPr lang="en-GB" sz="1600" kern="0" dirty="0" smtClean="0">
                <a:solidFill>
                  <a:schemeClr val="tx1">
                    <a:lumMod val="75000"/>
                    <a:lumOff val="25000"/>
                  </a:schemeClr>
                </a:solidFill>
              </a:rPr>
              <a:t>environment, a key part of the </a:t>
            </a:r>
            <a:r>
              <a:rPr lang="en-GB" sz="1600" kern="0" dirty="0" err="1" smtClean="0">
                <a:solidFill>
                  <a:schemeClr val="tx1">
                    <a:lumMod val="75000"/>
                    <a:lumOff val="25000"/>
                  </a:schemeClr>
                </a:solidFill>
              </a:rPr>
              <a:t>DevOps</a:t>
            </a:r>
            <a:r>
              <a:rPr lang="en-GB" sz="1600" kern="0" dirty="0" smtClean="0">
                <a:solidFill>
                  <a:schemeClr val="tx1">
                    <a:lumMod val="75000"/>
                    <a:lumOff val="25000"/>
                  </a:schemeClr>
                </a:solidFill>
              </a:rPr>
              <a:t> process.</a:t>
            </a:r>
            <a:endParaRPr lang="en-GB" sz="1600" b="0" dirty="0" smtClean="0"/>
          </a:p>
        </p:txBody>
      </p:sp>
    </p:spTree>
    <p:extLst>
      <p:ext uri="{BB962C8B-B14F-4D97-AF65-F5344CB8AC3E}">
        <p14:creationId xmlns:p14="http://schemas.microsoft.com/office/powerpoint/2010/main" val="405914874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Build and Deployment Automation</a:t>
            </a:r>
            <a:endParaRPr lang="en-GB" dirty="0"/>
          </a:p>
        </p:txBody>
      </p:sp>
      <p:pic>
        <p:nvPicPr>
          <p:cNvPr id="11266"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1302" r="9819"/>
          <a:stretch/>
        </p:blipFill>
        <p:spPr bwMode="auto">
          <a:xfrm>
            <a:off x="281185" y="3916692"/>
            <a:ext cx="3714751" cy="27526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extBox 10"/>
          <p:cNvSpPr txBox="1"/>
          <p:nvPr/>
        </p:nvSpPr>
        <p:spPr>
          <a:xfrm>
            <a:off x="227929" y="2117174"/>
            <a:ext cx="3695999" cy="1815882"/>
          </a:xfrm>
          <a:prstGeom prst="rect">
            <a:avLst/>
          </a:prstGeom>
          <a:noFill/>
        </p:spPr>
        <p:txBody>
          <a:bodyPr wrap="square" rtlCol="0">
            <a:spAutoFit/>
          </a:bodyPr>
          <a:lstStyle/>
          <a:p>
            <a:pPr marL="0" lvl="1" indent="0">
              <a:buNone/>
            </a:pPr>
            <a:endParaRPr lang="en-GB" sz="1300" dirty="0" smtClean="0"/>
          </a:p>
          <a:p>
            <a:pPr marL="0" lvl="1" indent="0">
              <a:buNone/>
            </a:pPr>
            <a:endParaRPr lang="en-GB" sz="1300" dirty="0" smtClean="0"/>
          </a:p>
          <a:p>
            <a:pPr marL="0" lvl="1" indent="0" algn="just">
              <a:buNone/>
            </a:pPr>
            <a:r>
              <a:rPr lang="en-GB" sz="1400" b="1" i="1" dirty="0" smtClean="0"/>
              <a:t>What does Chef do?</a:t>
            </a:r>
          </a:p>
          <a:p>
            <a:pPr marL="0" lvl="1" algn="just"/>
            <a:r>
              <a:rPr lang="en-GB" sz="1200" dirty="0" smtClean="0">
                <a:solidFill>
                  <a:schemeClr val="tx1">
                    <a:lumMod val="75000"/>
                    <a:lumOff val="25000"/>
                  </a:schemeClr>
                </a:solidFill>
              </a:rPr>
              <a:t>Chef provides a flexible </a:t>
            </a:r>
            <a:r>
              <a:rPr lang="en-GB" sz="1200" b="1" kern="0" dirty="0" smtClean="0">
                <a:solidFill>
                  <a:schemeClr val="tx1">
                    <a:lumMod val="75000"/>
                    <a:lumOff val="25000"/>
                  </a:schemeClr>
                </a:solidFill>
              </a:rPr>
              <a:t>framework </a:t>
            </a:r>
            <a:r>
              <a:rPr lang="en-GB" sz="1200" kern="0" dirty="0" smtClean="0">
                <a:solidFill>
                  <a:schemeClr val="tx1">
                    <a:lumMod val="75000"/>
                    <a:lumOff val="25000"/>
                  </a:schemeClr>
                </a:solidFill>
              </a:rPr>
              <a:t>to enable</a:t>
            </a:r>
            <a:r>
              <a:rPr lang="en-GB" sz="1200" b="1" kern="0" dirty="0" smtClean="0">
                <a:solidFill>
                  <a:schemeClr val="tx1">
                    <a:lumMod val="75000"/>
                    <a:lumOff val="25000"/>
                  </a:schemeClr>
                </a:solidFill>
              </a:rPr>
              <a:t> rapid automated infrastructure and application deployment </a:t>
            </a:r>
            <a:r>
              <a:rPr lang="en-GB" sz="1200" kern="0" dirty="0" smtClean="0">
                <a:solidFill>
                  <a:schemeClr val="tx1">
                    <a:lumMod val="75000"/>
                    <a:lumOff val="25000"/>
                  </a:schemeClr>
                </a:solidFill>
              </a:rPr>
              <a:t>and </a:t>
            </a:r>
            <a:r>
              <a:rPr lang="en-GB" sz="1200" b="1" kern="0" dirty="0" smtClean="0">
                <a:solidFill>
                  <a:schemeClr val="tx1">
                    <a:lumMod val="75000"/>
                    <a:lumOff val="25000"/>
                  </a:schemeClr>
                </a:solidFill>
              </a:rPr>
              <a:t>configuration</a:t>
            </a:r>
            <a:r>
              <a:rPr lang="en-GB" sz="1200" kern="0" dirty="0" smtClean="0">
                <a:solidFill>
                  <a:schemeClr val="tx1">
                    <a:lumMod val="75000"/>
                    <a:lumOff val="25000"/>
                  </a:schemeClr>
                </a:solidFill>
              </a:rPr>
              <a:t> into </a:t>
            </a:r>
            <a:r>
              <a:rPr lang="en-GB" sz="1200" b="1" kern="0" dirty="0" smtClean="0">
                <a:solidFill>
                  <a:schemeClr val="tx1">
                    <a:lumMod val="75000"/>
                    <a:lumOff val="25000"/>
                  </a:schemeClr>
                </a:solidFill>
              </a:rPr>
              <a:t>physical, virtual, or cloud locations</a:t>
            </a:r>
            <a:r>
              <a:rPr lang="en-GB" sz="1200" dirty="0" smtClean="0">
                <a:solidFill>
                  <a:schemeClr val="tx1">
                    <a:lumMod val="75000"/>
                    <a:lumOff val="25000"/>
                  </a:schemeClr>
                </a:solidFill>
              </a:rPr>
              <a:t>, consistently and at scale.  This enables delivery of programmatic </a:t>
            </a:r>
            <a:r>
              <a:rPr lang="en-GB" sz="1200" b="1" kern="0" dirty="0" smtClean="0">
                <a:solidFill>
                  <a:schemeClr val="tx1">
                    <a:lumMod val="75000"/>
                    <a:lumOff val="25000"/>
                  </a:schemeClr>
                </a:solidFill>
              </a:rPr>
              <a:t>Infrastructure as a Service (</a:t>
            </a:r>
            <a:r>
              <a:rPr lang="en-GB" sz="1200" b="1" kern="0" dirty="0" err="1" smtClean="0">
                <a:solidFill>
                  <a:schemeClr val="tx1">
                    <a:lumMod val="75000"/>
                    <a:lumOff val="25000"/>
                  </a:schemeClr>
                </a:solidFill>
              </a:rPr>
              <a:t>IaaS</a:t>
            </a:r>
            <a:r>
              <a:rPr lang="en-GB" sz="1200" b="1" kern="0" dirty="0" smtClean="0">
                <a:solidFill>
                  <a:schemeClr val="tx1">
                    <a:lumMod val="75000"/>
                    <a:lumOff val="25000"/>
                  </a:schemeClr>
                </a:solidFill>
              </a:rPr>
              <a:t>).  </a:t>
            </a:r>
            <a:endParaRPr lang="en-GB" sz="1200" dirty="0" smtClean="0">
              <a:solidFill>
                <a:schemeClr val="tx1">
                  <a:lumMod val="75000"/>
                  <a:lumOff val="25000"/>
                </a:schemeClr>
              </a:solidFill>
            </a:endParaRPr>
          </a:p>
        </p:txBody>
      </p:sp>
      <p:pic>
        <p:nvPicPr>
          <p:cNvPr id="12" name="Content Placeholder 4" descr="chef-basics-cookbook.png"/>
          <p:cNvPicPr>
            <a:picLocks noChangeAspect="1"/>
          </p:cNvPicPr>
          <p:nvPr/>
        </p:nvPicPr>
        <p:blipFill>
          <a:blip r:embed="rId3" cstate="print"/>
          <a:stretch>
            <a:fillRect/>
          </a:stretch>
        </p:blipFill>
        <p:spPr>
          <a:xfrm>
            <a:off x="3995936" y="1646510"/>
            <a:ext cx="5040560" cy="1854498"/>
          </a:xfrm>
          <a:prstGeom prst="rect">
            <a:avLst/>
          </a:prstGeom>
        </p:spPr>
      </p:pic>
      <p:sp>
        <p:nvSpPr>
          <p:cNvPr id="13" name="TextBox 12"/>
          <p:cNvSpPr txBox="1"/>
          <p:nvPr/>
        </p:nvSpPr>
        <p:spPr>
          <a:xfrm>
            <a:off x="240417" y="1689587"/>
            <a:ext cx="3683511" cy="1231106"/>
          </a:xfrm>
          <a:prstGeom prst="rect">
            <a:avLst/>
          </a:prstGeom>
          <a:noFill/>
        </p:spPr>
        <p:txBody>
          <a:bodyPr wrap="square" rtlCol="0">
            <a:spAutoFit/>
          </a:bodyPr>
          <a:lstStyle/>
          <a:p>
            <a:pPr marL="0" lvl="1" indent="0">
              <a:buNone/>
            </a:pPr>
            <a:r>
              <a:rPr lang="en-GB" sz="1400" b="1" i="1" dirty="0"/>
              <a:t>What is Chef?</a:t>
            </a:r>
          </a:p>
          <a:p>
            <a:pPr marL="0" lvl="1" indent="0">
              <a:buNone/>
            </a:pPr>
            <a:r>
              <a:rPr lang="en-GB" sz="1200" b="1" kern="0" dirty="0">
                <a:solidFill>
                  <a:schemeClr val="tx1">
                    <a:lumMod val="75000"/>
                    <a:lumOff val="25000"/>
                  </a:schemeClr>
                </a:solidFill>
              </a:rPr>
              <a:t>Chef</a:t>
            </a:r>
            <a:r>
              <a:rPr lang="en-GB" sz="1200" dirty="0">
                <a:solidFill>
                  <a:schemeClr val="tx1">
                    <a:lumMod val="75000"/>
                    <a:lumOff val="25000"/>
                  </a:schemeClr>
                </a:solidFill>
              </a:rPr>
              <a:t> is an </a:t>
            </a:r>
            <a:r>
              <a:rPr lang="en-GB" sz="1200" b="1" kern="0" dirty="0">
                <a:solidFill>
                  <a:schemeClr val="tx1">
                    <a:lumMod val="75000"/>
                    <a:lumOff val="25000"/>
                  </a:schemeClr>
                </a:solidFill>
              </a:rPr>
              <a:t>open-source automation </a:t>
            </a:r>
            <a:r>
              <a:rPr lang="en-GB" sz="1200" b="1" kern="0" dirty="0" smtClean="0">
                <a:solidFill>
                  <a:schemeClr val="tx1">
                    <a:lumMod val="75000"/>
                    <a:lumOff val="25000"/>
                  </a:schemeClr>
                </a:solidFill>
              </a:rPr>
              <a:t>framework, </a:t>
            </a:r>
            <a:r>
              <a:rPr lang="en-GB" sz="1200" kern="0" dirty="0" smtClean="0">
                <a:solidFill>
                  <a:schemeClr val="tx1">
                    <a:lumMod val="75000"/>
                    <a:lumOff val="25000"/>
                  </a:schemeClr>
                </a:solidFill>
              </a:rPr>
              <a:t>that </a:t>
            </a:r>
            <a:r>
              <a:rPr lang="en-GB" sz="1200" kern="0" dirty="0">
                <a:solidFill>
                  <a:schemeClr val="tx1">
                    <a:lumMod val="75000"/>
                    <a:lumOff val="25000"/>
                  </a:schemeClr>
                </a:solidFill>
              </a:rPr>
              <a:t>uses</a:t>
            </a:r>
            <a:r>
              <a:rPr lang="en-GB" sz="1200" b="1" kern="0" dirty="0">
                <a:solidFill>
                  <a:schemeClr val="tx1">
                    <a:lumMod val="75000"/>
                    <a:lumOff val="25000"/>
                  </a:schemeClr>
                </a:solidFill>
              </a:rPr>
              <a:t> ‘cookbooks’ </a:t>
            </a:r>
            <a:r>
              <a:rPr lang="en-GB" sz="1200" kern="0" dirty="0">
                <a:solidFill>
                  <a:schemeClr val="tx1">
                    <a:lumMod val="75000"/>
                    <a:lumOff val="25000"/>
                  </a:schemeClr>
                </a:solidFill>
              </a:rPr>
              <a:t>to describe </a:t>
            </a:r>
            <a:r>
              <a:rPr lang="en-GB" sz="1200" b="1" kern="0" dirty="0">
                <a:solidFill>
                  <a:schemeClr val="tx1">
                    <a:lumMod val="75000"/>
                    <a:lumOff val="25000"/>
                  </a:schemeClr>
                </a:solidFill>
              </a:rPr>
              <a:t>infrastructure as code. </a:t>
            </a:r>
            <a:endParaRPr lang="en-GB" sz="1200" dirty="0">
              <a:solidFill>
                <a:schemeClr val="tx1">
                  <a:lumMod val="75000"/>
                  <a:lumOff val="25000"/>
                </a:schemeClr>
              </a:solidFill>
            </a:endParaRPr>
          </a:p>
          <a:p>
            <a:endParaRPr lang="en-GB" sz="2400" b="0" dirty="0" smtClean="0"/>
          </a:p>
        </p:txBody>
      </p:sp>
      <p:sp>
        <p:nvSpPr>
          <p:cNvPr id="14" name="Rectangle 13"/>
          <p:cNvSpPr/>
          <p:nvPr/>
        </p:nvSpPr>
        <p:spPr>
          <a:xfrm>
            <a:off x="4177369" y="3732128"/>
            <a:ext cx="4571095" cy="1785104"/>
          </a:xfrm>
          <a:prstGeom prst="rect">
            <a:avLst/>
          </a:prstGeom>
        </p:spPr>
        <p:txBody>
          <a:bodyPr wrap="square">
            <a:spAutoFit/>
          </a:bodyPr>
          <a:lstStyle/>
          <a:p>
            <a:pPr marL="0" lvl="1"/>
            <a:r>
              <a:rPr lang="en-GB" sz="1400" b="1" i="1" dirty="0"/>
              <a:t>How does Chef work?</a:t>
            </a:r>
          </a:p>
          <a:p>
            <a:pPr marL="180975" lvl="1" algn="just"/>
            <a:r>
              <a:rPr lang="en-GB" sz="1200" dirty="0">
                <a:solidFill>
                  <a:schemeClr val="tx1">
                    <a:lumMod val="75000"/>
                    <a:lumOff val="25000"/>
                  </a:schemeClr>
                </a:solidFill>
              </a:rPr>
              <a:t>Chef utilises defined </a:t>
            </a:r>
            <a:r>
              <a:rPr lang="en-GB" sz="1200" b="1" kern="0" dirty="0">
                <a:solidFill>
                  <a:schemeClr val="tx1">
                    <a:lumMod val="75000"/>
                    <a:lumOff val="25000"/>
                  </a:schemeClr>
                </a:solidFill>
              </a:rPr>
              <a:t>‘cookbooks’</a:t>
            </a:r>
            <a:r>
              <a:rPr lang="en-GB" sz="1200" dirty="0">
                <a:solidFill>
                  <a:schemeClr val="tx1">
                    <a:lumMod val="75000"/>
                    <a:lumOff val="25000"/>
                  </a:schemeClr>
                </a:solidFill>
              </a:rPr>
              <a:t> (collections of </a:t>
            </a:r>
            <a:r>
              <a:rPr lang="en-GB" sz="1200" b="1" kern="0" dirty="0">
                <a:solidFill>
                  <a:schemeClr val="tx1">
                    <a:lumMod val="75000"/>
                    <a:lumOff val="25000"/>
                  </a:schemeClr>
                </a:solidFill>
              </a:rPr>
              <a:t>‘recipes’</a:t>
            </a:r>
            <a:r>
              <a:rPr lang="en-GB" sz="1200" dirty="0">
                <a:solidFill>
                  <a:schemeClr val="tx1">
                    <a:lumMod val="75000"/>
                    <a:lumOff val="25000"/>
                  </a:schemeClr>
                </a:solidFill>
              </a:rPr>
              <a:t>), that compose the source </a:t>
            </a:r>
            <a:r>
              <a:rPr lang="en-GB" sz="1200" dirty="0" err="1" smtClean="0">
                <a:solidFill>
                  <a:schemeClr val="tx1">
                    <a:lumMod val="75000"/>
                    <a:lumOff val="25000"/>
                  </a:schemeClr>
                </a:solidFill>
              </a:rPr>
              <a:t>code,and</a:t>
            </a:r>
            <a:r>
              <a:rPr lang="en-GB" sz="1200" dirty="0" smtClean="0">
                <a:solidFill>
                  <a:schemeClr val="tx1">
                    <a:lumMod val="75000"/>
                    <a:lumOff val="25000"/>
                  </a:schemeClr>
                </a:solidFill>
              </a:rPr>
              <a:t> </a:t>
            </a:r>
            <a:r>
              <a:rPr lang="en-GB" sz="1200" dirty="0">
                <a:solidFill>
                  <a:schemeClr val="tx1">
                    <a:lumMod val="75000"/>
                    <a:lumOff val="25000"/>
                  </a:schemeClr>
                </a:solidFill>
              </a:rPr>
              <a:t>applies the specified scripts and configuration to achieve the target deployment state. </a:t>
            </a:r>
            <a:endParaRPr lang="en-GB" sz="1200" dirty="0" smtClean="0">
              <a:solidFill>
                <a:schemeClr val="tx1">
                  <a:lumMod val="75000"/>
                  <a:lumOff val="25000"/>
                </a:schemeClr>
              </a:solidFill>
            </a:endParaRPr>
          </a:p>
          <a:p>
            <a:pPr marL="0" lvl="1" algn="just"/>
            <a:endParaRPr lang="en-GB" sz="1200" dirty="0" smtClean="0">
              <a:solidFill>
                <a:schemeClr val="tx1">
                  <a:lumMod val="75000"/>
                  <a:lumOff val="25000"/>
                </a:schemeClr>
              </a:solidFill>
            </a:endParaRPr>
          </a:p>
          <a:p>
            <a:pPr marL="180975" lvl="1" algn="just"/>
            <a:r>
              <a:rPr lang="en-GB" sz="1200" dirty="0" smtClean="0">
                <a:solidFill>
                  <a:schemeClr val="tx1">
                    <a:lumMod val="75000"/>
                    <a:lumOff val="25000"/>
                  </a:schemeClr>
                </a:solidFill>
              </a:rPr>
              <a:t>Chef </a:t>
            </a:r>
            <a:r>
              <a:rPr lang="en-GB" sz="1200" dirty="0">
                <a:solidFill>
                  <a:schemeClr val="tx1">
                    <a:lumMod val="75000"/>
                    <a:lumOff val="25000"/>
                  </a:schemeClr>
                </a:solidFill>
              </a:rPr>
              <a:t>provides a </a:t>
            </a:r>
            <a:r>
              <a:rPr lang="en-GB" sz="1200" b="1" kern="0" dirty="0">
                <a:solidFill>
                  <a:schemeClr val="tx1">
                    <a:lumMod val="75000"/>
                    <a:lumOff val="25000"/>
                  </a:schemeClr>
                </a:solidFill>
              </a:rPr>
              <a:t>flexible </a:t>
            </a:r>
            <a:r>
              <a:rPr lang="en-GB" sz="1200" kern="0" dirty="0">
                <a:solidFill>
                  <a:schemeClr val="tx1">
                    <a:lumMod val="75000"/>
                    <a:lumOff val="25000"/>
                  </a:schemeClr>
                </a:solidFill>
              </a:rPr>
              <a:t>model for </a:t>
            </a:r>
            <a:r>
              <a:rPr lang="en-GB" sz="1200" b="1" kern="0" dirty="0">
                <a:solidFill>
                  <a:schemeClr val="tx1">
                    <a:lumMod val="75000"/>
                    <a:lumOff val="25000"/>
                  </a:schemeClr>
                </a:solidFill>
              </a:rPr>
              <a:t>reuse.  </a:t>
            </a:r>
          </a:p>
          <a:p>
            <a:pPr marL="0" lvl="1" algn="just"/>
            <a:endParaRPr lang="en-GB" sz="1200" b="1" kern="0" dirty="0" smtClean="0">
              <a:solidFill>
                <a:schemeClr val="tx1">
                  <a:lumMod val="75000"/>
                  <a:lumOff val="25000"/>
                </a:schemeClr>
              </a:solidFill>
            </a:endParaRPr>
          </a:p>
          <a:p>
            <a:pPr marL="180975" lvl="1" algn="just"/>
            <a:r>
              <a:rPr lang="en-GB" sz="1200" b="1" kern="0" dirty="0" smtClean="0">
                <a:solidFill>
                  <a:schemeClr val="tx1">
                    <a:lumMod val="75000"/>
                    <a:lumOff val="25000"/>
                  </a:schemeClr>
                </a:solidFill>
              </a:rPr>
              <a:t>Infrastructure </a:t>
            </a:r>
            <a:r>
              <a:rPr lang="en-GB" sz="1200" b="1" kern="0" dirty="0">
                <a:solidFill>
                  <a:schemeClr val="tx1">
                    <a:lumMod val="75000"/>
                    <a:lumOff val="25000"/>
                  </a:schemeClr>
                </a:solidFill>
              </a:rPr>
              <a:t>deployments </a:t>
            </a:r>
            <a:r>
              <a:rPr lang="en-GB" sz="1200" dirty="0">
                <a:solidFill>
                  <a:schemeClr val="tx1">
                    <a:lumMod val="75000"/>
                    <a:lumOff val="25000"/>
                  </a:schemeClr>
                </a:solidFill>
              </a:rPr>
              <a:t>and configuration </a:t>
            </a:r>
            <a:r>
              <a:rPr lang="en-GB" sz="1200" dirty="0" smtClean="0">
                <a:solidFill>
                  <a:schemeClr val="tx1">
                    <a:lumMod val="75000"/>
                    <a:lumOff val="25000"/>
                  </a:schemeClr>
                </a:solidFill>
              </a:rPr>
              <a:t>are:</a:t>
            </a:r>
            <a:endParaRPr lang="en-GB" sz="1200" dirty="0">
              <a:solidFill>
                <a:schemeClr val="tx1">
                  <a:lumMod val="75000"/>
                  <a:lumOff val="25000"/>
                </a:schemeClr>
              </a:solidFill>
            </a:endParaRPr>
          </a:p>
        </p:txBody>
      </p:sp>
      <p:sp>
        <p:nvSpPr>
          <p:cNvPr id="16" name="Rectangle 15"/>
          <p:cNvSpPr/>
          <p:nvPr/>
        </p:nvSpPr>
        <p:spPr>
          <a:xfrm>
            <a:off x="5652120" y="5541039"/>
            <a:ext cx="1791816" cy="1200329"/>
          </a:xfrm>
          <a:prstGeom prst="rect">
            <a:avLst/>
          </a:prstGeom>
        </p:spPr>
        <p:txBody>
          <a:bodyPr wrap="square">
            <a:spAutoFit/>
          </a:bodyPr>
          <a:lstStyle/>
          <a:p>
            <a:pPr marL="171450" lvl="1" indent="-171450" algn="just">
              <a:buFont typeface="Wingdings" panose="05000000000000000000" pitchFamily="2" charset="2"/>
              <a:buChar char="ü"/>
            </a:pPr>
            <a:r>
              <a:rPr lang="en-GB" sz="1200" kern="0" dirty="0" smtClean="0">
                <a:solidFill>
                  <a:schemeClr val="tx1">
                    <a:lumMod val="75000"/>
                    <a:lumOff val="25000"/>
                  </a:schemeClr>
                </a:solidFill>
              </a:rPr>
              <a:t>Programmable</a:t>
            </a:r>
          </a:p>
          <a:p>
            <a:pPr marL="171450" lvl="1" indent="-171450" algn="just">
              <a:buFont typeface="Wingdings" panose="05000000000000000000" pitchFamily="2" charset="2"/>
              <a:buChar char="ü"/>
            </a:pPr>
            <a:r>
              <a:rPr lang="en-GB" sz="1200" kern="0" dirty="0" err="1" smtClean="0">
                <a:solidFill>
                  <a:schemeClr val="tx1">
                    <a:lumMod val="75000"/>
                    <a:lumOff val="25000"/>
                  </a:schemeClr>
                </a:solidFill>
              </a:rPr>
              <a:t>Versionable</a:t>
            </a:r>
            <a:endParaRPr lang="en-GB" sz="1200" kern="0" dirty="0">
              <a:solidFill>
                <a:schemeClr val="tx1">
                  <a:lumMod val="75000"/>
                  <a:lumOff val="25000"/>
                </a:schemeClr>
              </a:solidFill>
            </a:endParaRPr>
          </a:p>
          <a:p>
            <a:pPr marL="171450" lvl="1" indent="-171450" algn="just">
              <a:buFont typeface="Wingdings" panose="05000000000000000000" pitchFamily="2" charset="2"/>
              <a:buChar char="ü"/>
            </a:pPr>
            <a:r>
              <a:rPr lang="en-GB" sz="1200" kern="0" dirty="0" smtClean="0">
                <a:solidFill>
                  <a:schemeClr val="tx1">
                    <a:lumMod val="75000"/>
                    <a:lumOff val="25000"/>
                  </a:schemeClr>
                </a:solidFill>
              </a:rPr>
              <a:t>Deployable </a:t>
            </a:r>
          </a:p>
          <a:p>
            <a:pPr marL="171450" lvl="1" indent="-171450" algn="just">
              <a:buFont typeface="Wingdings" panose="05000000000000000000" pitchFamily="2" charset="2"/>
              <a:buChar char="ü"/>
            </a:pPr>
            <a:r>
              <a:rPr lang="en-GB" sz="1200" kern="0" dirty="0">
                <a:solidFill>
                  <a:schemeClr val="tx1">
                    <a:lumMod val="75000"/>
                    <a:lumOff val="25000"/>
                  </a:schemeClr>
                </a:solidFill>
              </a:rPr>
              <a:t>T</a:t>
            </a:r>
            <a:r>
              <a:rPr lang="en-GB" sz="1200" kern="0" dirty="0" smtClean="0">
                <a:solidFill>
                  <a:schemeClr val="tx1">
                    <a:lumMod val="75000"/>
                    <a:lumOff val="25000"/>
                  </a:schemeClr>
                </a:solidFill>
              </a:rPr>
              <a:t>estable </a:t>
            </a:r>
          </a:p>
          <a:p>
            <a:pPr marL="171450" lvl="1" indent="-171450" algn="just">
              <a:buFont typeface="Wingdings" panose="05000000000000000000" pitchFamily="2" charset="2"/>
              <a:buChar char="ü"/>
            </a:pPr>
            <a:r>
              <a:rPr lang="en-GB" sz="1200" kern="0" dirty="0">
                <a:solidFill>
                  <a:schemeClr val="tx1">
                    <a:lumMod val="75000"/>
                    <a:lumOff val="25000"/>
                  </a:schemeClr>
                </a:solidFill>
              </a:rPr>
              <a:t>R</a:t>
            </a:r>
            <a:r>
              <a:rPr lang="en-GB" sz="1200" kern="0" dirty="0" smtClean="0">
                <a:solidFill>
                  <a:schemeClr val="tx1">
                    <a:lumMod val="75000"/>
                    <a:lumOff val="25000"/>
                  </a:schemeClr>
                </a:solidFill>
              </a:rPr>
              <a:t>epeatable</a:t>
            </a:r>
          </a:p>
          <a:p>
            <a:pPr marL="171450" lvl="1" indent="-171450" algn="just">
              <a:buFont typeface="Wingdings" panose="05000000000000000000" pitchFamily="2" charset="2"/>
              <a:buChar char="ü"/>
            </a:pPr>
            <a:r>
              <a:rPr lang="en-GB" sz="1200" kern="0" dirty="0" smtClean="0">
                <a:solidFill>
                  <a:schemeClr val="tx1">
                    <a:lumMod val="75000"/>
                    <a:lumOff val="25000"/>
                  </a:schemeClr>
                </a:solidFill>
              </a:rPr>
              <a:t>Consistent</a:t>
            </a:r>
            <a:endParaRPr lang="en-GB" sz="1200" dirty="0">
              <a:solidFill>
                <a:schemeClr val="tx1">
                  <a:lumMod val="75000"/>
                  <a:lumOff val="25000"/>
                </a:schemeClr>
              </a:solidFill>
            </a:endParaRPr>
          </a:p>
        </p:txBody>
      </p:sp>
      <p:sp>
        <p:nvSpPr>
          <p:cNvPr id="10" name="TextBox 9"/>
          <p:cNvSpPr txBox="1"/>
          <p:nvPr/>
        </p:nvSpPr>
        <p:spPr>
          <a:xfrm>
            <a:off x="240417" y="1117774"/>
            <a:ext cx="8508047" cy="523220"/>
          </a:xfrm>
          <a:prstGeom prst="rect">
            <a:avLst/>
          </a:prstGeom>
          <a:noFill/>
        </p:spPr>
        <p:txBody>
          <a:bodyPr wrap="square" rtlCol="0">
            <a:spAutoFit/>
          </a:bodyPr>
          <a:lstStyle/>
          <a:p>
            <a:pPr marL="0" lvl="1" indent="0">
              <a:buNone/>
            </a:pPr>
            <a:r>
              <a:rPr lang="en-GB" sz="1400" b="1" i="1" dirty="0" smtClean="0"/>
              <a:t>Tools such as Chef, </a:t>
            </a:r>
            <a:r>
              <a:rPr lang="en-GB" sz="1400" b="1" i="1" dirty="0" err="1" smtClean="0"/>
              <a:t>Docker</a:t>
            </a:r>
            <a:r>
              <a:rPr lang="en-GB" sz="1400" b="1" i="1" dirty="0" smtClean="0"/>
              <a:t>, Puppet, </a:t>
            </a:r>
            <a:r>
              <a:rPr lang="en-GB" sz="1400" b="1" i="1" dirty="0" err="1" smtClean="0"/>
              <a:t>Ansiable</a:t>
            </a:r>
            <a:r>
              <a:rPr lang="en-GB" sz="1400" b="1" i="1" dirty="0" smtClean="0"/>
              <a:t> or Salt are Open Source Configuration Management Software that enable Build and Deploy automation</a:t>
            </a:r>
            <a:endParaRPr lang="en-GB" sz="2400" b="0" dirty="0" smtClean="0"/>
          </a:p>
        </p:txBody>
      </p:sp>
    </p:spTree>
    <p:extLst>
      <p:ext uri="{BB962C8B-B14F-4D97-AF65-F5344CB8AC3E}">
        <p14:creationId xmlns:p14="http://schemas.microsoft.com/office/powerpoint/2010/main" val="255734457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auto">
          <a:xfrm>
            <a:off x="1331640" y="2780928"/>
            <a:ext cx="3744499" cy="2880320"/>
          </a:xfrm>
          <a:prstGeom prst="ellipse">
            <a:avLst/>
          </a:prstGeom>
          <a:solidFill>
            <a:schemeClr val="bg2">
              <a:lumMod val="95000"/>
            </a:schemeClr>
          </a:solidFill>
          <a:ln w="9525" cap="flat" cmpd="sng" algn="ctr">
            <a:noFill/>
            <a:prstDash val="solid"/>
            <a:round/>
            <a:headEnd type="none" w="med" len="med"/>
            <a:tailEnd type="none" w="med" len="med"/>
          </a:ln>
          <a:effectLst>
            <a:softEdge rad="12700"/>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GB" sz="3200" b="1" i="0" u="none" strike="noStrike" cap="none" normalizeH="0" baseline="0" smtClean="0">
              <a:ln>
                <a:noFill/>
              </a:ln>
              <a:solidFill>
                <a:schemeClr val="tx1"/>
              </a:solidFill>
              <a:effectLst/>
              <a:latin typeface="Arial" charset="0"/>
            </a:endParaRPr>
          </a:p>
        </p:txBody>
      </p:sp>
      <p:sp>
        <p:nvSpPr>
          <p:cNvPr id="6" name="Rounded Rectangle 5"/>
          <p:cNvSpPr/>
          <p:nvPr/>
        </p:nvSpPr>
        <p:spPr bwMode="auto">
          <a:xfrm>
            <a:off x="4716016" y="2204864"/>
            <a:ext cx="4320480" cy="4323382"/>
          </a:xfrm>
          <a:prstGeom prst="roundRect">
            <a:avLst/>
          </a:prstGeom>
          <a:solidFill>
            <a:schemeClr val="accent1">
              <a:lumMod val="40000"/>
              <a:lumOff val="60000"/>
            </a:schemeClr>
          </a:solidFill>
          <a:ln w="92075" cap="flat" cmpd="tri"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GB" sz="3200" b="1" i="0" u="none" strike="noStrike" cap="none" normalizeH="0" baseline="0" smtClean="0">
              <a:ln>
                <a:noFill/>
              </a:ln>
              <a:solidFill>
                <a:schemeClr val="tx1"/>
              </a:solidFill>
              <a:effectLst/>
              <a:latin typeface="Arial" charset="0"/>
            </a:endParaRPr>
          </a:p>
        </p:txBody>
      </p:sp>
      <p:sp>
        <p:nvSpPr>
          <p:cNvPr id="115720" name="Rectangle 8"/>
          <p:cNvSpPr>
            <a:spLocks noGrp="1" noChangeArrowheads="1"/>
          </p:cNvSpPr>
          <p:nvPr>
            <p:ph type="title"/>
          </p:nvPr>
        </p:nvSpPr>
        <p:spPr/>
        <p:txBody>
          <a:bodyPr/>
          <a:lstStyle/>
          <a:p>
            <a:r>
              <a:rPr lang="en-GB" dirty="0" smtClean="0"/>
              <a:t>Chef Factory - What are the benefits?</a:t>
            </a:r>
            <a:endParaRPr lang="en-GB" dirty="0"/>
          </a:p>
        </p:txBody>
      </p:sp>
      <p:sp>
        <p:nvSpPr>
          <p:cNvPr id="10" name="Freeform 3"/>
          <p:cNvSpPr>
            <a:spLocks/>
          </p:cNvSpPr>
          <p:nvPr/>
        </p:nvSpPr>
        <p:spPr bwMode="auto">
          <a:xfrm>
            <a:off x="1600986" y="4615848"/>
            <a:ext cx="3237645" cy="1259044"/>
          </a:xfrm>
          <a:custGeom>
            <a:avLst/>
            <a:gdLst/>
            <a:ahLst/>
            <a:cxnLst>
              <a:cxn ang="0">
                <a:pos x="1503" y="275"/>
              </a:cxn>
              <a:cxn ang="0">
                <a:pos x="1503" y="635"/>
              </a:cxn>
              <a:cxn ang="0">
                <a:pos x="1827" y="0"/>
              </a:cxn>
              <a:cxn ang="0">
                <a:pos x="0" y="0"/>
              </a:cxn>
              <a:cxn ang="0">
                <a:pos x="0" y="275"/>
              </a:cxn>
              <a:cxn ang="0">
                <a:pos x="1503" y="275"/>
              </a:cxn>
            </a:cxnLst>
            <a:rect l="0" t="0" r="r" b="b"/>
            <a:pathLst>
              <a:path w="1828" h="636">
                <a:moveTo>
                  <a:pt x="1503" y="275"/>
                </a:moveTo>
                <a:lnTo>
                  <a:pt x="1503" y="635"/>
                </a:lnTo>
                <a:lnTo>
                  <a:pt x="1827" y="0"/>
                </a:lnTo>
                <a:lnTo>
                  <a:pt x="0" y="0"/>
                </a:lnTo>
                <a:lnTo>
                  <a:pt x="0" y="275"/>
                </a:lnTo>
                <a:lnTo>
                  <a:pt x="1503" y="275"/>
                </a:lnTo>
              </a:path>
            </a:pathLst>
          </a:custGeom>
          <a:gradFill flip="none" rotWithShape="1">
            <a:gsLst>
              <a:gs pos="0">
                <a:schemeClr val="accent1">
                  <a:lumMod val="60000"/>
                  <a:lumOff val="40000"/>
                  <a:shade val="30000"/>
                  <a:satMod val="115000"/>
                </a:schemeClr>
              </a:gs>
              <a:gs pos="50000">
                <a:schemeClr val="accent1">
                  <a:lumMod val="60000"/>
                  <a:lumOff val="40000"/>
                  <a:shade val="67500"/>
                  <a:satMod val="115000"/>
                </a:schemeClr>
              </a:gs>
              <a:gs pos="100000">
                <a:schemeClr val="accent1">
                  <a:lumMod val="60000"/>
                  <a:lumOff val="40000"/>
                  <a:shade val="100000"/>
                  <a:satMod val="115000"/>
                </a:schemeClr>
              </a:gs>
            </a:gsLst>
            <a:lin ang="8100000" scaled="1"/>
            <a:tileRect/>
          </a:gradFill>
          <a:ln w="6350" cap="rnd" cmpd="sng">
            <a:noFill/>
            <a:prstDash val="solid"/>
            <a:round/>
            <a:headEnd/>
            <a:tailEnd/>
          </a:ln>
          <a:effectLst/>
        </p:spPr>
        <p:txBody>
          <a:bodyPr lIns="72000" tIns="72000" rIns="72000" bIns="72000"/>
          <a:lstStyle/>
          <a:p>
            <a:endParaRPr lang="en-GB" b="1" dirty="0"/>
          </a:p>
        </p:txBody>
      </p:sp>
      <p:sp>
        <p:nvSpPr>
          <p:cNvPr id="5" name="TextBox 4"/>
          <p:cNvSpPr txBox="1"/>
          <p:nvPr/>
        </p:nvSpPr>
        <p:spPr>
          <a:xfrm>
            <a:off x="1619672" y="4709342"/>
            <a:ext cx="3528392" cy="338554"/>
          </a:xfrm>
          <a:prstGeom prst="rect">
            <a:avLst/>
          </a:prstGeom>
          <a:noFill/>
        </p:spPr>
        <p:txBody>
          <a:bodyPr wrap="square" rtlCol="0">
            <a:spAutoFit/>
          </a:bodyPr>
          <a:lstStyle/>
          <a:p>
            <a:r>
              <a:rPr lang="en-GB" sz="1550" b="1" i="1" dirty="0">
                <a:solidFill>
                  <a:schemeClr val="bg1"/>
                </a:solidFill>
              </a:rPr>
              <a:t>Accenture Tools in the Cloud</a:t>
            </a:r>
          </a:p>
        </p:txBody>
      </p:sp>
      <p:sp>
        <p:nvSpPr>
          <p:cNvPr id="19" name="TextBox 18"/>
          <p:cNvSpPr txBox="1"/>
          <p:nvPr/>
        </p:nvSpPr>
        <p:spPr>
          <a:xfrm>
            <a:off x="5724128" y="2204864"/>
            <a:ext cx="2128017" cy="369332"/>
          </a:xfrm>
          <a:prstGeom prst="rect">
            <a:avLst/>
          </a:prstGeom>
          <a:noFill/>
        </p:spPr>
        <p:txBody>
          <a:bodyPr wrap="square" rtlCol="0">
            <a:spAutoFit/>
          </a:bodyPr>
          <a:lstStyle/>
          <a:p>
            <a:pPr algn="ctr"/>
            <a:r>
              <a:rPr lang="en-GB" b="1" dirty="0" smtClean="0">
                <a:solidFill>
                  <a:schemeClr val="accent1"/>
                </a:solidFill>
              </a:rPr>
              <a:t>Benefits</a:t>
            </a:r>
          </a:p>
        </p:txBody>
      </p:sp>
      <p:sp>
        <p:nvSpPr>
          <p:cNvPr id="66" name="Rectangle 65"/>
          <p:cNvSpPr/>
          <p:nvPr/>
        </p:nvSpPr>
        <p:spPr>
          <a:xfrm>
            <a:off x="251520" y="1196752"/>
            <a:ext cx="8496944" cy="1569660"/>
          </a:xfrm>
          <a:prstGeom prst="rect">
            <a:avLst/>
          </a:prstGeom>
          <a:noFill/>
        </p:spPr>
        <p:txBody>
          <a:bodyPr wrap="square">
            <a:spAutoFit/>
          </a:bodyPr>
          <a:lstStyle/>
          <a:p>
            <a:pPr marL="612" lvl="0" algn="just"/>
            <a:r>
              <a:rPr lang="en-GB" sz="1600" kern="0" dirty="0" smtClean="0">
                <a:solidFill>
                  <a:schemeClr val="tx1">
                    <a:lumMod val="75000"/>
                    <a:lumOff val="25000"/>
                  </a:schemeClr>
                </a:solidFill>
              </a:rPr>
              <a:t>Chef </a:t>
            </a:r>
            <a:r>
              <a:rPr lang="en-GB" sz="1600" kern="0" dirty="0">
                <a:solidFill>
                  <a:schemeClr val="tx1">
                    <a:lumMod val="75000"/>
                    <a:lumOff val="25000"/>
                  </a:schemeClr>
                </a:solidFill>
              </a:rPr>
              <a:t>Factory can help you </a:t>
            </a:r>
            <a:r>
              <a:rPr lang="en-GB" sz="1600" kern="0" dirty="0" smtClean="0">
                <a:solidFill>
                  <a:schemeClr val="tx1">
                    <a:lumMod val="75000"/>
                    <a:lumOff val="25000"/>
                  </a:schemeClr>
                </a:solidFill>
              </a:rPr>
              <a:t>to automate </a:t>
            </a:r>
            <a:r>
              <a:rPr lang="en-GB" sz="1600" kern="0" dirty="0">
                <a:solidFill>
                  <a:schemeClr val="tx1">
                    <a:lumMod val="75000"/>
                    <a:lumOff val="25000"/>
                  </a:schemeClr>
                </a:solidFill>
              </a:rPr>
              <a:t>the </a:t>
            </a:r>
            <a:r>
              <a:rPr lang="en-GB" sz="1600" kern="0" dirty="0" smtClean="0">
                <a:solidFill>
                  <a:schemeClr val="tx1">
                    <a:lumMod val="75000"/>
                    <a:lumOff val="25000"/>
                  </a:schemeClr>
                </a:solidFill>
              </a:rPr>
              <a:t>Build </a:t>
            </a:r>
            <a:r>
              <a:rPr lang="en-GB" sz="1600" kern="0" dirty="0">
                <a:solidFill>
                  <a:schemeClr val="tx1">
                    <a:lumMod val="75000"/>
                    <a:lumOff val="25000"/>
                  </a:schemeClr>
                </a:solidFill>
              </a:rPr>
              <a:t>and </a:t>
            </a:r>
            <a:r>
              <a:rPr lang="en-GB" sz="1600" kern="0" dirty="0" smtClean="0">
                <a:solidFill>
                  <a:schemeClr val="tx1">
                    <a:lumMod val="75000"/>
                    <a:lumOff val="25000"/>
                  </a:schemeClr>
                </a:solidFill>
              </a:rPr>
              <a:t>Deployment </a:t>
            </a:r>
            <a:r>
              <a:rPr lang="en-GB" sz="1600" kern="0" dirty="0">
                <a:solidFill>
                  <a:schemeClr val="tx1">
                    <a:lumMod val="75000"/>
                    <a:lumOff val="25000"/>
                  </a:schemeClr>
                </a:solidFill>
              </a:rPr>
              <a:t>of </a:t>
            </a:r>
            <a:r>
              <a:rPr lang="en-GB" sz="1600" kern="0" dirty="0" smtClean="0">
                <a:solidFill>
                  <a:schemeClr val="tx1">
                    <a:lumMod val="75000"/>
                    <a:lumOff val="25000"/>
                  </a:schemeClr>
                </a:solidFill>
              </a:rPr>
              <a:t>the infrastructure and  </a:t>
            </a:r>
            <a:r>
              <a:rPr lang="en-GB" sz="1600" kern="0" dirty="0">
                <a:solidFill>
                  <a:schemeClr val="tx1">
                    <a:lumMod val="75000"/>
                    <a:lumOff val="25000"/>
                  </a:schemeClr>
                </a:solidFill>
              </a:rPr>
              <a:t>applications </a:t>
            </a:r>
            <a:r>
              <a:rPr lang="en-GB" sz="1600" kern="0" dirty="0" smtClean="0">
                <a:solidFill>
                  <a:schemeClr val="tx1">
                    <a:lumMod val="75000"/>
                    <a:lumOff val="25000"/>
                  </a:schemeClr>
                </a:solidFill>
              </a:rPr>
              <a:t>in </a:t>
            </a:r>
            <a:r>
              <a:rPr lang="en-GB" sz="1600" kern="0" dirty="0">
                <a:solidFill>
                  <a:schemeClr val="tx1">
                    <a:lumMod val="75000"/>
                    <a:lumOff val="25000"/>
                  </a:schemeClr>
                </a:solidFill>
              </a:rPr>
              <a:t>your environment. </a:t>
            </a:r>
            <a:r>
              <a:rPr lang="en-GB" sz="1600" kern="0" dirty="0" smtClean="0">
                <a:solidFill>
                  <a:schemeClr val="tx1">
                    <a:lumMod val="75000"/>
                    <a:lumOff val="25000"/>
                  </a:schemeClr>
                </a:solidFill>
              </a:rPr>
              <a:t>Leveraging </a:t>
            </a:r>
            <a:r>
              <a:rPr lang="en-GB" sz="1600" kern="0" dirty="0" err="1" smtClean="0">
                <a:solidFill>
                  <a:schemeClr val="tx1">
                    <a:lumMod val="75000"/>
                    <a:lumOff val="25000"/>
                  </a:schemeClr>
                </a:solidFill>
              </a:rPr>
              <a:t>DevOps</a:t>
            </a:r>
            <a:r>
              <a:rPr lang="en-GB" sz="1600" kern="0" dirty="0" smtClean="0">
                <a:solidFill>
                  <a:schemeClr val="tx1">
                    <a:lumMod val="75000"/>
                    <a:lumOff val="25000"/>
                  </a:schemeClr>
                </a:solidFill>
              </a:rPr>
              <a:t> and using </a:t>
            </a:r>
            <a:r>
              <a:rPr lang="en-GB" sz="1600" kern="0" dirty="0">
                <a:solidFill>
                  <a:schemeClr val="tx1">
                    <a:lumMod val="75000"/>
                    <a:lumOff val="25000"/>
                  </a:schemeClr>
                </a:solidFill>
              </a:rPr>
              <a:t>a delivery factory with established methodology, tools and process enables us to rapidly assist clients in establishing their own C</a:t>
            </a:r>
            <a:r>
              <a:rPr lang="en-GB" sz="1600" kern="0" dirty="0" smtClean="0">
                <a:solidFill>
                  <a:schemeClr val="tx1">
                    <a:lumMod val="75000"/>
                    <a:lumOff val="25000"/>
                  </a:schemeClr>
                </a:solidFill>
              </a:rPr>
              <a:t>ontinuous Delivery pipeline. </a:t>
            </a:r>
            <a:endParaRPr lang="en-GB" sz="1600" kern="0" dirty="0">
              <a:solidFill>
                <a:schemeClr val="tx1">
                  <a:lumMod val="75000"/>
                  <a:lumOff val="25000"/>
                </a:schemeClr>
              </a:solidFill>
            </a:endParaRPr>
          </a:p>
          <a:p>
            <a:pPr marL="612" lvl="0" algn="just"/>
            <a:r>
              <a:rPr lang="en-GB" sz="1600" kern="0" dirty="0">
                <a:solidFill>
                  <a:schemeClr val="tx1">
                    <a:lumMod val="75000"/>
                    <a:lumOff val="25000"/>
                  </a:schemeClr>
                </a:solidFill>
              </a:rPr>
              <a:t> </a:t>
            </a:r>
          </a:p>
          <a:p>
            <a:pPr marL="612" lvl="0" algn="just"/>
            <a:endParaRPr lang="en-GB" sz="1600" dirty="0"/>
          </a:p>
        </p:txBody>
      </p:sp>
      <p:sp>
        <p:nvSpPr>
          <p:cNvPr id="13" name="Freeform 5"/>
          <p:cNvSpPr>
            <a:spLocks/>
          </p:cNvSpPr>
          <p:nvPr/>
        </p:nvSpPr>
        <p:spPr bwMode="auto">
          <a:xfrm>
            <a:off x="1547664" y="3967776"/>
            <a:ext cx="3528475" cy="470346"/>
          </a:xfrm>
          <a:custGeom>
            <a:avLst/>
            <a:gdLst/>
            <a:ahLst/>
            <a:cxnLst>
              <a:cxn ang="0">
                <a:pos x="0" y="0"/>
              </a:cxn>
              <a:cxn ang="0">
                <a:pos x="1856" y="0"/>
              </a:cxn>
              <a:cxn ang="0">
                <a:pos x="1928" y="162"/>
              </a:cxn>
              <a:cxn ang="0">
                <a:pos x="1853" y="319"/>
              </a:cxn>
              <a:cxn ang="0">
                <a:pos x="0" y="318"/>
              </a:cxn>
              <a:cxn ang="0">
                <a:pos x="0" y="0"/>
              </a:cxn>
            </a:cxnLst>
            <a:rect l="0" t="0" r="r" b="b"/>
            <a:pathLst>
              <a:path w="1929" h="320">
                <a:moveTo>
                  <a:pt x="0" y="0"/>
                </a:moveTo>
                <a:lnTo>
                  <a:pt x="1856" y="0"/>
                </a:lnTo>
                <a:lnTo>
                  <a:pt x="1928" y="162"/>
                </a:lnTo>
                <a:lnTo>
                  <a:pt x="1853" y="319"/>
                </a:lnTo>
                <a:lnTo>
                  <a:pt x="0" y="318"/>
                </a:lnTo>
                <a:lnTo>
                  <a:pt x="0" y="0"/>
                </a:lnTo>
              </a:path>
            </a:pathLst>
          </a:custGeom>
          <a:solidFill>
            <a:schemeClr val="accent1">
              <a:lumMod val="75000"/>
            </a:schemeClr>
          </a:solidFill>
          <a:ln w="6350" cap="rnd" cmpd="sng">
            <a:noFill/>
            <a:prstDash val="solid"/>
            <a:round/>
            <a:headEnd/>
            <a:tailEnd/>
          </a:ln>
          <a:effectLst/>
        </p:spPr>
        <p:txBody>
          <a:bodyPr lIns="72000" tIns="72000" rIns="72000" bIns="72000"/>
          <a:lstStyle/>
          <a:p>
            <a:pPr algn="ctr"/>
            <a:r>
              <a:rPr lang="en-GB" sz="2400" b="1" dirty="0" smtClean="0">
                <a:solidFill>
                  <a:schemeClr val="bg1"/>
                </a:solidFill>
              </a:rPr>
              <a:t>Chef Factory </a:t>
            </a:r>
            <a:endParaRPr lang="en-GB" sz="2400" b="1" dirty="0">
              <a:solidFill>
                <a:schemeClr val="bg1"/>
              </a:solidFill>
            </a:endParaRPr>
          </a:p>
        </p:txBody>
      </p:sp>
      <p:sp>
        <p:nvSpPr>
          <p:cNvPr id="15" name="Down Arrow 14"/>
          <p:cNvSpPr/>
          <p:nvPr/>
        </p:nvSpPr>
        <p:spPr bwMode="auto">
          <a:xfrm>
            <a:off x="2192133" y="3787007"/>
            <a:ext cx="204545" cy="290066"/>
          </a:xfrm>
          <a:prstGeom prst="downArrow">
            <a:avLst/>
          </a:prstGeom>
          <a:solidFill>
            <a:schemeClr val="accent1">
              <a:lumMod val="60000"/>
              <a:lumOff val="40000"/>
            </a:schemeClr>
          </a:solidFill>
          <a:ln w="6350" cap="rnd" cmpd="sng">
            <a:noFill/>
            <a:prstDash val="solid"/>
            <a:round/>
            <a:headEnd/>
            <a:tailEnd/>
          </a:ln>
          <a:effectLst/>
        </p:spPr>
        <p:txBody>
          <a:bodyPr lIns="72000" tIns="72000" rIns="72000" bIns="72000"/>
          <a:lstStyle/>
          <a:p>
            <a:endParaRPr lang="en-GB" b="1" dirty="0"/>
          </a:p>
        </p:txBody>
      </p:sp>
      <p:sp>
        <p:nvSpPr>
          <p:cNvPr id="2" name="TextBox 1"/>
          <p:cNvSpPr txBox="1"/>
          <p:nvPr/>
        </p:nvSpPr>
        <p:spPr>
          <a:xfrm>
            <a:off x="5004048" y="2564904"/>
            <a:ext cx="3960440" cy="3954929"/>
          </a:xfrm>
          <a:prstGeom prst="rect">
            <a:avLst/>
          </a:prstGeom>
          <a:noFill/>
        </p:spPr>
        <p:txBody>
          <a:bodyPr wrap="square" rtlCol="0">
            <a:spAutoFit/>
          </a:bodyPr>
          <a:lstStyle/>
          <a:p>
            <a:pPr eaLnBrk="0" fontAlgn="base" hangingPunct="0">
              <a:lnSpc>
                <a:spcPct val="80000"/>
              </a:lnSpc>
              <a:spcBef>
                <a:spcPct val="0"/>
              </a:spcBef>
              <a:spcAft>
                <a:spcPct val="0"/>
              </a:spcAft>
            </a:pPr>
            <a:r>
              <a:rPr lang="en-GB" sz="1200" b="1" dirty="0">
                <a:solidFill>
                  <a:srgbClr val="000000"/>
                </a:solidFill>
              </a:rPr>
              <a:t>Business Agility</a:t>
            </a:r>
          </a:p>
          <a:p>
            <a:pPr marL="177800" indent="-177800" eaLnBrk="0" fontAlgn="base" hangingPunct="0">
              <a:spcBef>
                <a:spcPts val="600"/>
              </a:spcBef>
              <a:spcAft>
                <a:spcPct val="0"/>
              </a:spcAft>
              <a:buFont typeface="Arial" pitchFamily="34" charset="0"/>
              <a:buChar char="•"/>
            </a:pPr>
            <a:r>
              <a:rPr lang="en-GB" sz="1200" dirty="0">
                <a:solidFill>
                  <a:srgbClr val="000000"/>
                </a:solidFill>
              </a:rPr>
              <a:t>Pre configurable environments and tooling </a:t>
            </a:r>
            <a:r>
              <a:rPr lang="en-GB" sz="1200" dirty="0" smtClean="0">
                <a:solidFill>
                  <a:srgbClr val="000000"/>
                </a:solidFill>
              </a:rPr>
              <a:t>facilitate rapid deployment – increasing Speed to Market</a:t>
            </a:r>
            <a:endParaRPr lang="en-GB" sz="1200" dirty="0">
              <a:solidFill>
                <a:srgbClr val="000000"/>
              </a:solidFill>
            </a:endParaRPr>
          </a:p>
          <a:p>
            <a:pPr eaLnBrk="0" fontAlgn="base" hangingPunct="0">
              <a:spcBef>
                <a:spcPct val="0"/>
              </a:spcBef>
              <a:spcAft>
                <a:spcPct val="0"/>
              </a:spcAft>
              <a:buClr>
                <a:srgbClr val="000000"/>
              </a:buClr>
              <a:defRPr/>
            </a:pPr>
            <a:endParaRPr lang="en-GB" sz="1200" dirty="0" smtClean="0">
              <a:solidFill>
                <a:srgbClr val="000000"/>
              </a:solidFill>
            </a:endParaRPr>
          </a:p>
          <a:p>
            <a:pPr eaLnBrk="0" fontAlgn="base" hangingPunct="0">
              <a:lnSpc>
                <a:spcPct val="80000"/>
              </a:lnSpc>
              <a:spcBef>
                <a:spcPct val="0"/>
              </a:spcBef>
              <a:spcAft>
                <a:spcPct val="0"/>
              </a:spcAft>
            </a:pPr>
            <a:r>
              <a:rPr lang="en-GB" sz="1200" b="1" dirty="0">
                <a:solidFill>
                  <a:srgbClr val="000000"/>
                </a:solidFill>
              </a:rPr>
              <a:t>Cost Effective</a:t>
            </a:r>
          </a:p>
          <a:p>
            <a:pPr marL="177800" indent="-177800" eaLnBrk="0" fontAlgn="base" hangingPunct="0">
              <a:spcBef>
                <a:spcPts val="600"/>
              </a:spcBef>
              <a:spcAft>
                <a:spcPct val="0"/>
              </a:spcAft>
              <a:buFont typeface="Arial" pitchFamily="34" charset="0"/>
              <a:buChar char="•"/>
            </a:pPr>
            <a:r>
              <a:rPr lang="en-GB" sz="1200" dirty="0" smtClean="0">
                <a:solidFill>
                  <a:srgbClr val="000000"/>
                </a:solidFill>
              </a:rPr>
              <a:t>Increased speed and reduced time of </a:t>
            </a:r>
            <a:r>
              <a:rPr lang="en-GB" sz="1200" dirty="0">
                <a:solidFill>
                  <a:srgbClr val="000000"/>
                </a:solidFill>
              </a:rPr>
              <a:t>environment configuration and </a:t>
            </a:r>
            <a:r>
              <a:rPr lang="en-GB" sz="1200" dirty="0" smtClean="0">
                <a:solidFill>
                  <a:srgbClr val="000000"/>
                </a:solidFill>
              </a:rPr>
              <a:t>provisioning</a:t>
            </a:r>
            <a:endParaRPr lang="en-GB" sz="1200" dirty="0">
              <a:solidFill>
                <a:srgbClr val="000000"/>
              </a:solidFill>
            </a:endParaRPr>
          </a:p>
          <a:p>
            <a:pPr marL="177800" indent="-177800" eaLnBrk="0" fontAlgn="base" hangingPunct="0">
              <a:spcBef>
                <a:spcPts val="600"/>
              </a:spcBef>
              <a:spcAft>
                <a:spcPct val="0"/>
              </a:spcAft>
              <a:buFont typeface="Arial" pitchFamily="34" charset="0"/>
              <a:buChar char="•"/>
            </a:pPr>
            <a:r>
              <a:rPr lang="en-GB" sz="1200" dirty="0">
                <a:solidFill>
                  <a:srgbClr val="000000"/>
                </a:solidFill>
              </a:rPr>
              <a:t>Increased efficiency of development and test teams</a:t>
            </a:r>
          </a:p>
          <a:p>
            <a:pPr eaLnBrk="0" fontAlgn="base" hangingPunct="0">
              <a:lnSpc>
                <a:spcPct val="80000"/>
              </a:lnSpc>
              <a:spcBef>
                <a:spcPct val="0"/>
              </a:spcBef>
              <a:spcAft>
                <a:spcPct val="0"/>
              </a:spcAft>
            </a:pPr>
            <a:endParaRPr lang="en-GB" sz="1200" b="1" dirty="0" smtClean="0">
              <a:solidFill>
                <a:srgbClr val="000000"/>
              </a:solidFill>
            </a:endParaRPr>
          </a:p>
          <a:p>
            <a:pPr eaLnBrk="0" fontAlgn="base" hangingPunct="0">
              <a:lnSpc>
                <a:spcPct val="80000"/>
              </a:lnSpc>
              <a:spcBef>
                <a:spcPct val="0"/>
              </a:spcBef>
              <a:spcAft>
                <a:spcPct val="0"/>
              </a:spcAft>
            </a:pPr>
            <a:r>
              <a:rPr lang="en-GB" sz="1200" b="1" dirty="0" smtClean="0">
                <a:solidFill>
                  <a:srgbClr val="000000"/>
                </a:solidFill>
              </a:rPr>
              <a:t>Improved </a:t>
            </a:r>
            <a:r>
              <a:rPr lang="en-GB" sz="1200" b="1" dirty="0">
                <a:solidFill>
                  <a:srgbClr val="000000"/>
                </a:solidFill>
              </a:rPr>
              <a:t>Quality</a:t>
            </a:r>
          </a:p>
          <a:p>
            <a:pPr marL="177800" indent="-177800" eaLnBrk="0" fontAlgn="base" hangingPunct="0">
              <a:spcBef>
                <a:spcPts val="600"/>
              </a:spcBef>
              <a:spcAft>
                <a:spcPct val="0"/>
              </a:spcAft>
              <a:buFont typeface="Arial" pitchFamily="34" charset="0"/>
              <a:buChar char="•"/>
            </a:pPr>
            <a:r>
              <a:rPr lang="en-GB" sz="1200" dirty="0" smtClean="0">
                <a:solidFill>
                  <a:srgbClr val="000000"/>
                </a:solidFill>
              </a:rPr>
              <a:t>Enabler </a:t>
            </a:r>
            <a:r>
              <a:rPr lang="en-GB" sz="1200" dirty="0">
                <a:solidFill>
                  <a:srgbClr val="000000"/>
                </a:solidFill>
              </a:rPr>
              <a:t>for automation - Continuous Integration and Continuous </a:t>
            </a:r>
            <a:r>
              <a:rPr lang="en-GB" sz="1200" dirty="0" smtClean="0">
                <a:solidFill>
                  <a:srgbClr val="000000"/>
                </a:solidFill>
              </a:rPr>
              <a:t>Delivery</a:t>
            </a:r>
          </a:p>
          <a:p>
            <a:pPr marL="177800" indent="-177800" eaLnBrk="0" fontAlgn="base" hangingPunct="0">
              <a:spcBef>
                <a:spcPts val="600"/>
              </a:spcBef>
              <a:spcAft>
                <a:spcPct val="0"/>
              </a:spcAft>
              <a:buFont typeface="Arial" pitchFamily="34" charset="0"/>
              <a:buChar char="•"/>
            </a:pPr>
            <a:r>
              <a:rPr lang="en-GB" sz="1200" dirty="0">
                <a:solidFill>
                  <a:srgbClr val="000000"/>
                </a:solidFill>
              </a:rPr>
              <a:t>Consistency of environment and application deployment</a:t>
            </a:r>
            <a:endParaRPr lang="en-GB" sz="1200" dirty="0" smtClean="0">
              <a:solidFill>
                <a:srgbClr val="000000"/>
              </a:solidFill>
            </a:endParaRPr>
          </a:p>
          <a:p>
            <a:pPr eaLnBrk="0" fontAlgn="base" hangingPunct="0">
              <a:spcBef>
                <a:spcPct val="0"/>
              </a:spcBef>
              <a:spcAft>
                <a:spcPct val="0"/>
              </a:spcAft>
            </a:pPr>
            <a:endParaRPr lang="en-GB" sz="1200" dirty="0">
              <a:solidFill>
                <a:srgbClr val="000000"/>
              </a:solidFill>
            </a:endParaRPr>
          </a:p>
          <a:p>
            <a:pPr eaLnBrk="0" fontAlgn="base" hangingPunct="0">
              <a:lnSpc>
                <a:spcPct val="80000"/>
              </a:lnSpc>
              <a:spcBef>
                <a:spcPct val="0"/>
              </a:spcBef>
              <a:spcAft>
                <a:spcPct val="0"/>
              </a:spcAft>
            </a:pPr>
            <a:r>
              <a:rPr lang="en-GB" sz="1200" b="1" dirty="0">
                <a:solidFill>
                  <a:srgbClr val="000000"/>
                </a:solidFill>
              </a:rPr>
              <a:t>Risk Reduction</a:t>
            </a:r>
          </a:p>
          <a:p>
            <a:pPr marL="177800" indent="-177800" eaLnBrk="0" fontAlgn="base" hangingPunct="0">
              <a:spcBef>
                <a:spcPts val="600"/>
              </a:spcBef>
              <a:spcAft>
                <a:spcPct val="0"/>
              </a:spcAft>
              <a:buFont typeface="Arial" pitchFamily="34" charset="0"/>
              <a:buChar char="•"/>
            </a:pPr>
            <a:r>
              <a:rPr lang="en-GB" sz="1200" dirty="0" smtClean="0">
                <a:solidFill>
                  <a:srgbClr val="000000"/>
                </a:solidFill>
              </a:rPr>
              <a:t>Rapid </a:t>
            </a:r>
            <a:r>
              <a:rPr lang="en-GB" sz="1200" dirty="0">
                <a:solidFill>
                  <a:srgbClr val="000000"/>
                </a:solidFill>
              </a:rPr>
              <a:t>deployment </a:t>
            </a:r>
            <a:r>
              <a:rPr lang="en-GB" sz="1200" dirty="0" smtClean="0">
                <a:solidFill>
                  <a:srgbClr val="000000"/>
                </a:solidFill>
              </a:rPr>
              <a:t>and roll out of </a:t>
            </a:r>
            <a:r>
              <a:rPr lang="en-GB" sz="1200" dirty="0">
                <a:solidFill>
                  <a:srgbClr val="000000"/>
                </a:solidFill>
              </a:rPr>
              <a:t>updates and patches</a:t>
            </a:r>
          </a:p>
          <a:p>
            <a:pPr marL="177800" indent="-177800" eaLnBrk="0" fontAlgn="base" hangingPunct="0">
              <a:spcBef>
                <a:spcPts val="600"/>
              </a:spcBef>
              <a:spcAft>
                <a:spcPct val="0"/>
              </a:spcAft>
              <a:buFont typeface="Arial" pitchFamily="34" charset="0"/>
              <a:buChar char="•"/>
            </a:pPr>
            <a:r>
              <a:rPr lang="en-GB" sz="1200" dirty="0" smtClean="0">
                <a:solidFill>
                  <a:srgbClr val="000000"/>
                </a:solidFill>
              </a:rPr>
              <a:t>Standardised, Repeatable &amp; Industrialised</a:t>
            </a:r>
            <a:endParaRPr lang="en-GB" sz="1200" dirty="0">
              <a:solidFill>
                <a:srgbClr val="000000"/>
              </a:solidFill>
            </a:endParaRPr>
          </a:p>
        </p:txBody>
      </p:sp>
      <p:sp>
        <p:nvSpPr>
          <p:cNvPr id="18" name="Explosion 1 17"/>
          <p:cNvSpPr/>
          <p:nvPr/>
        </p:nvSpPr>
        <p:spPr bwMode="auto">
          <a:xfrm>
            <a:off x="107504" y="3340822"/>
            <a:ext cx="1944216" cy="1816370"/>
          </a:xfrm>
          <a:prstGeom prst="irregularSeal1">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r>
              <a:rPr kumimoji="0" lang="en-GB" sz="1000" b="1" i="0" u="none" strike="noStrike" cap="none" normalizeH="0" baseline="0" dirty="0" smtClean="0">
                <a:ln>
                  <a:noFill/>
                </a:ln>
                <a:solidFill>
                  <a:schemeClr val="bg1"/>
                </a:solidFill>
                <a:effectLst/>
                <a:latin typeface="Arial" charset="0"/>
              </a:rPr>
              <a:t>CHALLENGES</a:t>
            </a:r>
          </a:p>
        </p:txBody>
      </p:sp>
      <p:sp>
        <p:nvSpPr>
          <p:cNvPr id="73" name="Down Arrow 72"/>
          <p:cNvSpPr/>
          <p:nvPr/>
        </p:nvSpPr>
        <p:spPr bwMode="auto">
          <a:xfrm>
            <a:off x="2192133" y="4363070"/>
            <a:ext cx="204545" cy="290066"/>
          </a:xfrm>
          <a:prstGeom prst="downArrow">
            <a:avLst/>
          </a:prstGeom>
          <a:solidFill>
            <a:schemeClr val="accent1">
              <a:lumMod val="60000"/>
              <a:lumOff val="40000"/>
            </a:schemeClr>
          </a:solidFill>
          <a:ln w="6350" cap="rnd" cmpd="sng">
            <a:noFill/>
            <a:prstDash val="solid"/>
            <a:round/>
            <a:headEnd/>
            <a:tailEnd/>
          </a:ln>
          <a:effectLst/>
          <a:scene3d>
            <a:camera prst="orthographicFront">
              <a:rot lat="10800000" lon="0" rev="0"/>
            </a:camera>
            <a:lightRig rig="threePt" dir="t"/>
          </a:scene3d>
        </p:spPr>
        <p:txBody>
          <a:bodyPr lIns="72000" tIns="72000" rIns="72000" bIns="72000"/>
          <a:lstStyle/>
          <a:p>
            <a:endParaRPr lang="en-GB" b="1" dirty="0"/>
          </a:p>
        </p:txBody>
      </p:sp>
      <p:sp>
        <p:nvSpPr>
          <p:cNvPr id="11" name="Freeform 4"/>
          <p:cNvSpPr>
            <a:spLocks/>
          </p:cNvSpPr>
          <p:nvPr/>
        </p:nvSpPr>
        <p:spPr bwMode="auto">
          <a:xfrm>
            <a:off x="1614840" y="2566282"/>
            <a:ext cx="3242476" cy="1255977"/>
          </a:xfrm>
          <a:custGeom>
            <a:avLst/>
            <a:gdLst/>
            <a:ahLst/>
            <a:cxnLst>
              <a:cxn ang="0">
                <a:pos x="1503" y="358"/>
              </a:cxn>
              <a:cxn ang="0">
                <a:pos x="1503" y="0"/>
              </a:cxn>
              <a:cxn ang="0">
                <a:pos x="1827" y="634"/>
              </a:cxn>
              <a:cxn ang="0">
                <a:pos x="0" y="634"/>
              </a:cxn>
              <a:cxn ang="0">
                <a:pos x="0" y="358"/>
              </a:cxn>
              <a:cxn ang="0">
                <a:pos x="1503" y="358"/>
              </a:cxn>
            </a:cxnLst>
            <a:rect l="0" t="0" r="r" b="b"/>
            <a:pathLst>
              <a:path w="1828" h="635">
                <a:moveTo>
                  <a:pt x="1503" y="358"/>
                </a:moveTo>
                <a:lnTo>
                  <a:pt x="1503" y="0"/>
                </a:lnTo>
                <a:lnTo>
                  <a:pt x="1827" y="634"/>
                </a:lnTo>
                <a:lnTo>
                  <a:pt x="0" y="634"/>
                </a:lnTo>
                <a:lnTo>
                  <a:pt x="0" y="358"/>
                </a:lnTo>
                <a:lnTo>
                  <a:pt x="1503" y="358"/>
                </a:lnTo>
              </a:path>
            </a:pathLst>
          </a:custGeom>
          <a:gradFill flip="none" rotWithShape="1">
            <a:gsLst>
              <a:gs pos="0">
                <a:schemeClr val="accent1">
                  <a:lumMod val="60000"/>
                  <a:lumOff val="40000"/>
                  <a:shade val="30000"/>
                  <a:satMod val="115000"/>
                </a:schemeClr>
              </a:gs>
              <a:gs pos="50000">
                <a:schemeClr val="accent1">
                  <a:lumMod val="60000"/>
                  <a:lumOff val="40000"/>
                  <a:shade val="67500"/>
                  <a:satMod val="115000"/>
                </a:schemeClr>
              </a:gs>
              <a:gs pos="100000">
                <a:schemeClr val="accent1">
                  <a:lumMod val="60000"/>
                  <a:lumOff val="40000"/>
                  <a:shade val="100000"/>
                  <a:satMod val="115000"/>
                </a:schemeClr>
              </a:gs>
            </a:gsLst>
            <a:lin ang="10800000" scaled="1"/>
            <a:tileRect/>
          </a:gradFill>
          <a:ln w="6350" cap="rnd" cmpd="sng">
            <a:noFill/>
            <a:prstDash val="solid"/>
            <a:round/>
            <a:headEnd/>
            <a:tailEnd/>
          </a:ln>
          <a:effectLst/>
        </p:spPr>
        <p:txBody>
          <a:bodyPr lIns="72000" tIns="72000" rIns="72000" bIns="72000"/>
          <a:lstStyle/>
          <a:p>
            <a:endParaRPr lang="en-GB" b="1" dirty="0"/>
          </a:p>
        </p:txBody>
      </p:sp>
      <p:sp>
        <p:nvSpPr>
          <p:cNvPr id="4" name="TextBox 3"/>
          <p:cNvSpPr txBox="1"/>
          <p:nvPr/>
        </p:nvSpPr>
        <p:spPr>
          <a:xfrm>
            <a:off x="1569962" y="3391249"/>
            <a:ext cx="3550474" cy="338554"/>
          </a:xfrm>
          <a:prstGeom prst="rect">
            <a:avLst/>
          </a:prstGeom>
          <a:noFill/>
        </p:spPr>
        <p:txBody>
          <a:bodyPr wrap="square" rtlCol="0">
            <a:spAutoFit/>
          </a:bodyPr>
          <a:lstStyle/>
          <a:p>
            <a:r>
              <a:rPr lang="en-GB" sz="1550" b="1" i="1" dirty="0" smtClean="0">
                <a:solidFill>
                  <a:schemeClr val="bg1"/>
                </a:solidFill>
              </a:rPr>
              <a:t>Accenture Skills &amp; Methodology</a:t>
            </a:r>
            <a:endParaRPr lang="en-GB" sz="1550" b="1" i="1" dirty="0">
              <a:solidFill>
                <a:schemeClr val="bg1"/>
              </a:solidFill>
            </a:endParaRPr>
          </a:p>
        </p:txBody>
      </p:sp>
    </p:spTree>
    <p:extLst>
      <p:ext uri="{BB962C8B-B14F-4D97-AF65-F5344CB8AC3E}">
        <p14:creationId xmlns:p14="http://schemas.microsoft.com/office/powerpoint/2010/main" val="185833290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4716016" y="4801337"/>
            <a:ext cx="139831" cy="90000"/>
          </a:xfrm>
          <a:prstGeom prst="rect">
            <a:avLst/>
          </a:prstGeom>
          <a:solidFill>
            <a:schemeClr val="accent1">
              <a:lumMod val="40000"/>
              <a:lumOff val="6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600"/>
          </a:p>
        </p:txBody>
      </p:sp>
      <p:grpSp>
        <p:nvGrpSpPr>
          <p:cNvPr id="2" name="Group 1"/>
          <p:cNvGrpSpPr/>
          <p:nvPr/>
        </p:nvGrpSpPr>
        <p:grpSpPr>
          <a:xfrm>
            <a:off x="454074" y="1541546"/>
            <a:ext cx="5456089" cy="3032378"/>
            <a:chOff x="844103" y="938531"/>
            <a:chExt cx="7649871" cy="5135271"/>
          </a:xfrm>
        </p:grpSpPr>
        <p:sp>
          <p:nvSpPr>
            <p:cNvPr id="38" name="Chevron 37"/>
            <p:cNvSpPr/>
            <p:nvPr/>
          </p:nvSpPr>
          <p:spPr>
            <a:xfrm>
              <a:off x="3868708" y="2219664"/>
              <a:ext cx="4625266" cy="1793288"/>
            </a:xfrm>
            <a:prstGeom prst="chevron">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sp>
          <p:nvSpPr>
            <p:cNvPr id="39" name="Chevron 38"/>
            <p:cNvSpPr/>
            <p:nvPr/>
          </p:nvSpPr>
          <p:spPr>
            <a:xfrm>
              <a:off x="2037965" y="2219664"/>
              <a:ext cx="2574524" cy="1793288"/>
            </a:xfrm>
            <a:prstGeom prst="chevron">
              <a:avLst/>
            </a:prstGeom>
            <a:solidFill>
              <a:schemeClr val="accent1">
                <a:lumMod val="40000"/>
                <a:lumOff val="6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sp>
          <p:nvSpPr>
            <p:cNvPr id="40" name="Chevron 39"/>
            <p:cNvSpPr/>
            <p:nvPr/>
          </p:nvSpPr>
          <p:spPr>
            <a:xfrm>
              <a:off x="844103" y="2219664"/>
              <a:ext cx="1916375" cy="1793288"/>
            </a:xfrm>
            <a:prstGeom prst="chevron">
              <a:avLst/>
            </a:prstGeom>
            <a:solidFill>
              <a:schemeClr val="accent1">
                <a:lumMod val="40000"/>
                <a:lumOff val="6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sp>
          <p:nvSpPr>
            <p:cNvPr id="41" name="Rectangle 40"/>
            <p:cNvSpPr/>
            <p:nvPr/>
          </p:nvSpPr>
          <p:spPr>
            <a:xfrm>
              <a:off x="952115" y="2192141"/>
              <a:ext cx="1064159" cy="677578"/>
            </a:xfrm>
            <a:prstGeom prst="rect">
              <a:avLst/>
            </a:prstGeom>
          </p:spPr>
          <p:txBody>
            <a:bodyPr wrap="square">
              <a:spAutoFit/>
            </a:bodyPr>
            <a:lstStyle/>
            <a:p>
              <a:pPr algn="r"/>
              <a:r>
                <a:rPr lang="en-GB" sz="1000" b="1" dirty="0">
                  <a:solidFill>
                    <a:schemeClr val="bg1"/>
                  </a:solidFill>
                </a:rPr>
                <a:t>Sales &amp; SME</a:t>
              </a:r>
            </a:p>
          </p:txBody>
        </p:sp>
        <p:sp>
          <p:nvSpPr>
            <p:cNvPr id="42" name="Rectangle 41"/>
            <p:cNvSpPr/>
            <p:nvPr/>
          </p:nvSpPr>
          <p:spPr>
            <a:xfrm>
              <a:off x="2395161" y="2192141"/>
              <a:ext cx="1306268" cy="416970"/>
            </a:xfrm>
            <a:prstGeom prst="rect">
              <a:avLst/>
            </a:prstGeom>
          </p:spPr>
          <p:txBody>
            <a:bodyPr wrap="none">
              <a:spAutoFit/>
            </a:bodyPr>
            <a:lstStyle/>
            <a:p>
              <a:pPr algn="ctr"/>
              <a:r>
                <a:rPr lang="en-GB" sz="1000" b="1" dirty="0">
                  <a:solidFill>
                    <a:schemeClr val="bg1"/>
                  </a:solidFill>
                </a:rPr>
                <a:t>Mobilisation</a:t>
              </a:r>
            </a:p>
          </p:txBody>
        </p:sp>
        <p:sp>
          <p:nvSpPr>
            <p:cNvPr id="43" name="Rectangle 42"/>
            <p:cNvSpPr/>
            <p:nvPr/>
          </p:nvSpPr>
          <p:spPr>
            <a:xfrm>
              <a:off x="4792173" y="2192141"/>
              <a:ext cx="2225511" cy="416970"/>
            </a:xfrm>
            <a:prstGeom prst="rect">
              <a:avLst/>
            </a:prstGeom>
          </p:spPr>
          <p:txBody>
            <a:bodyPr wrap="none">
              <a:spAutoFit/>
            </a:bodyPr>
            <a:lstStyle/>
            <a:p>
              <a:pPr algn="ctr"/>
              <a:r>
                <a:rPr lang="en-GB" sz="1000" b="1" dirty="0" smtClean="0">
                  <a:solidFill>
                    <a:schemeClr val="bg1"/>
                  </a:solidFill>
                </a:rPr>
                <a:t>DevOps “As a Service”</a:t>
              </a:r>
              <a:endParaRPr lang="en-GB" sz="1000" b="1" dirty="0">
                <a:solidFill>
                  <a:schemeClr val="bg1"/>
                </a:solidFill>
              </a:endParaRPr>
            </a:p>
          </p:txBody>
        </p:sp>
        <p:sp>
          <p:nvSpPr>
            <p:cNvPr id="50" name="Rectangle 49"/>
            <p:cNvSpPr/>
            <p:nvPr/>
          </p:nvSpPr>
          <p:spPr>
            <a:xfrm>
              <a:off x="2057015" y="4721252"/>
              <a:ext cx="5974201" cy="135255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b="1" dirty="0" smtClean="0"/>
                <a:t>Build and Deployment Automation Factory</a:t>
              </a:r>
              <a:endParaRPr lang="en-GB" sz="1000" b="1" dirty="0"/>
            </a:p>
          </p:txBody>
        </p:sp>
        <p:sp>
          <p:nvSpPr>
            <p:cNvPr id="51" name="Down Arrow 50"/>
            <p:cNvSpPr/>
            <p:nvPr/>
          </p:nvSpPr>
          <p:spPr>
            <a:xfrm>
              <a:off x="6099236" y="4011640"/>
              <a:ext cx="466400" cy="657224"/>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52" name="Down Arrow 51"/>
            <p:cNvSpPr/>
            <p:nvPr/>
          </p:nvSpPr>
          <p:spPr>
            <a:xfrm rot="10800000">
              <a:off x="6581807" y="4011638"/>
              <a:ext cx="466400" cy="657224"/>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53" name="Rectangle 52"/>
            <p:cNvSpPr/>
            <p:nvPr/>
          </p:nvSpPr>
          <p:spPr>
            <a:xfrm>
              <a:off x="6181341" y="5645176"/>
              <a:ext cx="1267333" cy="338137"/>
            </a:xfrm>
            <a:prstGeom prst="rect">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16200000" scaled="1"/>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smtClean="0"/>
                <a:t>Monsoon</a:t>
              </a:r>
              <a:endParaRPr lang="en-GB" sz="1000" dirty="0"/>
            </a:p>
          </p:txBody>
        </p:sp>
        <p:sp>
          <p:nvSpPr>
            <p:cNvPr id="54" name="Down Arrow 53"/>
            <p:cNvSpPr/>
            <p:nvPr/>
          </p:nvSpPr>
          <p:spPr>
            <a:xfrm>
              <a:off x="2517751" y="4011640"/>
              <a:ext cx="466400" cy="657224"/>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55" name="Down Arrow 54"/>
            <p:cNvSpPr/>
            <p:nvPr/>
          </p:nvSpPr>
          <p:spPr>
            <a:xfrm rot="10800000">
              <a:off x="2984153" y="4011638"/>
              <a:ext cx="466400" cy="657224"/>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56" name="TextBox 55"/>
            <p:cNvSpPr txBox="1"/>
            <p:nvPr/>
          </p:nvSpPr>
          <p:spPr>
            <a:xfrm>
              <a:off x="1266833" y="4012952"/>
              <a:ext cx="1393727" cy="651517"/>
            </a:xfrm>
            <a:prstGeom prst="rect">
              <a:avLst/>
            </a:prstGeom>
            <a:noFill/>
          </p:spPr>
          <p:txBody>
            <a:bodyPr wrap="square" rtlCol="0">
              <a:spAutoFit/>
            </a:bodyPr>
            <a:lstStyle/>
            <a:p>
              <a:r>
                <a:rPr lang="en-GB" sz="950" i="1" dirty="0" smtClean="0"/>
                <a:t>Automation</a:t>
              </a:r>
              <a:br>
                <a:rPr lang="en-GB" sz="950" i="1" dirty="0" smtClean="0"/>
              </a:br>
              <a:r>
                <a:rPr lang="en-GB" sz="950" i="1" dirty="0" smtClean="0"/>
                <a:t>Requirements</a:t>
              </a:r>
              <a:endParaRPr lang="en-GB" sz="950" i="1" dirty="0"/>
            </a:p>
          </p:txBody>
        </p:sp>
        <p:sp>
          <p:nvSpPr>
            <p:cNvPr id="57" name="TextBox 56"/>
            <p:cNvSpPr txBox="1"/>
            <p:nvPr/>
          </p:nvSpPr>
          <p:spPr>
            <a:xfrm>
              <a:off x="4816426" y="4012952"/>
              <a:ext cx="1393727" cy="651517"/>
            </a:xfrm>
            <a:prstGeom prst="rect">
              <a:avLst/>
            </a:prstGeom>
            <a:noFill/>
          </p:spPr>
          <p:txBody>
            <a:bodyPr wrap="square" rtlCol="0">
              <a:spAutoFit/>
            </a:bodyPr>
            <a:lstStyle/>
            <a:p>
              <a:r>
                <a:rPr lang="en-GB" sz="950" i="1" dirty="0" smtClean="0"/>
                <a:t>Automation</a:t>
              </a:r>
              <a:br>
                <a:rPr lang="en-GB" sz="950" i="1" dirty="0" smtClean="0"/>
              </a:br>
              <a:r>
                <a:rPr lang="en-GB" sz="950" i="1" dirty="0" smtClean="0"/>
                <a:t>Requirements</a:t>
              </a:r>
              <a:endParaRPr lang="en-GB" sz="950" i="1" dirty="0"/>
            </a:p>
          </p:txBody>
        </p:sp>
        <p:sp>
          <p:nvSpPr>
            <p:cNvPr id="58" name="TextBox 57"/>
            <p:cNvSpPr txBox="1"/>
            <p:nvPr/>
          </p:nvSpPr>
          <p:spPr>
            <a:xfrm>
              <a:off x="3401221" y="4130226"/>
              <a:ext cx="894440" cy="416970"/>
            </a:xfrm>
            <a:prstGeom prst="rect">
              <a:avLst/>
            </a:prstGeom>
            <a:noFill/>
          </p:spPr>
          <p:txBody>
            <a:bodyPr wrap="square" rtlCol="0">
              <a:spAutoFit/>
            </a:bodyPr>
            <a:lstStyle/>
            <a:p>
              <a:r>
                <a:rPr lang="en-GB" sz="950" i="1" dirty="0" smtClean="0"/>
                <a:t>Tooling</a:t>
              </a:r>
              <a:endParaRPr lang="en-GB" sz="950" i="1" dirty="0"/>
            </a:p>
          </p:txBody>
        </p:sp>
        <p:sp>
          <p:nvSpPr>
            <p:cNvPr id="59" name="TextBox 58"/>
            <p:cNvSpPr txBox="1"/>
            <p:nvPr/>
          </p:nvSpPr>
          <p:spPr>
            <a:xfrm>
              <a:off x="6953962" y="4130226"/>
              <a:ext cx="894440" cy="416970"/>
            </a:xfrm>
            <a:prstGeom prst="rect">
              <a:avLst/>
            </a:prstGeom>
            <a:noFill/>
          </p:spPr>
          <p:txBody>
            <a:bodyPr wrap="square" rtlCol="0">
              <a:spAutoFit/>
            </a:bodyPr>
            <a:lstStyle/>
            <a:p>
              <a:r>
                <a:rPr lang="en-GB" sz="950" i="1" dirty="0" smtClean="0"/>
                <a:t>Tooling</a:t>
              </a:r>
              <a:endParaRPr lang="en-GB" sz="950" i="1" dirty="0"/>
            </a:p>
          </p:txBody>
        </p:sp>
        <p:sp>
          <p:nvSpPr>
            <p:cNvPr id="60" name="Rectangle 59"/>
            <p:cNvSpPr/>
            <p:nvPr/>
          </p:nvSpPr>
          <p:spPr>
            <a:xfrm>
              <a:off x="2057015" y="938531"/>
              <a:ext cx="5974201" cy="502652"/>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r"/>
              <a:r>
                <a:rPr lang="en-GB" b="1" dirty="0" smtClean="0">
                  <a:solidFill>
                    <a:schemeClr val="accent1">
                      <a:lumMod val="50000"/>
                    </a:schemeClr>
                  </a:solidFill>
                </a:rPr>
                <a:t>Projects</a:t>
              </a:r>
              <a:endParaRPr lang="en-GB" b="1" dirty="0">
                <a:solidFill>
                  <a:schemeClr val="accent1">
                    <a:lumMod val="50000"/>
                  </a:schemeClr>
                </a:solidFill>
              </a:endParaRPr>
            </a:p>
          </p:txBody>
        </p:sp>
        <p:sp>
          <p:nvSpPr>
            <p:cNvPr id="62" name="Down Arrow 61"/>
            <p:cNvSpPr/>
            <p:nvPr/>
          </p:nvSpPr>
          <p:spPr>
            <a:xfrm rot="10800000">
              <a:off x="5536788" y="1441183"/>
              <a:ext cx="466400" cy="657224"/>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63" name="Down Arrow 62"/>
            <p:cNvSpPr/>
            <p:nvPr/>
          </p:nvSpPr>
          <p:spPr>
            <a:xfrm>
              <a:off x="2368602" y="1441183"/>
              <a:ext cx="466400" cy="657224"/>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65" name="TextBox 64"/>
            <p:cNvSpPr txBox="1"/>
            <p:nvPr/>
          </p:nvSpPr>
          <p:spPr>
            <a:xfrm>
              <a:off x="1285511" y="1522932"/>
              <a:ext cx="1393727" cy="403941"/>
            </a:xfrm>
            <a:prstGeom prst="rect">
              <a:avLst/>
            </a:prstGeom>
            <a:noFill/>
          </p:spPr>
          <p:txBody>
            <a:bodyPr wrap="square" rtlCol="0">
              <a:spAutoFit/>
            </a:bodyPr>
            <a:lstStyle/>
            <a:p>
              <a:r>
                <a:rPr lang="en-GB" sz="950" i="1" dirty="0" smtClean="0"/>
                <a:t>Requirements</a:t>
              </a:r>
              <a:endParaRPr lang="en-GB" sz="950" i="1" dirty="0"/>
            </a:p>
          </p:txBody>
        </p:sp>
        <p:sp>
          <p:nvSpPr>
            <p:cNvPr id="68" name="TextBox 67"/>
            <p:cNvSpPr txBox="1"/>
            <p:nvPr/>
          </p:nvSpPr>
          <p:spPr>
            <a:xfrm>
              <a:off x="6003189" y="1522932"/>
              <a:ext cx="1441279" cy="416970"/>
            </a:xfrm>
            <a:prstGeom prst="rect">
              <a:avLst/>
            </a:prstGeom>
            <a:noFill/>
          </p:spPr>
          <p:txBody>
            <a:bodyPr wrap="square" rtlCol="0">
              <a:spAutoFit/>
            </a:bodyPr>
            <a:lstStyle/>
            <a:p>
              <a:r>
                <a:rPr lang="en-GB" sz="950" i="1" dirty="0" smtClean="0"/>
                <a:t>KPI &amp; Service</a:t>
              </a:r>
              <a:endParaRPr lang="en-GB" sz="950" i="1" dirty="0"/>
            </a:p>
          </p:txBody>
        </p:sp>
        <p:sp>
          <p:nvSpPr>
            <p:cNvPr id="71" name="Parallelogram 70"/>
            <p:cNvSpPr/>
            <p:nvPr/>
          </p:nvSpPr>
          <p:spPr>
            <a:xfrm>
              <a:off x="2650797" y="3144863"/>
              <a:ext cx="1728055" cy="307777"/>
            </a:xfrm>
            <a:prstGeom prst="parallelogram">
              <a:avLst>
                <a:gd name="adj" fmla="val 103911"/>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16200000" scaled="1"/>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72" name="Rectangle 71"/>
            <p:cNvSpPr/>
            <p:nvPr/>
          </p:nvSpPr>
          <p:spPr>
            <a:xfrm>
              <a:off x="2882744" y="3144863"/>
              <a:ext cx="1299834" cy="403941"/>
            </a:xfrm>
            <a:prstGeom prst="rect">
              <a:avLst/>
            </a:prstGeom>
          </p:spPr>
          <p:txBody>
            <a:bodyPr wrap="square">
              <a:spAutoFit/>
            </a:bodyPr>
            <a:lstStyle/>
            <a:p>
              <a:pPr algn="ctr"/>
              <a:r>
                <a:rPr lang="en-GB" sz="950" b="1" dirty="0" smtClean="0">
                  <a:solidFill>
                    <a:schemeClr val="bg1"/>
                  </a:solidFill>
                </a:rPr>
                <a:t>Dedicated</a:t>
              </a:r>
              <a:endParaRPr lang="en-GB" sz="950" b="1" dirty="0">
                <a:solidFill>
                  <a:schemeClr val="bg1"/>
                </a:solidFill>
              </a:endParaRPr>
            </a:p>
          </p:txBody>
        </p:sp>
        <p:sp>
          <p:nvSpPr>
            <p:cNvPr id="73" name="Parallelogram 72"/>
            <p:cNvSpPr/>
            <p:nvPr/>
          </p:nvSpPr>
          <p:spPr>
            <a:xfrm>
              <a:off x="1078581" y="3547890"/>
              <a:ext cx="2895601" cy="307777"/>
            </a:xfrm>
            <a:prstGeom prst="parallelogram">
              <a:avLst>
                <a:gd name="adj" fmla="val 110294"/>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16200000" scaled="1"/>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74" name="Rectangle 73"/>
            <p:cNvSpPr/>
            <p:nvPr/>
          </p:nvSpPr>
          <p:spPr>
            <a:xfrm>
              <a:off x="1867834" y="3517880"/>
              <a:ext cx="1299834" cy="416970"/>
            </a:xfrm>
            <a:prstGeom prst="rect">
              <a:avLst/>
            </a:prstGeom>
          </p:spPr>
          <p:txBody>
            <a:bodyPr wrap="square">
              <a:spAutoFit/>
            </a:bodyPr>
            <a:lstStyle/>
            <a:p>
              <a:pPr algn="ctr"/>
              <a:r>
                <a:rPr lang="en-GB" sz="950" b="1" dirty="0" smtClean="0">
                  <a:solidFill>
                    <a:schemeClr val="bg1"/>
                  </a:solidFill>
                </a:rPr>
                <a:t>Shared</a:t>
              </a:r>
              <a:endParaRPr lang="en-GB" sz="950" b="1" dirty="0">
                <a:solidFill>
                  <a:schemeClr val="bg1"/>
                </a:solidFill>
              </a:endParaRPr>
            </a:p>
          </p:txBody>
        </p:sp>
        <p:sp>
          <p:nvSpPr>
            <p:cNvPr id="76" name="Parallelogram 75"/>
            <p:cNvSpPr/>
            <p:nvPr/>
          </p:nvSpPr>
          <p:spPr>
            <a:xfrm>
              <a:off x="4404702" y="3259162"/>
              <a:ext cx="3779530" cy="307776"/>
            </a:xfrm>
            <a:prstGeom prst="parallelogram">
              <a:avLst>
                <a:gd name="adj" fmla="val 103911"/>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16200000" scaled="1"/>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77" name="Parallelogram 76"/>
            <p:cNvSpPr/>
            <p:nvPr/>
          </p:nvSpPr>
          <p:spPr>
            <a:xfrm>
              <a:off x="4093739" y="3625149"/>
              <a:ext cx="3779530" cy="307776"/>
            </a:xfrm>
            <a:prstGeom prst="parallelogram">
              <a:avLst>
                <a:gd name="adj" fmla="val 103911"/>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16200000" scaled="1"/>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78" name="Rectangle 77"/>
            <p:cNvSpPr/>
            <p:nvPr/>
          </p:nvSpPr>
          <p:spPr>
            <a:xfrm>
              <a:off x="5644550" y="3230150"/>
              <a:ext cx="1299834" cy="403941"/>
            </a:xfrm>
            <a:prstGeom prst="rect">
              <a:avLst/>
            </a:prstGeom>
          </p:spPr>
          <p:txBody>
            <a:bodyPr wrap="square">
              <a:spAutoFit/>
            </a:bodyPr>
            <a:lstStyle/>
            <a:p>
              <a:pPr algn="ctr"/>
              <a:r>
                <a:rPr lang="en-GB" sz="950" b="1" dirty="0" smtClean="0">
                  <a:solidFill>
                    <a:schemeClr val="bg1"/>
                  </a:solidFill>
                </a:rPr>
                <a:t>IDC</a:t>
              </a:r>
              <a:endParaRPr lang="en-GB" sz="950" b="1" dirty="0">
                <a:solidFill>
                  <a:schemeClr val="bg1"/>
                </a:solidFill>
              </a:endParaRPr>
            </a:p>
          </p:txBody>
        </p:sp>
        <p:sp>
          <p:nvSpPr>
            <p:cNvPr id="79" name="Rectangle 78"/>
            <p:cNvSpPr/>
            <p:nvPr/>
          </p:nvSpPr>
          <p:spPr>
            <a:xfrm>
              <a:off x="5333587" y="3595982"/>
              <a:ext cx="1299834" cy="416970"/>
            </a:xfrm>
            <a:prstGeom prst="rect">
              <a:avLst/>
            </a:prstGeom>
          </p:spPr>
          <p:txBody>
            <a:bodyPr wrap="square">
              <a:spAutoFit/>
            </a:bodyPr>
            <a:lstStyle/>
            <a:p>
              <a:pPr algn="ctr"/>
              <a:r>
                <a:rPr lang="en-GB" sz="950" b="1" dirty="0" smtClean="0">
                  <a:solidFill>
                    <a:schemeClr val="bg1"/>
                  </a:solidFill>
                </a:rPr>
                <a:t>PDC</a:t>
              </a:r>
              <a:endParaRPr lang="en-GB" sz="950" b="1" dirty="0">
                <a:solidFill>
                  <a:schemeClr val="bg1"/>
                </a:solidFill>
              </a:endParaRPr>
            </a:p>
          </p:txBody>
        </p:sp>
        <p:sp>
          <p:nvSpPr>
            <p:cNvPr id="80" name="Chevron 79"/>
            <p:cNvSpPr/>
            <p:nvPr/>
          </p:nvSpPr>
          <p:spPr>
            <a:xfrm>
              <a:off x="4699505" y="2889789"/>
              <a:ext cx="3604067" cy="321749"/>
            </a:xfrm>
            <a:prstGeom prst="chevron">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16200000" scaled="1"/>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sp>
          <p:nvSpPr>
            <p:cNvPr id="81" name="Rectangle 80"/>
            <p:cNvSpPr/>
            <p:nvPr/>
          </p:nvSpPr>
          <p:spPr>
            <a:xfrm>
              <a:off x="5381862" y="2877347"/>
              <a:ext cx="2239352" cy="403941"/>
            </a:xfrm>
            <a:prstGeom prst="rect">
              <a:avLst/>
            </a:prstGeom>
          </p:spPr>
          <p:txBody>
            <a:bodyPr wrap="square" anchor="ctr">
              <a:spAutoFit/>
            </a:bodyPr>
            <a:lstStyle/>
            <a:p>
              <a:pPr algn="ctr"/>
              <a:r>
                <a:rPr lang="en-GB" sz="950" b="1" dirty="0" err="1" smtClean="0">
                  <a:solidFill>
                    <a:schemeClr val="bg1"/>
                  </a:solidFill>
                </a:rPr>
                <a:t>LatAM</a:t>
              </a:r>
              <a:r>
                <a:rPr lang="en-GB" sz="950" b="1" dirty="0" smtClean="0">
                  <a:solidFill>
                    <a:schemeClr val="bg1"/>
                  </a:solidFill>
                </a:rPr>
                <a:t> DC</a:t>
              </a:r>
              <a:endParaRPr lang="en-GB" sz="950" b="1" dirty="0">
                <a:solidFill>
                  <a:schemeClr val="bg1"/>
                </a:solidFill>
              </a:endParaRPr>
            </a:p>
          </p:txBody>
        </p:sp>
        <p:sp>
          <p:nvSpPr>
            <p:cNvPr id="82" name="Parallelogram 81"/>
            <p:cNvSpPr/>
            <p:nvPr/>
          </p:nvSpPr>
          <p:spPr>
            <a:xfrm flipV="1">
              <a:off x="4406590" y="2531069"/>
              <a:ext cx="3779530" cy="307776"/>
            </a:xfrm>
            <a:prstGeom prst="parallelogram">
              <a:avLst>
                <a:gd name="adj" fmla="val 103911"/>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162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83" name="Rectangle 82"/>
            <p:cNvSpPr/>
            <p:nvPr/>
          </p:nvSpPr>
          <p:spPr>
            <a:xfrm>
              <a:off x="5646437" y="2505000"/>
              <a:ext cx="1299834" cy="403941"/>
            </a:xfrm>
            <a:prstGeom prst="rect">
              <a:avLst/>
            </a:prstGeom>
          </p:spPr>
          <p:txBody>
            <a:bodyPr wrap="square" anchor="ctr">
              <a:spAutoFit/>
            </a:bodyPr>
            <a:lstStyle/>
            <a:p>
              <a:pPr algn="ctr"/>
              <a:r>
                <a:rPr lang="en-GB" sz="950" b="1" dirty="0" smtClean="0">
                  <a:solidFill>
                    <a:schemeClr val="bg1"/>
                  </a:solidFill>
                </a:rPr>
                <a:t>UK</a:t>
              </a:r>
            </a:p>
          </p:txBody>
        </p:sp>
        <p:sp>
          <p:nvSpPr>
            <p:cNvPr id="36" name="Down Arrow 35"/>
            <p:cNvSpPr/>
            <p:nvPr/>
          </p:nvSpPr>
          <p:spPr>
            <a:xfrm rot="10800000">
              <a:off x="2933353" y="1441181"/>
              <a:ext cx="466400" cy="657224"/>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7" name="TextBox 36"/>
            <p:cNvSpPr txBox="1"/>
            <p:nvPr/>
          </p:nvSpPr>
          <p:spPr>
            <a:xfrm>
              <a:off x="3307764" y="1406641"/>
              <a:ext cx="2462223" cy="899094"/>
            </a:xfrm>
            <a:prstGeom prst="rect">
              <a:avLst/>
            </a:prstGeom>
            <a:noFill/>
          </p:spPr>
          <p:txBody>
            <a:bodyPr wrap="square" rtlCol="0">
              <a:spAutoFit/>
            </a:bodyPr>
            <a:lstStyle/>
            <a:p>
              <a:r>
                <a:rPr lang="en-GB" sz="950" i="1" dirty="0" smtClean="0"/>
                <a:t>Design DevArch</a:t>
              </a:r>
            </a:p>
            <a:p>
              <a:r>
                <a:rPr lang="en-GB" sz="950" i="1" dirty="0" smtClean="0"/>
                <a:t>Capability implementation</a:t>
              </a:r>
            </a:p>
            <a:p>
              <a:r>
                <a:rPr lang="en-GB" sz="950" i="1" dirty="0" smtClean="0"/>
                <a:t>Training/Coaching</a:t>
              </a:r>
            </a:p>
          </p:txBody>
        </p:sp>
        <p:sp>
          <p:nvSpPr>
            <p:cNvPr id="3" name="Flowchart: Magnetic Disk 2"/>
            <p:cNvSpPr/>
            <p:nvPr/>
          </p:nvSpPr>
          <p:spPr>
            <a:xfrm>
              <a:off x="2184072" y="5475313"/>
              <a:ext cx="457200" cy="520700"/>
            </a:xfrm>
            <a:prstGeom prst="flowChartMagneticDisk">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16200000" scaled="1"/>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61" name="Rectangle 60"/>
            <p:cNvSpPr/>
            <p:nvPr/>
          </p:nvSpPr>
          <p:spPr>
            <a:xfrm>
              <a:off x="2579325" y="5408424"/>
              <a:ext cx="1299834" cy="651517"/>
            </a:xfrm>
            <a:prstGeom prst="rect">
              <a:avLst/>
            </a:prstGeom>
          </p:spPr>
          <p:txBody>
            <a:bodyPr wrap="square">
              <a:spAutoFit/>
            </a:bodyPr>
            <a:lstStyle/>
            <a:p>
              <a:r>
                <a:rPr lang="en-GB" sz="950" b="1" dirty="0" smtClean="0">
                  <a:solidFill>
                    <a:schemeClr val="bg1"/>
                  </a:solidFill>
                </a:rPr>
                <a:t>Assets Library</a:t>
              </a:r>
              <a:endParaRPr lang="en-GB" sz="950" b="1" dirty="0">
                <a:solidFill>
                  <a:schemeClr val="bg1"/>
                </a:solidFill>
              </a:endParaRPr>
            </a:p>
          </p:txBody>
        </p:sp>
      </p:grpSp>
      <p:sp>
        <p:nvSpPr>
          <p:cNvPr id="5" name="TextBox 4"/>
          <p:cNvSpPr txBox="1"/>
          <p:nvPr/>
        </p:nvSpPr>
        <p:spPr>
          <a:xfrm>
            <a:off x="4824097" y="4588582"/>
            <a:ext cx="2020845" cy="369332"/>
          </a:xfrm>
          <a:prstGeom prst="rect">
            <a:avLst/>
          </a:prstGeom>
          <a:noFill/>
        </p:spPr>
        <p:txBody>
          <a:bodyPr wrap="square" rtlCol="0">
            <a:spAutoFit/>
          </a:bodyPr>
          <a:lstStyle/>
          <a:p>
            <a:r>
              <a:rPr lang="en-GB" sz="600" dirty="0" smtClean="0">
                <a:solidFill>
                  <a:schemeClr val="bg2">
                    <a:lumMod val="65000"/>
                  </a:schemeClr>
                </a:solidFill>
              </a:rPr>
              <a:t>Global Shared Service</a:t>
            </a:r>
          </a:p>
          <a:p>
            <a:endParaRPr lang="en-GB" sz="600" dirty="0" smtClean="0">
              <a:solidFill>
                <a:schemeClr val="bg2">
                  <a:lumMod val="65000"/>
                </a:schemeClr>
              </a:solidFill>
            </a:endParaRPr>
          </a:p>
          <a:p>
            <a:r>
              <a:rPr lang="en-GB" sz="600" dirty="0" smtClean="0">
                <a:solidFill>
                  <a:schemeClr val="bg2">
                    <a:lumMod val="65000"/>
                  </a:schemeClr>
                </a:solidFill>
              </a:rPr>
              <a:t>Local DCS Team</a:t>
            </a:r>
            <a:endParaRPr lang="en-GB" sz="600" dirty="0">
              <a:solidFill>
                <a:schemeClr val="bg2">
                  <a:lumMod val="65000"/>
                </a:schemeClr>
              </a:solidFill>
            </a:endParaRPr>
          </a:p>
        </p:txBody>
      </p:sp>
      <p:sp>
        <p:nvSpPr>
          <p:cNvPr id="6" name="Title 5"/>
          <p:cNvSpPr>
            <a:spLocks noGrp="1"/>
          </p:cNvSpPr>
          <p:nvPr>
            <p:ph type="title"/>
          </p:nvPr>
        </p:nvSpPr>
        <p:spPr/>
        <p:txBody>
          <a:bodyPr/>
          <a:lstStyle/>
          <a:p>
            <a:r>
              <a:rPr lang="en-GB" dirty="0" smtClean="0"/>
              <a:t>Chef Factory - What is the Operating Model?</a:t>
            </a:r>
            <a:endParaRPr lang="en-GB" dirty="0"/>
          </a:p>
        </p:txBody>
      </p:sp>
      <p:sp>
        <p:nvSpPr>
          <p:cNvPr id="49" name="Rectangle 48"/>
          <p:cNvSpPr/>
          <p:nvPr/>
        </p:nvSpPr>
        <p:spPr>
          <a:xfrm>
            <a:off x="1331639" y="1556791"/>
            <a:ext cx="1757643" cy="261174"/>
          </a:xfrm>
          <a:prstGeom prst="rect">
            <a:avLst/>
          </a:prstGeom>
          <a:solidFill>
            <a:schemeClr val="accent1">
              <a:lumMod val="40000"/>
              <a:lumOff val="6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b="1" dirty="0" smtClean="0">
                <a:solidFill>
                  <a:schemeClr val="bg1"/>
                </a:solidFill>
              </a:rPr>
              <a:t>Deployed DevOps Resource</a:t>
            </a:r>
            <a:endParaRPr lang="en-GB" sz="1000" b="1" dirty="0">
              <a:solidFill>
                <a:schemeClr val="bg1"/>
              </a:solidFill>
            </a:endParaRPr>
          </a:p>
        </p:txBody>
      </p:sp>
      <p:sp>
        <p:nvSpPr>
          <p:cNvPr id="7" name="TextBox 6"/>
          <p:cNvSpPr txBox="1"/>
          <p:nvPr/>
        </p:nvSpPr>
        <p:spPr>
          <a:xfrm>
            <a:off x="4283968" y="3830851"/>
            <a:ext cx="1191195" cy="246221"/>
          </a:xfrm>
          <a:prstGeom prst="rect">
            <a:avLst/>
          </a:prstGeom>
          <a:noFill/>
        </p:spPr>
        <p:txBody>
          <a:bodyPr wrap="square" rtlCol="0">
            <a:spAutoFit/>
          </a:bodyPr>
          <a:lstStyle/>
          <a:p>
            <a:r>
              <a:rPr lang="en-GB" sz="1000" b="1" i="1" dirty="0" smtClean="0">
                <a:solidFill>
                  <a:schemeClr val="accent1">
                    <a:lumMod val="75000"/>
                  </a:schemeClr>
                </a:solidFill>
              </a:rPr>
              <a:t>CHEF FACTORY</a:t>
            </a:r>
          </a:p>
        </p:txBody>
      </p:sp>
      <p:sp>
        <p:nvSpPr>
          <p:cNvPr id="8" name="Rectangle 7"/>
          <p:cNvSpPr/>
          <p:nvPr/>
        </p:nvSpPr>
        <p:spPr>
          <a:xfrm>
            <a:off x="5688632" y="1308824"/>
            <a:ext cx="3059832" cy="2308324"/>
          </a:xfrm>
          <a:prstGeom prst="rect">
            <a:avLst/>
          </a:prstGeom>
        </p:spPr>
        <p:txBody>
          <a:bodyPr wrap="square">
            <a:spAutoFit/>
          </a:bodyPr>
          <a:lstStyle/>
          <a:p>
            <a:pPr marL="180975" lvl="0"/>
            <a:endParaRPr lang="en-GB" sz="1200" dirty="0" smtClean="0">
              <a:solidFill>
                <a:schemeClr val="tx1">
                  <a:lumMod val="75000"/>
                  <a:lumOff val="25000"/>
                </a:schemeClr>
              </a:solidFill>
            </a:endParaRPr>
          </a:p>
          <a:p>
            <a:pPr marL="180975" algn="just"/>
            <a:r>
              <a:rPr lang="en-GB" sz="1200" dirty="0" smtClean="0">
                <a:solidFill>
                  <a:schemeClr val="tx1">
                    <a:lumMod val="75000"/>
                    <a:lumOff val="25000"/>
                  </a:schemeClr>
                </a:solidFill>
              </a:rPr>
              <a:t>Chef is a key enabler of </a:t>
            </a:r>
            <a:r>
              <a:rPr lang="en-GB" sz="1200" b="1" dirty="0" err="1" smtClean="0">
                <a:solidFill>
                  <a:schemeClr val="tx1">
                    <a:lumMod val="75000"/>
                    <a:lumOff val="25000"/>
                  </a:schemeClr>
                </a:solidFill>
              </a:rPr>
              <a:t>DevOps</a:t>
            </a:r>
            <a:r>
              <a:rPr lang="en-GB" sz="1200" dirty="0" smtClean="0">
                <a:solidFill>
                  <a:schemeClr val="tx1">
                    <a:lumMod val="75000"/>
                    <a:lumOff val="25000"/>
                  </a:schemeClr>
                </a:solidFill>
              </a:rPr>
              <a:t> and </a:t>
            </a:r>
            <a:r>
              <a:rPr lang="en-GB" sz="1200" b="1" dirty="0" err="1" smtClean="0">
                <a:solidFill>
                  <a:schemeClr val="tx1">
                    <a:lumMod val="75000"/>
                    <a:lumOff val="25000"/>
                  </a:schemeClr>
                </a:solidFill>
              </a:rPr>
              <a:t>IaaS</a:t>
            </a:r>
            <a:r>
              <a:rPr lang="en-GB" sz="1200" b="1" dirty="0" smtClean="0">
                <a:solidFill>
                  <a:schemeClr val="tx1">
                    <a:lumMod val="75000"/>
                    <a:lumOff val="25000"/>
                  </a:schemeClr>
                </a:solidFill>
              </a:rPr>
              <a:t> </a:t>
            </a:r>
            <a:r>
              <a:rPr lang="en-GB" sz="1200" dirty="0" smtClean="0">
                <a:solidFill>
                  <a:schemeClr val="tx1">
                    <a:lumMod val="75000"/>
                    <a:lumOff val="25000"/>
                  </a:schemeClr>
                </a:solidFill>
              </a:rPr>
              <a:t>for a number of DevOps Control Service (DCS) engagements. Our </a:t>
            </a:r>
            <a:r>
              <a:rPr lang="en-GB" sz="1200" b="1" dirty="0" smtClean="0">
                <a:solidFill>
                  <a:schemeClr val="tx1">
                    <a:lumMod val="75000"/>
                    <a:lumOff val="25000"/>
                  </a:schemeClr>
                </a:solidFill>
              </a:rPr>
              <a:t>build and deployment automation factory</a:t>
            </a:r>
            <a:r>
              <a:rPr lang="en-GB" sz="1200" dirty="0" smtClean="0">
                <a:solidFill>
                  <a:schemeClr val="tx1">
                    <a:lumMod val="75000"/>
                    <a:lumOff val="25000"/>
                  </a:schemeClr>
                </a:solidFill>
              </a:rPr>
              <a:t> develops cookbooks in an </a:t>
            </a:r>
            <a:r>
              <a:rPr lang="en-GB" sz="1200" b="1" dirty="0" smtClean="0">
                <a:solidFill>
                  <a:schemeClr val="tx1">
                    <a:lumMod val="75000"/>
                    <a:lumOff val="25000"/>
                  </a:schemeClr>
                </a:solidFill>
              </a:rPr>
              <a:t>industrialised </a:t>
            </a:r>
            <a:r>
              <a:rPr lang="en-GB" sz="1200" dirty="0" smtClean="0">
                <a:solidFill>
                  <a:schemeClr val="tx1">
                    <a:lumMod val="75000"/>
                    <a:lumOff val="25000"/>
                  </a:schemeClr>
                </a:solidFill>
              </a:rPr>
              <a:t>and </a:t>
            </a:r>
            <a:r>
              <a:rPr lang="en-GB" sz="1200" b="1" dirty="0" smtClean="0">
                <a:solidFill>
                  <a:schemeClr val="tx1">
                    <a:lumMod val="75000"/>
                    <a:lumOff val="25000"/>
                  </a:schemeClr>
                </a:solidFill>
              </a:rPr>
              <a:t>low-cost</a:t>
            </a:r>
            <a:r>
              <a:rPr lang="en-GB" sz="1200" dirty="0" smtClean="0">
                <a:solidFill>
                  <a:schemeClr val="tx1">
                    <a:lumMod val="75000"/>
                    <a:lumOff val="25000"/>
                  </a:schemeClr>
                </a:solidFill>
              </a:rPr>
              <a:t> manner.  </a:t>
            </a:r>
            <a:r>
              <a:rPr lang="en-GB" sz="1200" dirty="0">
                <a:solidFill>
                  <a:schemeClr val="tx1">
                    <a:lumMod val="75000"/>
                    <a:lumOff val="25000"/>
                  </a:schemeClr>
                </a:solidFill>
              </a:rPr>
              <a:t>T</a:t>
            </a:r>
            <a:r>
              <a:rPr lang="en-GB" sz="1200" dirty="0" smtClean="0">
                <a:solidFill>
                  <a:schemeClr val="tx1">
                    <a:lumMod val="75000"/>
                    <a:lumOff val="25000"/>
                  </a:schemeClr>
                </a:solidFill>
              </a:rPr>
              <a:t>he factory leverages </a:t>
            </a:r>
            <a:r>
              <a:rPr lang="en-GB" sz="1200" b="1" dirty="0" smtClean="0">
                <a:solidFill>
                  <a:schemeClr val="tx1">
                    <a:lumMod val="75000"/>
                    <a:lumOff val="25000"/>
                  </a:schemeClr>
                </a:solidFill>
              </a:rPr>
              <a:t>Continuous </a:t>
            </a:r>
            <a:r>
              <a:rPr lang="en-GB" sz="1200" b="1" dirty="0">
                <a:solidFill>
                  <a:schemeClr val="tx1">
                    <a:lumMod val="75000"/>
                    <a:lumOff val="25000"/>
                  </a:schemeClr>
                </a:solidFill>
              </a:rPr>
              <a:t>I</a:t>
            </a:r>
            <a:r>
              <a:rPr lang="en-GB" sz="1200" b="1" dirty="0" smtClean="0">
                <a:solidFill>
                  <a:schemeClr val="tx1">
                    <a:lumMod val="75000"/>
                    <a:lumOff val="25000"/>
                  </a:schemeClr>
                </a:solidFill>
              </a:rPr>
              <a:t>ntegration </a:t>
            </a:r>
            <a:r>
              <a:rPr lang="en-GB" sz="1200" dirty="0" smtClean="0">
                <a:solidFill>
                  <a:schemeClr val="tx1">
                    <a:lumMod val="75000"/>
                    <a:lumOff val="25000"/>
                  </a:schemeClr>
                </a:solidFill>
              </a:rPr>
              <a:t>and a number of FOSS tools to allow us to </a:t>
            </a:r>
            <a:r>
              <a:rPr lang="en-GB" sz="1200" b="1" dirty="0" smtClean="0">
                <a:solidFill>
                  <a:schemeClr val="tx1">
                    <a:lumMod val="75000"/>
                    <a:lumOff val="25000"/>
                  </a:schemeClr>
                </a:solidFill>
              </a:rPr>
              <a:t>analyse </a:t>
            </a:r>
            <a:r>
              <a:rPr lang="en-GB" sz="1200" dirty="0" smtClean="0">
                <a:solidFill>
                  <a:schemeClr val="tx1">
                    <a:lumMod val="75000"/>
                    <a:lumOff val="25000"/>
                  </a:schemeClr>
                </a:solidFill>
              </a:rPr>
              <a:t>and </a:t>
            </a:r>
            <a:r>
              <a:rPr lang="en-GB" sz="1200" b="1" dirty="0" smtClean="0">
                <a:solidFill>
                  <a:schemeClr val="tx1">
                    <a:lumMod val="75000"/>
                    <a:lumOff val="25000"/>
                  </a:schemeClr>
                </a:solidFill>
              </a:rPr>
              <a:t>automatically test </a:t>
            </a:r>
            <a:r>
              <a:rPr lang="en-GB" sz="1200" dirty="0" smtClean="0">
                <a:solidFill>
                  <a:schemeClr val="tx1">
                    <a:lumMod val="75000"/>
                    <a:lumOff val="25000"/>
                  </a:schemeClr>
                </a:solidFill>
              </a:rPr>
              <a:t>and verify our code.  </a:t>
            </a:r>
            <a:r>
              <a:rPr lang="en-GB" sz="1200" dirty="0">
                <a:solidFill>
                  <a:schemeClr val="tx1">
                    <a:lumMod val="75000"/>
                    <a:lumOff val="25000"/>
                  </a:schemeClr>
                </a:solidFill>
              </a:rPr>
              <a:t> </a:t>
            </a:r>
          </a:p>
        </p:txBody>
      </p:sp>
      <p:sp>
        <p:nvSpPr>
          <p:cNvPr id="9" name="Rectangle 8"/>
          <p:cNvSpPr/>
          <p:nvPr/>
        </p:nvSpPr>
        <p:spPr>
          <a:xfrm>
            <a:off x="395536" y="4874384"/>
            <a:ext cx="8078366" cy="1754326"/>
          </a:xfrm>
          <a:prstGeom prst="rect">
            <a:avLst/>
          </a:prstGeom>
        </p:spPr>
        <p:txBody>
          <a:bodyPr wrap="square">
            <a:spAutoFit/>
          </a:bodyPr>
          <a:lstStyle/>
          <a:p>
            <a:pPr lvl="0" algn="just"/>
            <a:r>
              <a:rPr lang="en-GB" sz="1200" dirty="0" smtClean="0">
                <a:solidFill>
                  <a:schemeClr val="tx1">
                    <a:lumMod val="75000"/>
                    <a:lumOff val="25000"/>
                  </a:schemeClr>
                </a:solidFill>
              </a:rPr>
              <a:t>Our Operating Model is proven, simple and effective. Following the initial sales phase, we mobilise a team of specialists that assesses your environments, consider your requirements as well as industry and technical innovation. They will implement and develop  tools and assets, engaging with the Chef Factory.</a:t>
            </a:r>
          </a:p>
          <a:p>
            <a:pPr lvl="0" algn="just"/>
            <a:endParaRPr lang="en-GB" sz="1200" dirty="0" smtClean="0">
              <a:solidFill>
                <a:schemeClr val="tx1">
                  <a:lumMod val="75000"/>
                  <a:lumOff val="25000"/>
                </a:schemeClr>
              </a:solidFill>
            </a:endParaRPr>
          </a:p>
          <a:p>
            <a:pPr lvl="0" algn="just"/>
            <a:r>
              <a:rPr lang="en-GB" sz="1200" dirty="0" smtClean="0">
                <a:solidFill>
                  <a:schemeClr val="tx1">
                    <a:lumMod val="75000"/>
                    <a:lumOff val="25000"/>
                  </a:schemeClr>
                </a:solidFill>
              </a:rPr>
              <a:t>The Mobilisation team will ensure knowledge transfer and coaching of processes to your team. Once the deliverables are rolled out, support can be provided by DCS “as a Service”, being able to engage and use the Chef Factory “as a Service” when required.</a:t>
            </a:r>
          </a:p>
          <a:p>
            <a:pPr lvl="0" algn="just"/>
            <a:r>
              <a:rPr lang="en-GB" sz="1200" dirty="0" smtClean="0">
                <a:solidFill>
                  <a:schemeClr val="tx1">
                    <a:lumMod val="75000"/>
                    <a:lumOff val="25000"/>
                  </a:schemeClr>
                </a:solidFill>
              </a:rPr>
              <a:t>Chef is well suited to </a:t>
            </a:r>
            <a:r>
              <a:rPr lang="en-GB" sz="1200" b="1" dirty="0" smtClean="0">
                <a:solidFill>
                  <a:schemeClr val="tx1">
                    <a:lumMod val="75000"/>
                    <a:lumOff val="25000"/>
                  </a:schemeClr>
                </a:solidFill>
              </a:rPr>
              <a:t>Cloud</a:t>
            </a:r>
            <a:r>
              <a:rPr lang="en-GB" sz="1200" dirty="0" smtClean="0">
                <a:solidFill>
                  <a:schemeClr val="tx1">
                    <a:lumMod val="75000"/>
                    <a:lumOff val="25000"/>
                  </a:schemeClr>
                </a:solidFill>
              </a:rPr>
              <a:t> deployments utilising </a:t>
            </a:r>
            <a:r>
              <a:rPr lang="en-GB" sz="1200" dirty="0">
                <a:solidFill>
                  <a:schemeClr val="tx1">
                    <a:lumMod val="75000"/>
                    <a:lumOff val="25000"/>
                  </a:schemeClr>
                </a:solidFill>
              </a:rPr>
              <a:t>an </a:t>
            </a:r>
            <a:r>
              <a:rPr lang="en-GB" sz="1200" b="1" dirty="0" smtClean="0">
                <a:solidFill>
                  <a:schemeClr val="tx1">
                    <a:lumMod val="75000"/>
                    <a:lumOff val="25000"/>
                  </a:schemeClr>
                </a:solidFill>
              </a:rPr>
              <a:t>agile</a:t>
            </a:r>
            <a:r>
              <a:rPr lang="en-GB" sz="1200" dirty="0" smtClean="0">
                <a:solidFill>
                  <a:schemeClr val="tx1">
                    <a:lumMod val="75000"/>
                    <a:lumOff val="25000"/>
                  </a:schemeClr>
                </a:solidFill>
              </a:rPr>
              <a:t> methodology but also supports </a:t>
            </a:r>
            <a:r>
              <a:rPr lang="en-GB" sz="1200" b="1" dirty="0" smtClean="0">
                <a:solidFill>
                  <a:schemeClr val="tx1">
                    <a:lumMod val="75000"/>
                    <a:lumOff val="25000"/>
                  </a:schemeClr>
                </a:solidFill>
              </a:rPr>
              <a:t>on premise </a:t>
            </a:r>
            <a:r>
              <a:rPr lang="en-GB" sz="1200" dirty="0" smtClean="0">
                <a:solidFill>
                  <a:schemeClr val="tx1">
                    <a:lumMod val="75000"/>
                    <a:lumOff val="25000"/>
                  </a:schemeClr>
                </a:solidFill>
              </a:rPr>
              <a:t>deployments as well as other delivery methodologies.  </a:t>
            </a:r>
            <a:endParaRPr lang="en-GB" sz="1200" dirty="0">
              <a:solidFill>
                <a:schemeClr val="tx1">
                  <a:lumMod val="75000"/>
                  <a:lumOff val="25000"/>
                </a:schemeClr>
              </a:solidFill>
            </a:endParaRPr>
          </a:p>
        </p:txBody>
      </p:sp>
      <p:sp>
        <p:nvSpPr>
          <p:cNvPr id="66" name="Rectangle 65"/>
          <p:cNvSpPr/>
          <p:nvPr/>
        </p:nvSpPr>
        <p:spPr>
          <a:xfrm>
            <a:off x="4716016" y="4635144"/>
            <a:ext cx="139831" cy="90000"/>
          </a:xfrm>
          <a:prstGeom prst="rect">
            <a:avLst/>
          </a:prstGeom>
          <a:solidFill>
            <a:schemeClr val="accent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600"/>
          </a:p>
        </p:txBody>
      </p:sp>
      <p:sp>
        <p:nvSpPr>
          <p:cNvPr id="64" name="TextBox 63"/>
          <p:cNvSpPr txBox="1"/>
          <p:nvPr/>
        </p:nvSpPr>
        <p:spPr>
          <a:xfrm>
            <a:off x="5796136" y="4581128"/>
            <a:ext cx="2020845" cy="184666"/>
          </a:xfrm>
          <a:prstGeom prst="rect">
            <a:avLst/>
          </a:prstGeom>
          <a:noFill/>
        </p:spPr>
        <p:txBody>
          <a:bodyPr wrap="square" rtlCol="0">
            <a:spAutoFit/>
          </a:bodyPr>
          <a:lstStyle/>
          <a:p>
            <a:r>
              <a:rPr lang="en-GB" sz="600" dirty="0" smtClean="0">
                <a:solidFill>
                  <a:schemeClr val="bg2">
                    <a:lumMod val="65000"/>
                  </a:schemeClr>
                </a:solidFill>
              </a:rPr>
              <a:t>“</a:t>
            </a:r>
            <a:r>
              <a:rPr lang="en-GB" sz="600" dirty="0" err="1" smtClean="0">
                <a:solidFill>
                  <a:schemeClr val="bg2">
                    <a:lumMod val="65000"/>
                  </a:schemeClr>
                </a:solidFill>
              </a:rPr>
              <a:t>Location”+DC</a:t>
            </a:r>
            <a:r>
              <a:rPr lang="en-GB" sz="600" dirty="0" smtClean="0">
                <a:solidFill>
                  <a:schemeClr val="bg2">
                    <a:lumMod val="65000"/>
                  </a:schemeClr>
                </a:solidFill>
              </a:rPr>
              <a:t> stands for Delivery Centre</a:t>
            </a:r>
            <a:endParaRPr lang="en-GB" sz="600" dirty="0">
              <a:solidFill>
                <a:schemeClr val="bg2">
                  <a:lumMod val="65000"/>
                </a:schemeClr>
              </a:solidFill>
            </a:endParaRPr>
          </a:p>
        </p:txBody>
      </p:sp>
    </p:spTree>
    <p:extLst>
      <p:ext uri="{BB962C8B-B14F-4D97-AF65-F5344CB8AC3E}">
        <p14:creationId xmlns:p14="http://schemas.microsoft.com/office/powerpoint/2010/main" val="249645231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Chef Factory Tools Blueprint</a:t>
            </a:r>
            <a:endParaRPr lang="en-GB" dirty="0"/>
          </a:p>
        </p:txBody>
      </p:sp>
      <p:grpSp>
        <p:nvGrpSpPr>
          <p:cNvPr id="6" name="Group 5"/>
          <p:cNvGrpSpPr/>
          <p:nvPr/>
        </p:nvGrpSpPr>
        <p:grpSpPr>
          <a:xfrm>
            <a:off x="2549561" y="1137247"/>
            <a:ext cx="4146905" cy="4146905"/>
            <a:chOff x="2498547" y="1355547"/>
            <a:chExt cx="4146905" cy="4146905"/>
          </a:xfrm>
        </p:grpSpPr>
        <p:grpSp>
          <p:nvGrpSpPr>
            <p:cNvPr id="7" name="Group 6"/>
            <p:cNvGrpSpPr/>
            <p:nvPr/>
          </p:nvGrpSpPr>
          <p:grpSpPr>
            <a:xfrm>
              <a:off x="2498547" y="1355547"/>
              <a:ext cx="4146905" cy="4146905"/>
              <a:chOff x="2498547" y="1355547"/>
              <a:chExt cx="4146905" cy="4146905"/>
            </a:xfrm>
          </p:grpSpPr>
          <p:sp>
            <p:nvSpPr>
              <p:cNvPr id="11" name="Block Arc 10"/>
              <p:cNvSpPr/>
              <p:nvPr/>
            </p:nvSpPr>
            <p:spPr>
              <a:xfrm rot="13515929">
                <a:off x="2498548" y="1355548"/>
                <a:ext cx="4146904" cy="4146904"/>
              </a:xfrm>
              <a:prstGeom prst="blockArc">
                <a:avLst>
                  <a:gd name="adj1" fmla="val 2673395"/>
                  <a:gd name="adj2" fmla="val 0"/>
                  <a:gd name="adj3" fmla="val 25000"/>
                </a:avLst>
              </a:prstGeom>
              <a:gradFill flip="none" rotWithShape="1">
                <a:gsLst>
                  <a:gs pos="0">
                    <a:srgbClr val="6688BB">
                      <a:shade val="30000"/>
                      <a:satMod val="115000"/>
                    </a:srgbClr>
                  </a:gs>
                  <a:gs pos="50000">
                    <a:srgbClr val="6688BB">
                      <a:shade val="67500"/>
                      <a:satMod val="115000"/>
                    </a:srgbClr>
                  </a:gs>
                  <a:gs pos="100000">
                    <a:srgbClr val="6688BB">
                      <a:shade val="100000"/>
                      <a:satMod val="115000"/>
                    </a:srgbClr>
                  </a:gs>
                </a:gsLst>
                <a:lin ang="2700000" scaled="1"/>
                <a:tileRect/>
              </a:gradFill>
              <a:ln w="25400" cap="flat" cmpd="sng" algn="ctr">
                <a:noFill/>
                <a:prstDash val="solid"/>
              </a:ln>
              <a:effectLst/>
              <a:scene3d>
                <a:camera prst="orthographicFront"/>
                <a:lightRig rig="soft" dir="t"/>
              </a:scene3d>
              <a:sp3d prstMaterial="plastic">
                <a:bevelT w="50800" h="50800"/>
              </a:sp3d>
            </p:spPr>
            <p:txBody>
              <a:bodyPr rtlCol="0" anchor="ctr"/>
              <a:lstStyle/>
              <a:p>
                <a:pPr algn="ctr" fontAlgn="auto">
                  <a:spcBef>
                    <a:spcPts val="0"/>
                  </a:spcBef>
                  <a:spcAft>
                    <a:spcPts val="0"/>
                  </a:spcAft>
                </a:pPr>
                <a:endParaRPr lang="es-ES" sz="3200" b="1" kern="0">
                  <a:solidFill>
                    <a:srgbClr val="000000"/>
                  </a:solidFill>
                  <a:latin typeface="Calibri"/>
                </a:endParaRPr>
              </a:p>
            </p:txBody>
          </p:sp>
          <p:sp>
            <p:nvSpPr>
              <p:cNvPr id="13" name="Block Arc 12"/>
              <p:cNvSpPr/>
              <p:nvPr/>
            </p:nvSpPr>
            <p:spPr>
              <a:xfrm rot="16200000">
                <a:off x="2498547" y="1355547"/>
                <a:ext cx="4146904" cy="4146904"/>
              </a:xfrm>
              <a:prstGeom prst="blockArc">
                <a:avLst>
                  <a:gd name="adj1" fmla="val 18912608"/>
                  <a:gd name="adj2" fmla="val 0"/>
                  <a:gd name="adj3" fmla="val 25000"/>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w="25400" cap="flat" cmpd="sng" algn="ctr">
                <a:noFill/>
                <a:prstDash val="solid"/>
              </a:ln>
              <a:effectLst/>
              <a:scene3d>
                <a:camera prst="orthographicFront"/>
                <a:lightRig rig="soft" dir="t"/>
              </a:scene3d>
              <a:sp3d prstMaterial="plastic">
                <a:bevelT w="50800" h="50800"/>
              </a:sp3d>
            </p:spPr>
            <p:txBody>
              <a:bodyPr rtlCol="0" anchor="ctr"/>
              <a:lstStyle/>
              <a:p>
                <a:pPr algn="ctr" fontAlgn="auto">
                  <a:spcBef>
                    <a:spcPts val="0"/>
                  </a:spcBef>
                  <a:spcAft>
                    <a:spcPts val="0"/>
                  </a:spcAft>
                </a:pPr>
                <a:endParaRPr lang="es-ES" sz="3200" b="1" kern="0">
                  <a:solidFill>
                    <a:srgbClr val="000000"/>
                  </a:solidFill>
                  <a:latin typeface="Calibri"/>
                  <a:cs typeface="Arial" charset="0"/>
                </a:endParaRPr>
              </a:p>
            </p:txBody>
          </p:sp>
          <p:grpSp>
            <p:nvGrpSpPr>
              <p:cNvPr id="14" name="Group 13"/>
              <p:cNvGrpSpPr/>
              <p:nvPr/>
            </p:nvGrpSpPr>
            <p:grpSpPr>
              <a:xfrm>
                <a:off x="2616886" y="1529912"/>
                <a:ext cx="3920324" cy="3917588"/>
                <a:chOff x="2270044" y="1695450"/>
                <a:chExt cx="3920324" cy="3917588"/>
              </a:xfrm>
            </p:grpSpPr>
            <p:sp>
              <p:nvSpPr>
                <p:cNvPr id="15" name="Block Arc 14"/>
                <p:cNvSpPr/>
                <p:nvPr/>
              </p:nvSpPr>
              <p:spPr>
                <a:xfrm rot="1320000">
                  <a:off x="2632388" y="2001768"/>
                  <a:ext cx="3185539" cy="3185539"/>
                </a:xfrm>
                <a:prstGeom prst="blockArc">
                  <a:avLst>
                    <a:gd name="adj1" fmla="val 13500000"/>
                    <a:gd name="adj2" fmla="val 16200000"/>
                    <a:gd name="adj3" fmla="val 3422"/>
                  </a:avLst>
                </a:prstGeom>
                <a:solidFill>
                  <a:srgbClr val="6688BB">
                    <a:lumMod val="60000"/>
                    <a:lumOff val="40000"/>
                  </a:srgbClr>
                </a:solidFill>
                <a:ln>
                  <a:noFill/>
                </a:ln>
                <a:effectLst/>
              </p:spPr>
            </p:sp>
            <p:sp>
              <p:nvSpPr>
                <p:cNvPr id="16" name="Block Arc 15"/>
                <p:cNvSpPr/>
                <p:nvPr/>
              </p:nvSpPr>
              <p:spPr>
                <a:xfrm rot="1320000">
                  <a:off x="2632388" y="2001768"/>
                  <a:ext cx="3185539" cy="3185539"/>
                </a:xfrm>
                <a:prstGeom prst="blockArc">
                  <a:avLst>
                    <a:gd name="adj1" fmla="val 10800000"/>
                    <a:gd name="adj2" fmla="val 13500000"/>
                    <a:gd name="adj3" fmla="val 3422"/>
                  </a:avLst>
                </a:prstGeom>
                <a:solidFill>
                  <a:srgbClr val="6688BB">
                    <a:lumMod val="60000"/>
                    <a:lumOff val="40000"/>
                  </a:srgbClr>
                </a:solidFill>
                <a:ln>
                  <a:noFill/>
                </a:ln>
                <a:effectLst/>
              </p:spPr>
            </p:sp>
            <p:sp>
              <p:nvSpPr>
                <p:cNvPr id="17" name="Block Arc 16"/>
                <p:cNvSpPr/>
                <p:nvPr/>
              </p:nvSpPr>
              <p:spPr>
                <a:xfrm rot="1320000">
                  <a:off x="2632388" y="2001768"/>
                  <a:ext cx="3185539" cy="3185539"/>
                </a:xfrm>
                <a:prstGeom prst="blockArc">
                  <a:avLst>
                    <a:gd name="adj1" fmla="val 8100000"/>
                    <a:gd name="adj2" fmla="val 10800000"/>
                    <a:gd name="adj3" fmla="val 3422"/>
                  </a:avLst>
                </a:prstGeom>
                <a:solidFill>
                  <a:srgbClr val="6688BB">
                    <a:lumMod val="60000"/>
                    <a:lumOff val="40000"/>
                  </a:srgbClr>
                </a:solidFill>
                <a:ln>
                  <a:noFill/>
                </a:ln>
                <a:effectLst/>
              </p:spPr>
            </p:sp>
            <p:sp>
              <p:nvSpPr>
                <p:cNvPr id="18" name="Block Arc 17"/>
                <p:cNvSpPr/>
                <p:nvPr/>
              </p:nvSpPr>
              <p:spPr>
                <a:xfrm rot="1320000">
                  <a:off x="2632388" y="2001768"/>
                  <a:ext cx="3185539" cy="3185539"/>
                </a:xfrm>
                <a:prstGeom prst="blockArc">
                  <a:avLst>
                    <a:gd name="adj1" fmla="val 5400000"/>
                    <a:gd name="adj2" fmla="val 8100000"/>
                    <a:gd name="adj3" fmla="val 3422"/>
                  </a:avLst>
                </a:prstGeom>
                <a:solidFill>
                  <a:srgbClr val="6688BB">
                    <a:lumMod val="60000"/>
                    <a:lumOff val="40000"/>
                  </a:srgbClr>
                </a:solidFill>
                <a:ln>
                  <a:noFill/>
                </a:ln>
                <a:effectLst/>
              </p:spPr>
            </p:sp>
            <p:sp>
              <p:nvSpPr>
                <p:cNvPr id="19" name="Block Arc 18"/>
                <p:cNvSpPr/>
                <p:nvPr/>
              </p:nvSpPr>
              <p:spPr>
                <a:xfrm rot="1320000">
                  <a:off x="2632388" y="2001768"/>
                  <a:ext cx="3185539" cy="3185539"/>
                </a:xfrm>
                <a:prstGeom prst="blockArc">
                  <a:avLst>
                    <a:gd name="adj1" fmla="val 2700000"/>
                    <a:gd name="adj2" fmla="val 5400000"/>
                    <a:gd name="adj3" fmla="val 3422"/>
                  </a:avLst>
                </a:prstGeom>
                <a:solidFill>
                  <a:srgbClr val="6688BB">
                    <a:lumMod val="60000"/>
                    <a:lumOff val="40000"/>
                  </a:srgbClr>
                </a:solidFill>
                <a:ln>
                  <a:noFill/>
                </a:ln>
                <a:effectLst/>
              </p:spPr>
            </p:sp>
            <p:sp>
              <p:nvSpPr>
                <p:cNvPr id="20" name="Block Arc 19"/>
                <p:cNvSpPr/>
                <p:nvPr/>
              </p:nvSpPr>
              <p:spPr>
                <a:xfrm rot="1320000">
                  <a:off x="2632388" y="2001768"/>
                  <a:ext cx="3185539" cy="3185539"/>
                </a:xfrm>
                <a:prstGeom prst="blockArc">
                  <a:avLst>
                    <a:gd name="adj1" fmla="val 0"/>
                    <a:gd name="adj2" fmla="val 2700000"/>
                    <a:gd name="adj3" fmla="val 3422"/>
                  </a:avLst>
                </a:prstGeom>
                <a:solidFill>
                  <a:srgbClr val="6688BB">
                    <a:lumMod val="60000"/>
                    <a:lumOff val="40000"/>
                  </a:srgbClr>
                </a:solidFill>
                <a:ln>
                  <a:noFill/>
                </a:ln>
                <a:effectLst/>
              </p:spPr>
            </p:sp>
            <p:sp>
              <p:nvSpPr>
                <p:cNvPr id="21" name="Block Arc 20"/>
                <p:cNvSpPr/>
                <p:nvPr/>
              </p:nvSpPr>
              <p:spPr>
                <a:xfrm rot="1320000">
                  <a:off x="2632388" y="2001768"/>
                  <a:ext cx="3185539" cy="3185539"/>
                </a:xfrm>
                <a:prstGeom prst="blockArc">
                  <a:avLst>
                    <a:gd name="adj1" fmla="val 18900000"/>
                    <a:gd name="adj2" fmla="val 0"/>
                    <a:gd name="adj3" fmla="val 3422"/>
                  </a:avLst>
                </a:prstGeom>
                <a:solidFill>
                  <a:srgbClr val="6688BB">
                    <a:lumMod val="60000"/>
                    <a:lumOff val="40000"/>
                  </a:srgbClr>
                </a:solidFill>
                <a:ln>
                  <a:noFill/>
                </a:ln>
                <a:effectLst/>
              </p:spPr>
            </p:sp>
            <p:sp>
              <p:nvSpPr>
                <p:cNvPr id="22" name="Block Arc 21"/>
                <p:cNvSpPr/>
                <p:nvPr/>
              </p:nvSpPr>
              <p:spPr>
                <a:xfrm rot="1320000">
                  <a:off x="2632388" y="2001768"/>
                  <a:ext cx="3185539" cy="3185539"/>
                </a:xfrm>
                <a:prstGeom prst="blockArc">
                  <a:avLst>
                    <a:gd name="adj1" fmla="val 16200000"/>
                    <a:gd name="adj2" fmla="val 18900000"/>
                    <a:gd name="adj3" fmla="val 3422"/>
                  </a:avLst>
                </a:prstGeom>
                <a:solidFill>
                  <a:srgbClr val="6688BB">
                    <a:lumMod val="60000"/>
                    <a:lumOff val="40000"/>
                  </a:srgbClr>
                </a:solidFill>
                <a:ln>
                  <a:noFill/>
                </a:ln>
                <a:effectLst/>
              </p:spPr>
            </p:sp>
            <p:sp>
              <p:nvSpPr>
                <p:cNvPr id="24" name="Freeform 23"/>
                <p:cNvSpPr/>
                <p:nvPr/>
              </p:nvSpPr>
              <p:spPr>
                <a:xfrm>
                  <a:off x="4462176" y="1744664"/>
                  <a:ext cx="916046" cy="916046"/>
                </a:xfrm>
                <a:custGeom>
                  <a:avLst/>
                  <a:gdLst>
                    <a:gd name="connsiteX0" fmla="*/ 0 w 916046"/>
                    <a:gd name="connsiteY0" fmla="*/ 458023 h 916046"/>
                    <a:gd name="connsiteX1" fmla="*/ 458023 w 916046"/>
                    <a:gd name="connsiteY1" fmla="*/ 0 h 916046"/>
                    <a:gd name="connsiteX2" fmla="*/ 916046 w 916046"/>
                    <a:gd name="connsiteY2" fmla="*/ 458023 h 916046"/>
                    <a:gd name="connsiteX3" fmla="*/ 458023 w 916046"/>
                    <a:gd name="connsiteY3" fmla="*/ 916046 h 916046"/>
                    <a:gd name="connsiteX4" fmla="*/ 0 w 916046"/>
                    <a:gd name="connsiteY4" fmla="*/ 458023 h 9160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046" h="916046">
                      <a:moveTo>
                        <a:pt x="0" y="458023"/>
                      </a:moveTo>
                      <a:cubicBezTo>
                        <a:pt x="0" y="205064"/>
                        <a:pt x="205064" y="0"/>
                        <a:pt x="458023" y="0"/>
                      </a:cubicBezTo>
                      <a:cubicBezTo>
                        <a:pt x="710982" y="0"/>
                        <a:pt x="916046" y="205064"/>
                        <a:pt x="916046" y="458023"/>
                      </a:cubicBezTo>
                      <a:cubicBezTo>
                        <a:pt x="916046" y="710982"/>
                        <a:pt x="710982" y="916046"/>
                        <a:pt x="458023" y="916046"/>
                      </a:cubicBezTo>
                      <a:cubicBezTo>
                        <a:pt x="205064" y="916046"/>
                        <a:pt x="0" y="710982"/>
                        <a:pt x="0" y="458023"/>
                      </a:cubicBezTo>
                      <a:close/>
                    </a:path>
                  </a:pathLst>
                </a:custGeom>
                <a:gradFill flip="none" rotWithShape="1">
                  <a:gsLst>
                    <a:gs pos="0">
                      <a:srgbClr val="6688BB">
                        <a:lumMod val="75000"/>
                      </a:srgbClr>
                    </a:gs>
                    <a:gs pos="100000">
                      <a:srgbClr val="6688BB">
                        <a:lumMod val="60000"/>
                        <a:lumOff val="40000"/>
                      </a:srgbClr>
                    </a:gs>
                  </a:gsLst>
                  <a:path path="circle">
                    <a:fillToRect l="100000" t="100000"/>
                  </a:path>
                  <a:tileRect r="-100000" b="-100000"/>
                </a:gradFill>
                <a:ln w="25400" cap="flat" cmpd="sng" algn="ctr">
                  <a:noFill/>
                  <a:prstDash val="solid"/>
                </a:ln>
                <a:effectLst/>
                <a:scene3d>
                  <a:camera prst="orthographicFront"/>
                  <a:lightRig rig="soft" dir="t"/>
                </a:scene3d>
                <a:sp3d prstMaterial="plastic">
                  <a:bevelT w="165100" prst="coolSlant"/>
                  <a:bevelB/>
                </a:sp3d>
              </p:spPr>
              <p:txBody>
                <a:bodyPr spcFirstLastPara="0" vert="horz" wrap="square" lIns="36000" tIns="36000" rIns="36000" bIns="36000" numCol="1" spcCol="1270" anchor="ctr" anchorCtr="0">
                  <a:noAutofit/>
                </a:bodyPr>
                <a:lstStyle/>
                <a:p>
                  <a:pPr algn="ctr" defTabSz="444500" fontAlgn="auto">
                    <a:lnSpc>
                      <a:spcPct val="90000"/>
                    </a:lnSpc>
                    <a:spcBef>
                      <a:spcPts val="0"/>
                    </a:spcBef>
                    <a:spcAft>
                      <a:spcPct val="35000"/>
                    </a:spcAft>
                  </a:pPr>
                  <a:r>
                    <a:rPr lang="es-ES" sz="800" kern="0" dirty="0" err="1" smtClean="0">
                      <a:solidFill>
                        <a:srgbClr val="000000"/>
                      </a:solidFill>
                      <a:latin typeface="Segoe UI" pitchFamily="34" charset="0"/>
                      <a:ea typeface="Segoe UI" pitchFamily="34" charset="0"/>
                      <a:cs typeface="Segoe UI" pitchFamily="34" charset="0"/>
                    </a:rPr>
                    <a:t>Infrastructure</a:t>
                  </a:r>
                  <a:r>
                    <a:rPr lang="es-ES" sz="800" kern="0" dirty="0" smtClean="0">
                      <a:solidFill>
                        <a:srgbClr val="000000"/>
                      </a:solidFill>
                      <a:latin typeface="Segoe UI" pitchFamily="34" charset="0"/>
                      <a:ea typeface="Segoe UI" pitchFamily="34" charset="0"/>
                      <a:cs typeface="Segoe UI" pitchFamily="34" charset="0"/>
                    </a:rPr>
                    <a:t> </a:t>
                  </a:r>
                  <a:r>
                    <a:rPr lang="es-ES" sz="800" kern="0" dirty="0" err="1" smtClean="0">
                      <a:solidFill>
                        <a:srgbClr val="000000"/>
                      </a:solidFill>
                      <a:latin typeface="Segoe UI" pitchFamily="34" charset="0"/>
                      <a:ea typeface="Segoe UI" pitchFamily="34" charset="0"/>
                      <a:cs typeface="Segoe UI" pitchFamily="34" charset="0"/>
                    </a:rPr>
                    <a:t>Automation</a:t>
                  </a:r>
                  <a:r>
                    <a:rPr lang="es-ES" sz="800" kern="0" dirty="0" smtClean="0">
                      <a:solidFill>
                        <a:srgbClr val="000000"/>
                      </a:solidFill>
                      <a:latin typeface="Segoe UI" pitchFamily="34" charset="0"/>
                      <a:ea typeface="Segoe UI" pitchFamily="34" charset="0"/>
                      <a:cs typeface="Segoe UI" pitchFamily="34" charset="0"/>
                    </a:rPr>
                    <a:t> Framework</a:t>
                  </a:r>
                  <a:endParaRPr lang="es-ES" sz="800" kern="0" dirty="0">
                    <a:solidFill>
                      <a:srgbClr val="000000"/>
                    </a:solidFill>
                    <a:latin typeface="Segoe UI" pitchFamily="34" charset="0"/>
                    <a:ea typeface="Segoe UI" pitchFamily="34" charset="0"/>
                    <a:cs typeface="Segoe UI" pitchFamily="34" charset="0"/>
                  </a:endParaRPr>
                </a:p>
              </p:txBody>
            </p:sp>
            <p:sp>
              <p:nvSpPr>
                <p:cNvPr id="25" name="Freeform 24"/>
                <p:cNvSpPr/>
                <p:nvPr/>
              </p:nvSpPr>
              <p:spPr>
                <a:xfrm>
                  <a:off x="5274322" y="2680768"/>
                  <a:ext cx="916046" cy="916046"/>
                </a:xfrm>
                <a:custGeom>
                  <a:avLst/>
                  <a:gdLst>
                    <a:gd name="connsiteX0" fmla="*/ 0 w 916046"/>
                    <a:gd name="connsiteY0" fmla="*/ 458023 h 916046"/>
                    <a:gd name="connsiteX1" fmla="*/ 458023 w 916046"/>
                    <a:gd name="connsiteY1" fmla="*/ 0 h 916046"/>
                    <a:gd name="connsiteX2" fmla="*/ 916046 w 916046"/>
                    <a:gd name="connsiteY2" fmla="*/ 458023 h 916046"/>
                    <a:gd name="connsiteX3" fmla="*/ 458023 w 916046"/>
                    <a:gd name="connsiteY3" fmla="*/ 916046 h 916046"/>
                    <a:gd name="connsiteX4" fmla="*/ 0 w 916046"/>
                    <a:gd name="connsiteY4" fmla="*/ 458023 h 9160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046" h="916046">
                      <a:moveTo>
                        <a:pt x="0" y="458023"/>
                      </a:moveTo>
                      <a:cubicBezTo>
                        <a:pt x="0" y="205064"/>
                        <a:pt x="205064" y="0"/>
                        <a:pt x="458023" y="0"/>
                      </a:cubicBezTo>
                      <a:cubicBezTo>
                        <a:pt x="710982" y="0"/>
                        <a:pt x="916046" y="205064"/>
                        <a:pt x="916046" y="458023"/>
                      </a:cubicBezTo>
                      <a:cubicBezTo>
                        <a:pt x="916046" y="710982"/>
                        <a:pt x="710982" y="916046"/>
                        <a:pt x="458023" y="916046"/>
                      </a:cubicBezTo>
                      <a:cubicBezTo>
                        <a:pt x="205064" y="916046"/>
                        <a:pt x="0" y="710982"/>
                        <a:pt x="0" y="458023"/>
                      </a:cubicBezTo>
                      <a:close/>
                    </a:path>
                  </a:pathLst>
                </a:custGeom>
                <a:gradFill flip="none" rotWithShape="1">
                  <a:gsLst>
                    <a:gs pos="0">
                      <a:srgbClr val="6688BB">
                        <a:lumMod val="75000"/>
                      </a:srgbClr>
                    </a:gs>
                    <a:gs pos="100000">
                      <a:srgbClr val="6688BB">
                        <a:lumMod val="60000"/>
                        <a:lumOff val="40000"/>
                      </a:srgbClr>
                    </a:gs>
                  </a:gsLst>
                  <a:path path="circle">
                    <a:fillToRect l="100000" t="100000"/>
                  </a:path>
                  <a:tileRect r="-100000" b="-100000"/>
                </a:gradFill>
                <a:ln w="25400" cap="flat" cmpd="sng" algn="ctr">
                  <a:noFill/>
                  <a:prstDash val="solid"/>
                </a:ln>
                <a:effectLst/>
                <a:scene3d>
                  <a:camera prst="orthographicFront"/>
                  <a:lightRig rig="soft" dir="t"/>
                </a:scene3d>
                <a:sp3d prstMaterial="plastic">
                  <a:bevelT w="165100" prst="coolSlant"/>
                  <a:bevelB/>
                </a:sp3d>
              </p:spPr>
              <p:txBody>
                <a:bodyPr spcFirstLastPara="0" vert="horz" wrap="square" lIns="36000" tIns="36000" rIns="36000" bIns="36000" numCol="1" spcCol="1270" anchor="ctr" anchorCtr="0">
                  <a:noAutofit/>
                </a:bodyPr>
                <a:lstStyle/>
                <a:p>
                  <a:pPr algn="ctr" defTabSz="444500" fontAlgn="auto">
                    <a:lnSpc>
                      <a:spcPct val="90000"/>
                    </a:lnSpc>
                    <a:spcBef>
                      <a:spcPts val="0"/>
                    </a:spcBef>
                    <a:spcAft>
                      <a:spcPct val="35000"/>
                    </a:spcAft>
                  </a:pPr>
                  <a:r>
                    <a:rPr lang="es-ES" sz="800" kern="0" dirty="0" err="1" smtClean="0">
                      <a:solidFill>
                        <a:srgbClr val="000000"/>
                      </a:solidFill>
                      <a:latin typeface="Segoe UI" pitchFamily="34" charset="0"/>
                      <a:ea typeface="Segoe UI" pitchFamily="34" charset="0"/>
                      <a:cs typeface="Segoe UI" pitchFamily="34" charset="0"/>
                    </a:rPr>
                    <a:t>Service</a:t>
                  </a:r>
                  <a:r>
                    <a:rPr lang="es-ES" sz="800" kern="0" dirty="0" smtClean="0">
                      <a:solidFill>
                        <a:srgbClr val="000000"/>
                      </a:solidFill>
                      <a:latin typeface="Segoe UI" pitchFamily="34" charset="0"/>
                      <a:ea typeface="Segoe UI" pitchFamily="34" charset="0"/>
                      <a:cs typeface="Segoe UI" pitchFamily="34" charset="0"/>
                    </a:rPr>
                    <a:t> </a:t>
                  </a:r>
                  <a:r>
                    <a:rPr lang="es-ES" sz="800" kern="0" dirty="0" err="1" smtClean="0">
                      <a:solidFill>
                        <a:srgbClr val="000000"/>
                      </a:solidFill>
                      <a:latin typeface="Segoe UI" pitchFamily="34" charset="0"/>
                      <a:ea typeface="Segoe UI" pitchFamily="34" charset="0"/>
                      <a:cs typeface="Segoe UI" pitchFamily="34" charset="0"/>
                    </a:rPr>
                    <a:t>Asset</a:t>
                  </a:r>
                  <a:r>
                    <a:rPr lang="es-ES" sz="800" kern="0" dirty="0" smtClean="0">
                      <a:solidFill>
                        <a:srgbClr val="000000"/>
                      </a:solidFill>
                      <a:latin typeface="Segoe UI" pitchFamily="34" charset="0"/>
                      <a:ea typeface="Segoe UI" pitchFamily="34" charset="0"/>
                      <a:cs typeface="Segoe UI" pitchFamily="34" charset="0"/>
                    </a:rPr>
                    <a:t> and </a:t>
                  </a:r>
                  <a:r>
                    <a:rPr lang="es-ES" sz="800" kern="0" dirty="0" err="1" smtClean="0">
                      <a:solidFill>
                        <a:srgbClr val="000000"/>
                      </a:solidFill>
                      <a:latin typeface="Segoe UI" pitchFamily="34" charset="0"/>
                      <a:ea typeface="Segoe UI" pitchFamily="34" charset="0"/>
                      <a:cs typeface="Segoe UI" pitchFamily="34" charset="0"/>
                    </a:rPr>
                    <a:t>Configuration</a:t>
                  </a:r>
                  <a:r>
                    <a:rPr lang="es-ES" sz="800" kern="0" dirty="0" smtClean="0">
                      <a:solidFill>
                        <a:srgbClr val="000000"/>
                      </a:solidFill>
                      <a:latin typeface="Segoe UI" pitchFamily="34" charset="0"/>
                      <a:ea typeface="Segoe UI" pitchFamily="34" charset="0"/>
                      <a:cs typeface="Segoe UI" pitchFamily="34" charset="0"/>
                    </a:rPr>
                    <a:t> Management</a:t>
                  </a:r>
                  <a:endParaRPr lang="es-ES" sz="800" kern="0" dirty="0">
                    <a:solidFill>
                      <a:srgbClr val="000000"/>
                    </a:solidFill>
                    <a:latin typeface="Segoe UI" pitchFamily="34" charset="0"/>
                    <a:ea typeface="Segoe UI" pitchFamily="34" charset="0"/>
                    <a:cs typeface="Segoe UI" pitchFamily="34" charset="0"/>
                  </a:endParaRPr>
                </a:p>
              </p:txBody>
            </p:sp>
            <p:sp>
              <p:nvSpPr>
                <p:cNvPr id="26" name="Freeform 25"/>
                <p:cNvSpPr/>
                <p:nvPr/>
              </p:nvSpPr>
              <p:spPr>
                <a:xfrm>
                  <a:off x="3762154" y="4696992"/>
                  <a:ext cx="916046" cy="916046"/>
                </a:xfrm>
                <a:custGeom>
                  <a:avLst/>
                  <a:gdLst>
                    <a:gd name="connsiteX0" fmla="*/ 0 w 916046"/>
                    <a:gd name="connsiteY0" fmla="*/ 458023 h 916046"/>
                    <a:gd name="connsiteX1" fmla="*/ 458023 w 916046"/>
                    <a:gd name="connsiteY1" fmla="*/ 0 h 916046"/>
                    <a:gd name="connsiteX2" fmla="*/ 916046 w 916046"/>
                    <a:gd name="connsiteY2" fmla="*/ 458023 h 916046"/>
                    <a:gd name="connsiteX3" fmla="*/ 458023 w 916046"/>
                    <a:gd name="connsiteY3" fmla="*/ 916046 h 916046"/>
                    <a:gd name="connsiteX4" fmla="*/ 0 w 916046"/>
                    <a:gd name="connsiteY4" fmla="*/ 458023 h 9160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046" h="916046">
                      <a:moveTo>
                        <a:pt x="0" y="458023"/>
                      </a:moveTo>
                      <a:cubicBezTo>
                        <a:pt x="0" y="205064"/>
                        <a:pt x="205064" y="0"/>
                        <a:pt x="458023" y="0"/>
                      </a:cubicBezTo>
                      <a:cubicBezTo>
                        <a:pt x="710982" y="0"/>
                        <a:pt x="916046" y="205064"/>
                        <a:pt x="916046" y="458023"/>
                      </a:cubicBezTo>
                      <a:cubicBezTo>
                        <a:pt x="916046" y="710982"/>
                        <a:pt x="710982" y="916046"/>
                        <a:pt x="458023" y="916046"/>
                      </a:cubicBezTo>
                      <a:cubicBezTo>
                        <a:pt x="205064" y="916046"/>
                        <a:pt x="0" y="710982"/>
                        <a:pt x="0" y="458023"/>
                      </a:cubicBezTo>
                      <a:close/>
                    </a:path>
                  </a:pathLst>
                </a:custGeom>
                <a:gradFill flip="none" rotWithShape="1">
                  <a:gsLst>
                    <a:gs pos="0">
                      <a:srgbClr val="6688BB">
                        <a:lumMod val="75000"/>
                      </a:srgbClr>
                    </a:gs>
                    <a:gs pos="100000">
                      <a:srgbClr val="6688BB">
                        <a:lumMod val="60000"/>
                        <a:lumOff val="40000"/>
                      </a:srgbClr>
                    </a:gs>
                  </a:gsLst>
                  <a:path path="circle">
                    <a:fillToRect l="100000" t="100000"/>
                  </a:path>
                  <a:tileRect r="-100000" b="-100000"/>
                </a:gradFill>
                <a:ln w="25400" cap="flat" cmpd="sng" algn="ctr">
                  <a:noFill/>
                  <a:prstDash val="solid"/>
                </a:ln>
                <a:effectLst/>
                <a:scene3d>
                  <a:camera prst="orthographicFront"/>
                  <a:lightRig rig="soft" dir="t"/>
                </a:scene3d>
                <a:sp3d prstMaterial="plastic">
                  <a:bevelT w="165100" prst="coolSlant"/>
                  <a:bevelB/>
                </a:sp3d>
              </p:spPr>
              <p:txBody>
                <a:bodyPr spcFirstLastPara="0" vert="horz" wrap="square" lIns="36000" tIns="36000" rIns="36000" bIns="36000" numCol="1" spcCol="1270" anchor="ctr" anchorCtr="0">
                  <a:noAutofit/>
                </a:bodyPr>
                <a:lstStyle/>
                <a:p>
                  <a:pPr algn="ctr" defTabSz="444500" fontAlgn="auto">
                    <a:lnSpc>
                      <a:spcPct val="90000"/>
                    </a:lnSpc>
                    <a:spcBef>
                      <a:spcPts val="0"/>
                    </a:spcBef>
                    <a:spcAft>
                      <a:spcPct val="35000"/>
                    </a:spcAft>
                  </a:pPr>
                  <a:r>
                    <a:rPr lang="en-US" sz="800" kern="0" dirty="0">
                      <a:solidFill>
                        <a:srgbClr val="000000"/>
                      </a:solidFill>
                      <a:latin typeface="Segoe UI" pitchFamily="34" charset="0"/>
                      <a:ea typeface="Segoe UI" pitchFamily="34" charset="0"/>
                      <a:cs typeface="Segoe UI" pitchFamily="34" charset="0"/>
                    </a:rPr>
                    <a:t>Automated Solution Quality</a:t>
                  </a:r>
                  <a:endParaRPr lang="es-ES" sz="800" kern="0" dirty="0">
                    <a:solidFill>
                      <a:srgbClr val="000000"/>
                    </a:solidFill>
                    <a:latin typeface="Segoe UI" pitchFamily="34" charset="0"/>
                    <a:ea typeface="Segoe UI" pitchFamily="34" charset="0"/>
                    <a:cs typeface="Segoe UI" pitchFamily="34" charset="0"/>
                  </a:endParaRPr>
                </a:p>
              </p:txBody>
            </p:sp>
            <p:sp>
              <p:nvSpPr>
                <p:cNvPr id="28" name="Freeform 27"/>
                <p:cNvSpPr/>
                <p:nvPr/>
              </p:nvSpPr>
              <p:spPr>
                <a:xfrm>
                  <a:off x="2466010" y="3976912"/>
                  <a:ext cx="916046" cy="916046"/>
                </a:xfrm>
                <a:custGeom>
                  <a:avLst/>
                  <a:gdLst>
                    <a:gd name="connsiteX0" fmla="*/ 0 w 916046"/>
                    <a:gd name="connsiteY0" fmla="*/ 458023 h 916046"/>
                    <a:gd name="connsiteX1" fmla="*/ 458023 w 916046"/>
                    <a:gd name="connsiteY1" fmla="*/ 0 h 916046"/>
                    <a:gd name="connsiteX2" fmla="*/ 916046 w 916046"/>
                    <a:gd name="connsiteY2" fmla="*/ 458023 h 916046"/>
                    <a:gd name="connsiteX3" fmla="*/ 458023 w 916046"/>
                    <a:gd name="connsiteY3" fmla="*/ 916046 h 916046"/>
                    <a:gd name="connsiteX4" fmla="*/ 0 w 916046"/>
                    <a:gd name="connsiteY4" fmla="*/ 458023 h 9160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046" h="916046">
                      <a:moveTo>
                        <a:pt x="0" y="458023"/>
                      </a:moveTo>
                      <a:cubicBezTo>
                        <a:pt x="0" y="205064"/>
                        <a:pt x="205064" y="0"/>
                        <a:pt x="458023" y="0"/>
                      </a:cubicBezTo>
                      <a:cubicBezTo>
                        <a:pt x="710982" y="0"/>
                        <a:pt x="916046" y="205064"/>
                        <a:pt x="916046" y="458023"/>
                      </a:cubicBezTo>
                      <a:cubicBezTo>
                        <a:pt x="916046" y="710982"/>
                        <a:pt x="710982" y="916046"/>
                        <a:pt x="458023" y="916046"/>
                      </a:cubicBezTo>
                      <a:cubicBezTo>
                        <a:pt x="205064" y="916046"/>
                        <a:pt x="0" y="710982"/>
                        <a:pt x="0" y="458023"/>
                      </a:cubicBezTo>
                      <a:close/>
                    </a:path>
                  </a:pathLst>
                </a:custGeom>
                <a:gradFill flip="none" rotWithShape="1">
                  <a:gsLst>
                    <a:gs pos="0">
                      <a:srgbClr val="6688BB">
                        <a:lumMod val="75000"/>
                      </a:srgbClr>
                    </a:gs>
                    <a:gs pos="100000">
                      <a:srgbClr val="6688BB">
                        <a:lumMod val="60000"/>
                        <a:lumOff val="40000"/>
                      </a:srgbClr>
                    </a:gs>
                  </a:gsLst>
                  <a:path path="circle">
                    <a:fillToRect l="100000" t="100000"/>
                  </a:path>
                  <a:tileRect r="-100000" b="-100000"/>
                </a:gradFill>
                <a:ln w="25400" cap="flat" cmpd="sng" algn="ctr">
                  <a:noFill/>
                  <a:prstDash val="solid"/>
                </a:ln>
                <a:effectLst/>
                <a:scene3d>
                  <a:camera prst="orthographicFront"/>
                  <a:lightRig rig="soft" dir="t"/>
                </a:scene3d>
                <a:sp3d prstMaterial="plastic">
                  <a:bevelT w="165100" prst="coolSlant"/>
                  <a:bevelB/>
                </a:sp3d>
              </p:spPr>
              <p:txBody>
                <a:bodyPr spcFirstLastPara="0" vert="horz" wrap="square" lIns="108000" tIns="36000" rIns="108000" bIns="36000" numCol="1" spcCol="1270" anchor="ctr" anchorCtr="0">
                  <a:noAutofit/>
                </a:bodyPr>
                <a:lstStyle/>
                <a:p>
                  <a:pPr algn="ctr" defTabSz="444500" fontAlgn="auto">
                    <a:lnSpc>
                      <a:spcPct val="90000"/>
                    </a:lnSpc>
                    <a:spcBef>
                      <a:spcPts val="0"/>
                    </a:spcBef>
                    <a:spcAft>
                      <a:spcPct val="35000"/>
                    </a:spcAft>
                  </a:pPr>
                  <a:r>
                    <a:rPr lang="en-US" sz="800" kern="0" dirty="0" smtClean="0">
                      <a:solidFill>
                        <a:srgbClr val="000000"/>
                      </a:solidFill>
                      <a:latin typeface="Segoe UI" pitchFamily="34" charset="0"/>
                      <a:ea typeface="Segoe UI" pitchFamily="34" charset="0"/>
                      <a:cs typeface="Segoe UI" pitchFamily="34" charset="0"/>
                    </a:rPr>
                    <a:t>Automated  Build and Deployment </a:t>
                  </a:r>
                </a:p>
                <a:p>
                  <a:pPr algn="ctr" defTabSz="444500" fontAlgn="auto">
                    <a:lnSpc>
                      <a:spcPct val="90000"/>
                    </a:lnSpc>
                    <a:spcBef>
                      <a:spcPts val="0"/>
                    </a:spcBef>
                    <a:spcAft>
                      <a:spcPct val="35000"/>
                    </a:spcAft>
                  </a:pPr>
                  <a:r>
                    <a:rPr lang="en-US" sz="800" kern="0" dirty="0" smtClean="0">
                      <a:solidFill>
                        <a:srgbClr val="000000"/>
                      </a:solidFill>
                      <a:latin typeface="Segoe UI" pitchFamily="34" charset="0"/>
                      <a:ea typeface="Segoe UI" pitchFamily="34" charset="0"/>
                      <a:cs typeface="Segoe UI" pitchFamily="34" charset="0"/>
                    </a:rPr>
                    <a:t>(CHEF)</a:t>
                  </a:r>
                </a:p>
              </p:txBody>
            </p:sp>
            <p:sp>
              <p:nvSpPr>
                <p:cNvPr id="29" name="Freeform 28"/>
                <p:cNvSpPr/>
                <p:nvPr/>
              </p:nvSpPr>
              <p:spPr>
                <a:xfrm>
                  <a:off x="2270044" y="2680768"/>
                  <a:ext cx="916046" cy="916046"/>
                </a:xfrm>
                <a:custGeom>
                  <a:avLst/>
                  <a:gdLst>
                    <a:gd name="connsiteX0" fmla="*/ 0 w 916046"/>
                    <a:gd name="connsiteY0" fmla="*/ 458023 h 916046"/>
                    <a:gd name="connsiteX1" fmla="*/ 458023 w 916046"/>
                    <a:gd name="connsiteY1" fmla="*/ 0 h 916046"/>
                    <a:gd name="connsiteX2" fmla="*/ 916046 w 916046"/>
                    <a:gd name="connsiteY2" fmla="*/ 458023 h 916046"/>
                    <a:gd name="connsiteX3" fmla="*/ 458023 w 916046"/>
                    <a:gd name="connsiteY3" fmla="*/ 916046 h 916046"/>
                    <a:gd name="connsiteX4" fmla="*/ 0 w 916046"/>
                    <a:gd name="connsiteY4" fmla="*/ 458023 h 9160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046" h="916046">
                      <a:moveTo>
                        <a:pt x="0" y="458023"/>
                      </a:moveTo>
                      <a:cubicBezTo>
                        <a:pt x="0" y="205064"/>
                        <a:pt x="205064" y="0"/>
                        <a:pt x="458023" y="0"/>
                      </a:cubicBezTo>
                      <a:cubicBezTo>
                        <a:pt x="710982" y="0"/>
                        <a:pt x="916046" y="205064"/>
                        <a:pt x="916046" y="458023"/>
                      </a:cubicBezTo>
                      <a:cubicBezTo>
                        <a:pt x="916046" y="710982"/>
                        <a:pt x="710982" y="916046"/>
                        <a:pt x="458023" y="916046"/>
                      </a:cubicBezTo>
                      <a:cubicBezTo>
                        <a:pt x="205064" y="916046"/>
                        <a:pt x="0" y="710982"/>
                        <a:pt x="0" y="458023"/>
                      </a:cubicBezTo>
                      <a:close/>
                    </a:path>
                  </a:pathLst>
                </a:custGeom>
                <a:gradFill flip="none" rotWithShape="1">
                  <a:gsLst>
                    <a:gs pos="0">
                      <a:srgbClr val="6688BB">
                        <a:lumMod val="75000"/>
                      </a:srgbClr>
                    </a:gs>
                    <a:gs pos="100000">
                      <a:srgbClr val="6688BB">
                        <a:lumMod val="60000"/>
                        <a:lumOff val="40000"/>
                      </a:srgbClr>
                    </a:gs>
                  </a:gsLst>
                  <a:path path="circle">
                    <a:fillToRect l="100000" t="100000"/>
                  </a:path>
                  <a:tileRect r="-100000" b="-100000"/>
                </a:gradFill>
                <a:ln w="25400" cap="flat" cmpd="sng" algn="ctr">
                  <a:noFill/>
                  <a:prstDash val="solid"/>
                </a:ln>
                <a:effectLst/>
                <a:scene3d>
                  <a:camera prst="orthographicFront"/>
                  <a:lightRig rig="soft" dir="t"/>
                </a:scene3d>
                <a:sp3d prstMaterial="plastic">
                  <a:bevelT w="165100" prst="coolSlant"/>
                  <a:bevelB/>
                </a:sp3d>
              </p:spPr>
              <p:txBody>
                <a:bodyPr spcFirstLastPara="0" vert="horz" wrap="square" lIns="108000" tIns="36000" rIns="108000" bIns="36000" numCol="1" spcCol="1270" anchor="ctr" anchorCtr="0">
                  <a:noAutofit/>
                </a:bodyPr>
                <a:lstStyle/>
                <a:p>
                  <a:pPr algn="ctr" defTabSz="444500" fontAlgn="auto">
                    <a:lnSpc>
                      <a:spcPct val="90000"/>
                    </a:lnSpc>
                    <a:spcBef>
                      <a:spcPts val="0"/>
                    </a:spcBef>
                    <a:spcAft>
                      <a:spcPct val="35000"/>
                    </a:spcAft>
                  </a:pPr>
                  <a:r>
                    <a:rPr lang="en-GB" sz="800" kern="0" dirty="0" smtClean="0">
                      <a:solidFill>
                        <a:srgbClr val="000000"/>
                      </a:solidFill>
                      <a:latin typeface="Segoe UI" pitchFamily="34" charset="0"/>
                      <a:ea typeface="Segoe UI" pitchFamily="34" charset="0"/>
                      <a:cs typeface="Segoe UI" pitchFamily="34" charset="0"/>
                    </a:rPr>
                    <a:t>Automated Testing</a:t>
                  </a:r>
                  <a:endParaRPr lang="es-ES" sz="800" kern="0" dirty="0">
                    <a:solidFill>
                      <a:srgbClr val="000000"/>
                    </a:solidFill>
                    <a:latin typeface="Segoe UI" pitchFamily="34" charset="0"/>
                    <a:ea typeface="Segoe UI" pitchFamily="34" charset="0"/>
                    <a:cs typeface="Segoe UI" pitchFamily="34" charset="0"/>
                  </a:endParaRPr>
                </a:p>
              </p:txBody>
            </p:sp>
            <p:sp>
              <p:nvSpPr>
                <p:cNvPr id="30" name="Freeform 29"/>
                <p:cNvSpPr/>
                <p:nvPr/>
              </p:nvSpPr>
              <p:spPr>
                <a:xfrm>
                  <a:off x="3155439" y="1695450"/>
                  <a:ext cx="916046" cy="916046"/>
                </a:xfrm>
                <a:custGeom>
                  <a:avLst/>
                  <a:gdLst>
                    <a:gd name="connsiteX0" fmla="*/ 0 w 916046"/>
                    <a:gd name="connsiteY0" fmla="*/ 458023 h 916046"/>
                    <a:gd name="connsiteX1" fmla="*/ 458023 w 916046"/>
                    <a:gd name="connsiteY1" fmla="*/ 0 h 916046"/>
                    <a:gd name="connsiteX2" fmla="*/ 916046 w 916046"/>
                    <a:gd name="connsiteY2" fmla="*/ 458023 h 916046"/>
                    <a:gd name="connsiteX3" fmla="*/ 458023 w 916046"/>
                    <a:gd name="connsiteY3" fmla="*/ 916046 h 916046"/>
                    <a:gd name="connsiteX4" fmla="*/ 0 w 916046"/>
                    <a:gd name="connsiteY4" fmla="*/ 458023 h 9160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046" h="916046">
                      <a:moveTo>
                        <a:pt x="0" y="458023"/>
                      </a:moveTo>
                      <a:cubicBezTo>
                        <a:pt x="0" y="205064"/>
                        <a:pt x="205064" y="0"/>
                        <a:pt x="458023" y="0"/>
                      </a:cubicBezTo>
                      <a:cubicBezTo>
                        <a:pt x="710982" y="0"/>
                        <a:pt x="916046" y="205064"/>
                        <a:pt x="916046" y="458023"/>
                      </a:cubicBezTo>
                      <a:cubicBezTo>
                        <a:pt x="916046" y="710982"/>
                        <a:pt x="710982" y="916046"/>
                        <a:pt x="458023" y="916046"/>
                      </a:cubicBezTo>
                      <a:cubicBezTo>
                        <a:pt x="205064" y="916046"/>
                        <a:pt x="0" y="710982"/>
                        <a:pt x="0" y="458023"/>
                      </a:cubicBezTo>
                      <a:close/>
                    </a:path>
                  </a:pathLst>
                </a:custGeom>
                <a:gradFill flip="none" rotWithShape="1">
                  <a:gsLst>
                    <a:gs pos="0">
                      <a:srgbClr val="66AA44">
                        <a:lumMod val="75000"/>
                      </a:srgbClr>
                    </a:gs>
                    <a:gs pos="100000">
                      <a:srgbClr val="66AA44">
                        <a:lumMod val="60000"/>
                        <a:lumOff val="40000"/>
                      </a:srgbClr>
                    </a:gs>
                  </a:gsLst>
                  <a:path path="circle">
                    <a:fillToRect l="100000" t="100000"/>
                  </a:path>
                  <a:tileRect r="-100000" b="-100000"/>
                </a:gradFill>
                <a:ln w="25400" cap="flat" cmpd="sng" algn="ctr">
                  <a:noFill/>
                  <a:prstDash val="solid"/>
                </a:ln>
                <a:effectLst/>
                <a:scene3d>
                  <a:camera prst="orthographicFront"/>
                  <a:lightRig rig="soft" dir="t"/>
                </a:scene3d>
                <a:sp3d prstMaterial="plastic">
                  <a:bevelT w="165100" prst="coolSlant"/>
                  <a:bevelB/>
                </a:sp3d>
              </p:spPr>
              <p:txBody>
                <a:bodyPr spcFirstLastPara="0" vert="horz" wrap="square" lIns="36000" tIns="36000" rIns="36000" bIns="36000" numCol="1" spcCol="1270" anchor="ctr" anchorCtr="0">
                  <a:noAutofit/>
                </a:bodyPr>
                <a:lstStyle/>
                <a:p>
                  <a:pPr algn="ctr" defTabSz="400050" fontAlgn="auto">
                    <a:lnSpc>
                      <a:spcPct val="90000"/>
                    </a:lnSpc>
                    <a:spcBef>
                      <a:spcPts val="0"/>
                    </a:spcBef>
                    <a:spcAft>
                      <a:spcPct val="35000"/>
                    </a:spcAft>
                  </a:pPr>
                  <a:r>
                    <a:rPr lang="en-US" sz="800" kern="0" dirty="0" smtClean="0">
                      <a:solidFill>
                        <a:srgbClr val="000000"/>
                      </a:solidFill>
                      <a:latin typeface="Segoe UI" pitchFamily="34" charset="0"/>
                      <a:ea typeface="Segoe UI" pitchFamily="34" charset="0"/>
                      <a:cs typeface="Segoe UI" pitchFamily="34" charset="0"/>
                    </a:rPr>
                    <a:t>Infrastructure and Service Monitoring</a:t>
                  </a:r>
                  <a:endParaRPr lang="es-ES" sz="800" kern="0" dirty="0">
                    <a:solidFill>
                      <a:srgbClr val="000000"/>
                    </a:solidFill>
                    <a:latin typeface="Segoe UI" pitchFamily="34" charset="0"/>
                    <a:ea typeface="Segoe UI" pitchFamily="34" charset="0"/>
                    <a:cs typeface="Segoe UI" pitchFamily="34" charset="0"/>
                  </a:endParaRPr>
                </a:p>
              </p:txBody>
            </p:sp>
          </p:grpSp>
        </p:grpSp>
        <p:sp>
          <p:nvSpPr>
            <p:cNvPr id="8" name="Rectangle 7"/>
            <p:cNvSpPr>
              <a:spLocks noChangeAspect="1"/>
            </p:cNvSpPr>
            <p:nvPr/>
          </p:nvSpPr>
          <p:spPr>
            <a:xfrm rot="19938598">
              <a:off x="3792889" y="2557377"/>
              <a:ext cx="1592718" cy="1590774"/>
            </a:xfrm>
            <a:prstGeom prst="rect">
              <a:avLst/>
            </a:prstGeom>
            <a:noFill/>
            <a:effectLst/>
          </p:spPr>
          <p:txBody>
            <a:bodyPr wrap="none" lIns="91440" tIns="45720" rIns="91440" bIns="45720" anchor="ctr">
              <a:prstTxWarp prst="textArchUp">
                <a:avLst/>
              </a:prstTxWarp>
              <a:spAutoFit/>
              <a:scene3d>
                <a:camera prst="orthographicFront"/>
                <a:lightRig rig="flat" dir="t">
                  <a:rot lat="0" lon="0" rev="18900000"/>
                </a:lightRig>
              </a:scene3d>
              <a:sp3d extrusionH="31750" contourW="6350" prstMaterial="powder">
                <a:contourClr>
                  <a:schemeClr val="accent3">
                    <a:tint val="100000"/>
                    <a:shade val="100000"/>
                    <a:satMod val="100000"/>
                    <a:hueMod val="100000"/>
                  </a:schemeClr>
                </a:contourClr>
              </a:sp3d>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solidFill>
                    <a:srgbClr val="3B8C28"/>
                  </a:solidFill>
                  <a:uLnTx/>
                  <a:uFillTx/>
                  <a:latin typeface="Segoe UI" pitchFamily="34" charset="0"/>
                  <a:ea typeface="Segoe UI" pitchFamily="34" charset="0"/>
                  <a:cs typeface="Segoe UI" pitchFamily="34" charset="0"/>
                </a:rPr>
                <a:t>Run</a:t>
              </a:r>
            </a:p>
          </p:txBody>
        </p:sp>
        <p:sp>
          <p:nvSpPr>
            <p:cNvPr id="9" name="Rectangle 8"/>
            <p:cNvSpPr>
              <a:spLocks noChangeAspect="1"/>
            </p:cNvSpPr>
            <p:nvPr/>
          </p:nvSpPr>
          <p:spPr>
            <a:xfrm rot="1376316">
              <a:off x="3848672" y="2592526"/>
              <a:ext cx="1554660" cy="1552762"/>
            </a:xfrm>
            <a:prstGeom prst="rect">
              <a:avLst/>
            </a:prstGeom>
            <a:noFill/>
            <a:effectLst/>
          </p:spPr>
          <p:txBody>
            <a:bodyPr wrap="none" lIns="91440" tIns="45720" rIns="91440" bIns="45720" anchor="ctr">
              <a:prstTxWarp prst="textArchUp">
                <a:avLst/>
              </a:prstTxWarp>
              <a:spAutoFit/>
              <a:scene3d>
                <a:camera prst="orthographicFront"/>
                <a:lightRig rig="flat" dir="t">
                  <a:rot lat="0" lon="0" rev="18900000"/>
                </a:lightRig>
              </a:scene3d>
              <a:sp3d extrusionH="31750" contourW="6350" prstMaterial="powder">
                <a:contourClr>
                  <a:schemeClr val="accent3">
                    <a:tint val="100000"/>
                    <a:shade val="100000"/>
                    <a:satMod val="100000"/>
                    <a:hueMod val="100000"/>
                  </a:schemeClr>
                </a:contourClr>
              </a:sp3d>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solidFill>
                  <a:srgbClr val="AA1133"/>
                </a:solidFill>
                <a:uLnTx/>
                <a:uFillTx/>
                <a:latin typeface="Segoe UI" pitchFamily="34" charset="0"/>
                <a:ea typeface="Segoe UI" pitchFamily="34" charset="0"/>
                <a:cs typeface="Segoe UI" pitchFamily="34" charset="0"/>
              </a:endParaRPr>
            </a:p>
          </p:txBody>
        </p:sp>
        <p:sp>
          <p:nvSpPr>
            <p:cNvPr id="10" name="Rectangle 9"/>
            <p:cNvSpPr>
              <a:spLocks noChangeAspect="1"/>
            </p:cNvSpPr>
            <p:nvPr/>
          </p:nvSpPr>
          <p:spPr>
            <a:xfrm>
              <a:off x="3620565" y="2512924"/>
              <a:ext cx="1911426" cy="1817338"/>
            </a:xfrm>
            <a:prstGeom prst="rect">
              <a:avLst/>
            </a:prstGeom>
            <a:noFill/>
            <a:effectLst/>
          </p:spPr>
          <p:txBody>
            <a:bodyPr wrap="none" lIns="91440" tIns="45720" rIns="91440" bIns="45720" anchor="ctr">
              <a:prstTxWarp prst="textArchDown">
                <a:avLst/>
              </a:prstTxWarp>
              <a:spAutoFit/>
              <a:scene3d>
                <a:camera prst="orthographicFront"/>
                <a:lightRig rig="flat" dir="t">
                  <a:rot lat="0" lon="0" rev="18900000"/>
                </a:lightRig>
              </a:scene3d>
              <a:sp3d extrusionH="31750" contourW="6350" prstMaterial="powder">
                <a:contourClr>
                  <a:schemeClr val="accent3">
                    <a:tint val="100000"/>
                    <a:shade val="100000"/>
                    <a:satMod val="100000"/>
                    <a:hueMod val="100000"/>
                  </a:schemeClr>
                </a:contourClr>
              </a:sp3d>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solidFill>
                    <a:srgbClr val="002266">
                      <a:lumMod val="50000"/>
                    </a:srgbClr>
                  </a:solidFill>
                  <a:uLnTx/>
                  <a:uFillTx/>
                  <a:latin typeface="Segoe UI" pitchFamily="34" charset="0"/>
                  <a:ea typeface="Segoe UI" pitchFamily="34" charset="0"/>
                  <a:cs typeface="Segoe UI" pitchFamily="34" charset="0"/>
                </a:rPr>
                <a:t>Build</a:t>
              </a:r>
            </a:p>
          </p:txBody>
        </p:sp>
      </p:grpSp>
      <p:cxnSp>
        <p:nvCxnSpPr>
          <p:cNvPr id="32" name="Straight Arrow Connector 31"/>
          <p:cNvCxnSpPr>
            <a:endCxn id="28" idx="3"/>
          </p:cNvCxnSpPr>
          <p:nvPr/>
        </p:nvCxnSpPr>
        <p:spPr>
          <a:xfrm flipV="1">
            <a:off x="3052614" y="4509120"/>
            <a:ext cx="269275" cy="818644"/>
          </a:xfrm>
          <a:prstGeom prst="straightConnector1">
            <a:avLst/>
          </a:prstGeom>
          <a:ln w="12700">
            <a:solidFill>
              <a:srgbClr val="B7C9E3"/>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V="1">
            <a:off x="2476549" y="3134464"/>
            <a:ext cx="462318" cy="552491"/>
          </a:xfrm>
          <a:prstGeom prst="straightConnector1">
            <a:avLst/>
          </a:prstGeom>
          <a:ln w="12700">
            <a:solidFill>
              <a:srgbClr val="B7C9E3"/>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H="1" flipV="1">
            <a:off x="4932040" y="5125024"/>
            <a:ext cx="144016" cy="353847"/>
          </a:xfrm>
          <a:prstGeom prst="straightConnector1">
            <a:avLst/>
          </a:prstGeom>
          <a:ln w="12700">
            <a:solidFill>
              <a:srgbClr val="B7C9E3"/>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endCxn id="30" idx="0"/>
          </p:cNvCxnSpPr>
          <p:nvPr/>
        </p:nvCxnSpPr>
        <p:spPr>
          <a:xfrm flipV="1">
            <a:off x="2324440" y="1769635"/>
            <a:ext cx="1228855" cy="609909"/>
          </a:xfrm>
          <a:prstGeom prst="straightConnector1">
            <a:avLst/>
          </a:prstGeom>
          <a:ln w="12700">
            <a:solidFill>
              <a:srgbClr val="C8E4B4"/>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100" idx="1"/>
          </p:cNvCxnSpPr>
          <p:nvPr/>
        </p:nvCxnSpPr>
        <p:spPr>
          <a:xfrm flipV="1">
            <a:off x="4860032" y="5829941"/>
            <a:ext cx="1545224" cy="80546"/>
          </a:xfrm>
          <a:prstGeom prst="straightConnector1">
            <a:avLst/>
          </a:prstGeom>
          <a:ln w="12700">
            <a:solidFill>
              <a:srgbClr val="B7C9E3"/>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flipH="1" flipV="1">
            <a:off x="5695468" y="1624250"/>
            <a:ext cx="847348" cy="42279"/>
          </a:xfrm>
          <a:prstGeom prst="straightConnector1">
            <a:avLst/>
          </a:prstGeom>
          <a:ln w="12700">
            <a:solidFill>
              <a:srgbClr val="B7C9E3"/>
            </a:solidFill>
            <a:tailEnd type="triangle"/>
          </a:ln>
        </p:spPr>
        <p:style>
          <a:lnRef idx="1">
            <a:schemeClr val="accent1"/>
          </a:lnRef>
          <a:fillRef idx="0">
            <a:schemeClr val="accent1"/>
          </a:fillRef>
          <a:effectRef idx="0">
            <a:schemeClr val="accent1"/>
          </a:effectRef>
          <a:fontRef idx="minor">
            <a:schemeClr val="tx1"/>
          </a:fontRef>
        </p:style>
      </p:cxnSp>
      <p:grpSp>
        <p:nvGrpSpPr>
          <p:cNvPr id="47" name="Group 46"/>
          <p:cNvGrpSpPr/>
          <p:nvPr/>
        </p:nvGrpSpPr>
        <p:grpSpPr>
          <a:xfrm>
            <a:off x="6542816" y="1340768"/>
            <a:ext cx="2493680" cy="936104"/>
            <a:chOff x="3047680" y="389311"/>
            <a:chExt cx="2268000" cy="708132"/>
          </a:xfrm>
        </p:grpSpPr>
        <p:sp>
          <p:nvSpPr>
            <p:cNvPr id="48" name="Rounded Rectangle 95"/>
            <p:cNvSpPr/>
            <p:nvPr/>
          </p:nvSpPr>
          <p:spPr>
            <a:xfrm>
              <a:off x="3047680" y="389311"/>
              <a:ext cx="2268000" cy="708132"/>
            </a:xfrm>
            <a:prstGeom prst="roundRect">
              <a:avLst>
                <a:gd name="adj" fmla="val 7868"/>
              </a:avLst>
            </a:prstGeom>
            <a:solidFill>
              <a:srgbClr val="B7C9E3"/>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36000" rIns="36000" bIns="36000" rtlCol="0" anchor="t"/>
            <a:lstStyle/>
            <a:p>
              <a:r>
                <a:rPr lang="en-GB" sz="1000" b="1" dirty="0" smtClean="0">
                  <a:solidFill>
                    <a:srgbClr val="00194D"/>
                  </a:solidFill>
                  <a:latin typeface="Calibri" pitchFamily="34" charset="0"/>
                  <a:cs typeface="Calibri" pitchFamily="34" charset="0"/>
                </a:rPr>
                <a:t>Infrastructure Automation Framework</a:t>
              </a:r>
              <a:endParaRPr lang="en-GB" sz="1000" b="1" dirty="0">
                <a:solidFill>
                  <a:srgbClr val="00194D"/>
                </a:solidFill>
                <a:latin typeface="Calibri" pitchFamily="34" charset="0"/>
                <a:cs typeface="Calibri" pitchFamily="34" charset="0"/>
              </a:endParaRPr>
            </a:p>
          </p:txBody>
        </p:sp>
        <p:grpSp>
          <p:nvGrpSpPr>
            <p:cNvPr id="49" name="Group 48"/>
            <p:cNvGrpSpPr/>
            <p:nvPr/>
          </p:nvGrpSpPr>
          <p:grpSpPr>
            <a:xfrm>
              <a:off x="3137680" y="591634"/>
              <a:ext cx="2088000" cy="379983"/>
              <a:chOff x="3137680" y="591634"/>
              <a:chExt cx="2088000" cy="379983"/>
            </a:xfrm>
          </p:grpSpPr>
          <p:sp>
            <p:nvSpPr>
              <p:cNvPr id="53" name="Rectangle 52"/>
              <p:cNvSpPr/>
              <p:nvPr/>
            </p:nvSpPr>
            <p:spPr bwMode="auto">
              <a:xfrm>
                <a:off x="3137680" y="591634"/>
                <a:ext cx="2088000" cy="198000"/>
              </a:xfrm>
              <a:prstGeom prst="rect">
                <a:avLst/>
              </a:prstGeom>
              <a:solidFill>
                <a:srgbClr val="002266">
                  <a:lumMod val="75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auto" latinLnBrk="0" hangingPunct="0">
                  <a:lnSpc>
                    <a:spcPct val="80000"/>
                  </a:lnSpc>
                  <a:spcBef>
                    <a:spcPts val="0"/>
                  </a:spcBef>
                  <a:spcAft>
                    <a:spcPts val="0"/>
                  </a:spcAft>
                  <a:buClrTx/>
                  <a:buSzTx/>
                  <a:buFontTx/>
                  <a:buNone/>
                  <a:tabLst/>
                  <a:defRPr/>
                </a:pPr>
                <a:r>
                  <a:rPr lang="en-GB" sz="950" b="1" kern="0" dirty="0" smtClean="0">
                    <a:solidFill>
                      <a:srgbClr val="FFFFFF"/>
                    </a:solidFill>
                    <a:latin typeface="Calibri"/>
                  </a:rPr>
                  <a:t>Infrastructure As A Service / As a Code</a:t>
                </a:r>
                <a:endParaRPr lang="en-GB" sz="950" b="1" kern="0" dirty="0">
                  <a:solidFill>
                    <a:srgbClr val="FFFFFF"/>
                  </a:solidFill>
                  <a:latin typeface="Calibri"/>
                </a:endParaRPr>
              </a:p>
            </p:txBody>
          </p:sp>
          <p:sp>
            <p:nvSpPr>
              <p:cNvPr id="54" name="Rectangle 53"/>
              <p:cNvSpPr/>
              <p:nvPr/>
            </p:nvSpPr>
            <p:spPr bwMode="auto">
              <a:xfrm>
                <a:off x="3137680" y="788369"/>
                <a:ext cx="2088000" cy="183248"/>
              </a:xfrm>
              <a:prstGeom prst="rect">
                <a:avLst/>
              </a:prstGeom>
              <a:solidFill>
                <a:srgbClr val="79A6E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eaLnBrk="0" fontAlgn="auto" hangingPunct="0">
                  <a:lnSpc>
                    <a:spcPct val="90000"/>
                  </a:lnSpc>
                  <a:spcBef>
                    <a:spcPts val="0"/>
                  </a:spcBef>
                  <a:spcAft>
                    <a:spcPts val="0"/>
                  </a:spcAft>
                </a:pPr>
                <a:r>
                  <a:rPr lang="en-GB" sz="950" b="1" kern="0" dirty="0" smtClean="0">
                    <a:solidFill>
                      <a:srgbClr val="000000"/>
                    </a:solidFill>
                    <a:latin typeface="Calibri"/>
                  </a:rPr>
                  <a:t>Chef</a:t>
                </a:r>
                <a:r>
                  <a:rPr lang="en-GB" sz="950" b="1" kern="0" dirty="0">
                    <a:solidFill>
                      <a:srgbClr val="000000"/>
                    </a:solidFill>
                    <a:latin typeface="Calibri"/>
                    <a:sym typeface="Wingdings"/>
                  </a:rPr>
                  <a:t>  </a:t>
                </a:r>
                <a:r>
                  <a:rPr lang="en-GB" sz="950" kern="0" dirty="0" smtClean="0">
                    <a:solidFill>
                      <a:srgbClr val="000000"/>
                    </a:solidFill>
                    <a:latin typeface="Calibri"/>
                  </a:rPr>
                  <a:t>	</a:t>
                </a:r>
                <a:r>
                  <a:rPr lang="en-GB" sz="950" b="1" kern="0" dirty="0" smtClean="0">
                    <a:solidFill>
                      <a:srgbClr val="000000"/>
                    </a:solidFill>
                    <a:latin typeface="Calibri"/>
                  </a:rPr>
                  <a:t>Tools in the Cloud</a:t>
                </a:r>
                <a:r>
                  <a:rPr lang="en-GB" sz="950" b="1" kern="0" dirty="0" smtClean="0">
                    <a:solidFill>
                      <a:srgbClr val="000000"/>
                    </a:solidFill>
                    <a:latin typeface="Calibri"/>
                    <a:sym typeface="Wingdings"/>
                  </a:rPr>
                  <a:t></a:t>
                </a:r>
                <a:r>
                  <a:rPr lang="en-GB" sz="950" b="1" kern="0" dirty="0" smtClean="0">
                    <a:solidFill>
                      <a:srgbClr val="000000"/>
                    </a:solidFill>
                    <a:latin typeface="Calibri"/>
                  </a:rPr>
                  <a:t> </a:t>
                </a:r>
                <a:endParaRPr lang="en-GB" sz="950" b="1" kern="0" dirty="0">
                  <a:solidFill>
                    <a:srgbClr val="000000"/>
                  </a:solidFill>
                  <a:latin typeface="Calibri"/>
                </a:endParaRPr>
              </a:p>
            </p:txBody>
          </p:sp>
        </p:grpSp>
      </p:grpSp>
      <p:grpSp>
        <p:nvGrpSpPr>
          <p:cNvPr id="60" name="Group 59"/>
          <p:cNvGrpSpPr/>
          <p:nvPr/>
        </p:nvGrpSpPr>
        <p:grpSpPr>
          <a:xfrm>
            <a:off x="71767" y="3413516"/>
            <a:ext cx="2412000" cy="951588"/>
            <a:chOff x="3389866" y="3127307"/>
            <a:chExt cx="1872000" cy="951588"/>
          </a:xfrm>
        </p:grpSpPr>
        <p:sp>
          <p:nvSpPr>
            <p:cNvPr id="61" name="Rounded Rectangle 95"/>
            <p:cNvSpPr/>
            <p:nvPr/>
          </p:nvSpPr>
          <p:spPr>
            <a:xfrm>
              <a:off x="3389866" y="3127307"/>
              <a:ext cx="1872000" cy="951588"/>
            </a:xfrm>
            <a:prstGeom prst="roundRect">
              <a:avLst>
                <a:gd name="adj" fmla="val 5999"/>
              </a:avLst>
            </a:prstGeom>
            <a:solidFill>
              <a:srgbClr val="B7C9E3"/>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36000" rIns="36000" bIns="36000" rtlCol="0" anchor="t"/>
            <a:lstStyle/>
            <a:p>
              <a:r>
                <a:rPr lang="en-GB" sz="1000" b="1" dirty="0">
                  <a:solidFill>
                    <a:srgbClr val="00194D"/>
                  </a:solidFill>
                  <a:latin typeface="Calibri" pitchFamily="34" charset="0"/>
                  <a:cs typeface="Calibri" pitchFamily="34" charset="0"/>
                </a:rPr>
                <a:t>Automated </a:t>
              </a:r>
              <a:r>
                <a:rPr lang="en-GB" sz="1000" b="1" dirty="0" smtClean="0">
                  <a:solidFill>
                    <a:srgbClr val="00194D"/>
                  </a:solidFill>
                  <a:latin typeface="Calibri" pitchFamily="34" charset="0"/>
                  <a:cs typeface="Calibri" pitchFamily="34" charset="0"/>
                </a:rPr>
                <a:t>Testing</a:t>
              </a:r>
              <a:endParaRPr lang="en-GB" sz="1000" b="1" dirty="0">
                <a:solidFill>
                  <a:srgbClr val="00194D"/>
                </a:solidFill>
                <a:latin typeface="Calibri" pitchFamily="34" charset="0"/>
                <a:cs typeface="Calibri" pitchFamily="34" charset="0"/>
              </a:endParaRPr>
            </a:p>
          </p:txBody>
        </p:sp>
        <p:grpSp>
          <p:nvGrpSpPr>
            <p:cNvPr id="62" name="Group 61"/>
            <p:cNvGrpSpPr/>
            <p:nvPr/>
          </p:nvGrpSpPr>
          <p:grpSpPr>
            <a:xfrm>
              <a:off x="3473489" y="3442340"/>
              <a:ext cx="1692000" cy="521539"/>
              <a:chOff x="3473489" y="3442340"/>
              <a:chExt cx="1692000" cy="521539"/>
            </a:xfrm>
          </p:grpSpPr>
          <p:sp>
            <p:nvSpPr>
              <p:cNvPr id="72" name="Rectangle 71"/>
              <p:cNvSpPr/>
              <p:nvPr/>
            </p:nvSpPr>
            <p:spPr bwMode="auto">
              <a:xfrm>
                <a:off x="3473489" y="3442340"/>
                <a:ext cx="1691999" cy="210050"/>
              </a:xfrm>
              <a:prstGeom prst="rect">
                <a:avLst/>
              </a:prstGeom>
              <a:solidFill>
                <a:srgbClr val="002266">
                  <a:lumMod val="75000"/>
                </a:srgbClr>
              </a:solidFill>
              <a:ln w="9525"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bodyPr>
              <a:lstStyle/>
              <a:p>
                <a:pPr eaLnBrk="0" fontAlgn="auto" hangingPunct="0">
                  <a:lnSpc>
                    <a:spcPct val="80000"/>
                  </a:lnSpc>
                  <a:spcBef>
                    <a:spcPts val="0"/>
                  </a:spcBef>
                  <a:spcAft>
                    <a:spcPts val="0"/>
                  </a:spcAft>
                </a:pPr>
                <a:r>
                  <a:rPr lang="en-GB" sz="950" b="1" kern="0" dirty="0" smtClean="0">
                    <a:solidFill>
                      <a:srgbClr val="FFFFFF"/>
                    </a:solidFill>
                    <a:latin typeface="Calibri"/>
                  </a:rPr>
                  <a:t>Automated Test </a:t>
                </a:r>
                <a:r>
                  <a:rPr lang="en-GB" sz="950" b="1" kern="0" dirty="0">
                    <a:solidFill>
                      <a:srgbClr val="FFFFFF"/>
                    </a:solidFill>
                    <a:latin typeface="Calibri"/>
                  </a:rPr>
                  <a:t>Execution</a:t>
                </a:r>
              </a:p>
            </p:txBody>
          </p:sp>
          <p:sp>
            <p:nvSpPr>
              <p:cNvPr id="73" name="Rectangle 72"/>
              <p:cNvSpPr/>
              <p:nvPr/>
            </p:nvSpPr>
            <p:spPr bwMode="auto">
              <a:xfrm>
                <a:off x="3473489" y="3646800"/>
                <a:ext cx="1692000" cy="317079"/>
              </a:xfrm>
              <a:prstGeom prst="rect">
                <a:avLst/>
              </a:prstGeom>
              <a:solidFill>
                <a:srgbClr val="79A6E1"/>
              </a:solidFill>
              <a:ln w="9525"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bodyPr>
              <a:lstStyle/>
              <a:p>
                <a:pPr eaLnBrk="0" fontAlgn="auto" hangingPunct="0">
                  <a:lnSpc>
                    <a:spcPct val="90000"/>
                  </a:lnSpc>
                  <a:spcBef>
                    <a:spcPts val="0"/>
                  </a:spcBef>
                  <a:spcAft>
                    <a:spcPts val="0"/>
                  </a:spcAft>
                  <a:tabLst>
                    <a:tab pos="446088" algn="l"/>
                    <a:tab pos="1166813" algn="l"/>
                  </a:tabLst>
                </a:pPr>
                <a:r>
                  <a:rPr lang="en-GB" sz="950" b="1" kern="0" dirty="0" smtClean="0">
                    <a:solidFill>
                      <a:srgbClr val="000000"/>
                    </a:solidFill>
                    <a:latin typeface="Calibri"/>
                  </a:rPr>
                  <a:t>Selenium</a:t>
                </a:r>
                <a:r>
                  <a:rPr lang="en-GB" sz="950" kern="0" dirty="0" smtClean="0">
                    <a:solidFill>
                      <a:srgbClr val="000000"/>
                    </a:solidFill>
                    <a:latin typeface="Calibri"/>
                  </a:rPr>
                  <a:t> </a:t>
                </a:r>
                <a:r>
                  <a:rPr lang="en-GB" sz="950" b="1" kern="0" dirty="0" smtClean="0">
                    <a:solidFill>
                      <a:srgbClr val="000000"/>
                    </a:solidFill>
                    <a:latin typeface="Calibri"/>
                    <a:sym typeface="Wingdings"/>
                  </a:rPr>
                  <a:t></a:t>
                </a:r>
                <a:r>
                  <a:rPr lang="en-GB" sz="950" b="1" kern="0" dirty="0" smtClean="0">
                    <a:solidFill>
                      <a:srgbClr val="000000"/>
                    </a:solidFill>
                    <a:latin typeface="Calibri"/>
                  </a:rPr>
                  <a:t> 	</a:t>
                </a:r>
                <a:r>
                  <a:rPr lang="en-GB" sz="950" b="1" kern="0" dirty="0" err="1" smtClean="0">
                    <a:solidFill>
                      <a:srgbClr val="000000"/>
                    </a:solidFill>
                    <a:latin typeface="Calibri"/>
                  </a:rPr>
                  <a:t>TestKitchen</a:t>
                </a:r>
                <a:r>
                  <a:rPr lang="en-GB" sz="950" b="1" kern="0" dirty="0">
                    <a:solidFill>
                      <a:srgbClr val="000000"/>
                    </a:solidFill>
                    <a:latin typeface="Calibri"/>
                    <a:sym typeface="Wingdings"/>
                  </a:rPr>
                  <a:t> </a:t>
                </a:r>
                <a:endParaRPr lang="en-GB" sz="950" b="1" kern="0" dirty="0" smtClean="0">
                  <a:solidFill>
                    <a:srgbClr val="000000"/>
                  </a:solidFill>
                  <a:latin typeface="Calibri"/>
                </a:endParaRPr>
              </a:p>
              <a:p>
                <a:pPr eaLnBrk="0" fontAlgn="auto" hangingPunct="0">
                  <a:lnSpc>
                    <a:spcPct val="90000"/>
                  </a:lnSpc>
                  <a:spcBef>
                    <a:spcPts val="0"/>
                  </a:spcBef>
                  <a:spcAft>
                    <a:spcPts val="0"/>
                  </a:spcAft>
                  <a:tabLst>
                    <a:tab pos="446088" algn="l"/>
                    <a:tab pos="1166813" algn="l"/>
                  </a:tabLst>
                </a:pPr>
                <a:r>
                  <a:rPr lang="en-GB" sz="950" b="1" kern="0" dirty="0" err="1" smtClean="0">
                    <a:solidFill>
                      <a:srgbClr val="000000"/>
                    </a:solidFill>
                    <a:latin typeface="Calibri"/>
                  </a:rPr>
                  <a:t>ServerSpec</a:t>
                </a:r>
                <a:r>
                  <a:rPr lang="en-GB" sz="950" b="1" kern="0" dirty="0">
                    <a:solidFill>
                      <a:srgbClr val="000000"/>
                    </a:solidFill>
                    <a:latin typeface="Calibri"/>
                    <a:sym typeface="Wingdings"/>
                  </a:rPr>
                  <a:t> </a:t>
                </a:r>
                <a:endParaRPr lang="en-GB" sz="950" kern="0" dirty="0">
                  <a:solidFill>
                    <a:srgbClr val="000000"/>
                  </a:solidFill>
                  <a:latin typeface="Calibri"/>
                </a:endParaRPr>
              </a:p>
            </p:txBody>
          </p:sp>
        </p:grpSp>
      </p:grpSp>
      <p:grpSp>
        <p:nvGrpSpPr>
          <p:cNvPr id="74" name="Group 73"/>
          <p:cNvGrpSpPr/>
          <p:nvPr/>
        </p:nvGrpSpPr>
        <p:grpSpPr>
          <a:xfrm>
            <a:off x="107504" y="1916833"/>
            <a:ext cx="2216936" cy="838121"/>
            <a:chOff x="171096" y="2750973"/>
            <a:chExt cx="2216936" cy="824169"/>
          </a:xfrm>
        </p:grpSpPr>
        <p:sp>
          <p:nvSpPr>
            <p:cNvPr id="75" name="Rounded Rectangle 74"/>
            <p:cNvSpPr/>
            <p:nvPr/>
          </p:nvSpPr>
          <p:spPr>
            <a:xfrm>
              <a:off x="171096" y="2750973"/>
              <a:ext cx="2216936" cy="824169"/>
            </a:xfrm>
            <a:prstGeom prst="roundRect">
              <a:avLst>
                <a:gd name="adj" fmla="val 7952"/>
              </a:avLst>
            </a:prstGeom>
            <a:solidFill>
              <a:srgbClr val="C8E4AA"/>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36000" rIns="36000" bIns="36000" rtlCol="0" anchor="t"/>
            <a:lstStyle/>
            <a:p>
              <a:r>
                <a:rPr lang="en-GB" sz="1000" b="1" dirty="0" smtClean="0">
                  <a:solidFill>
                    <a:srgbClr val="4D7F33"/>
                  </a:solidFill>
                  <a:latin typeface="Calibri" pitchFamily="34" charset="0"/>
                  <a:cs typeface="Calibri" pitchFamily="34" charset="0"/>
                </a:rPr>
                <a:t>Infrastructure and Service Monitoring</a:t>
              </a:r>
              <a:endParaRPr lang="en-GB" sz="1000" b="1" dirty="0">
                <a:solidFill>
                  <a:srgbClr val="4D7F33"/>
                </a:solidFill>
                <a:latin typeface="Calibri" pitchFamily="34" charset="0"/>
                <a:cs typeface="Calibri" pitchFamily="34" charset="0"/>
              </a:endParaRPr>
            </a:p>
          </p:txBody>
        </p:sp>
        <p:grpSp>
          <p:nvGrpSpPr>
            <p:cNvPr id="76" name="Group 75"/>
            <p:cNvGrpSpPr/>
            <p:nvPr/>
          </p:nvGrpSpPr>
          <p:grpSpPr>
            <a:xfrm>
              <a:off x="261095" y="3000835"/>
              <a:ext cx="1944000" cy="440508"/>
              <a:chOff x="547010" y="2734879"/>
              <a:chExt cx="1943511" cy="440508"/>
            </a:xfrm>
            <a:noFill/>
          </p:grpSpPr>
          <p:sp>
            <p:nvSpPr>
              <p:cNvPr id="80" name="Rectangle 79"/>
              <p:cNvSpPr/>
              <p:nvPr/>
            </p:nvSpPr>
            <p:spPr bwMode="auto">
              <a:xfrm>
                <a:off x="547010" y="2734879"/>
                <a:ext cx="1943511" cy="258425"/>
              </a:xfrm>
              <a:prstGeom prst="rect">
                <a:avLst/>
              </a:prstGeom>
              <a:solidFill>
                <a:srgbClr val="66AA44">
                  <a:lumMod val="75000"/>
                </a:srgbClr>
              </a:solidFill>
              <a:ln w="9525"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bodyPr>
              <a:lstStyle/>
              <a:p>
                <a:pPr eaLnBrk="0" fontAlgn="auto" hangingPunct="0">
                  <a:lnSpc>
                    <a:spcPct val="80000"/>
                  </a:lnSpc>
                  <a:spcBef>
                    <a:spcPts val="0"/>
                  </a:spcBef>
                  <a:spcAft>
                    <a:spcPts val="0"/>
                  </a:spcAft>
                </a:pPr>
                <a:r>
                  <a:rPr lang="en-GB" sz="950" b="1" kern="0" dirty="0" smtClean="0">
                    <a:solidFill>
                      <a:srgbClr val="FFFFFF"/>
                    </a:solidFill>
                    <a:latin typeface="Calibri"/>
                  </a:rPr>
                  <a:t>Infrastructure and Service Monitoring</a:t>
                </a:r>
                <a:endParaRPr lang="en-GB" sz="950" b="1" kern="0" dirty="0">
                  <a:solidFill>
                    <a:srgbClr val="FFFFFF"/>
                  </a:solidFill>
                  <a:latin typeface="Calibri"/>
                </a:endParaRPr>
              </a:p>
            </p:txBody>
          </p:sp>
          <p:sp>
            <p:nvSpPr>
              <p:cNvPr id="81" name="Rectangle 80"/>
              <p:cNvSpPr/>
              <p:nvPr/>
            </p:nvSpPr>
            <p:spPr bwMode="auto">
              <a:xfrm>
                <a:off x="547010" y="2980683"/>
                <a:ext cx="1943511" cy="194704"/>
              </a:xfrm>
              <a:prstGeom prst="rect">
                <a:avLst/>
              </a:prstGeom>
              <a:solidFill>
                <a:srgbClr val="77BB55"/>
              </a:solidFill>
              <a:ln w="9525"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bodyPr>
              <a:lstStyle/>
              <a:p>
                <a:pPr eaLnBrk="0" fontAlgn="auto" hangingPunct="0">
                  <a:lnSpc>
                    <a:spcPct val="90000"/>
                  </a:lnSpc>
                  <a:spcBef>
                    <a:spcPts val="0"/>
                  </a:spcBef>
                  <a:spcAft>
                    <a:spcPts val="0"/>
                  </a:spcAft>
                </a:pPr>
                <a:r>
                  <a:rPr lang="en-GB" sz="950" b="1" kern="0" dirty="0" smtClean="0">
                    <a:solidFill>
                      <a:srgbClr val="000000"/>
                    </a:solidFill>
                    <a:latin typeface="Calibri"/>
                  </a:rPr>
                  <a:t>Nagios </a:t>
                </a:r>
                <a:r>
                  <a:rPr lang="en-GB" sz="950" b="1" kern="0" dirty="0" smtClean="0">
                    <a:solidFill>
                      <a:srgbClr val="000000"/>
                    </a:solidFill>
                    <a:latin typeface="Calibri"/>
                    <a:sym typeface="Wingdings"/>
                  </a:rPr>
                  <a:t>	</a:t>
                </a:r>
                <a:r>
                  <a:rPr lang="en-GB" sz="950" b="1" kern="0" dirty="0">
                    <a:solidFill>
                      <a:srgbClr val="000000"/>
                    </a:solidFill>
                    <a:latin typeface="Calibri"/>
                    <a:sym typeface="Wingdings"/>
                  </a:rPr>
                  <a:t>ELK Stack </a:t>
                </a:r>
                <a:endParaRPr lang="en-GB" sz="950" b="1" kern="0" dirty="0" smtClean="0">
                  <a:solidFill>
                    <a:srgbClr val="000000"/>
                  </a:solidFill>
                  <a:latin typeface="Calibri"/>
                </a:endParaRPr>
              </a:p>
            </p:txBody>
          </p:sp>
        </p:grpSp>
      </p:grpSp>
      <p:grpSp>
        <p:nvGrpSpPr>
          <p:cNvPr id="82" name="Group 81"/>
          <p:cNvGrpSpPr/>
          <p:nvPr/>
        </p:nvGrpSpPr>
        <p:grpSpPr>
          <a:xfrm>
            <a:off x="251520" y="5229200"/>
            <a:ext cx="3528392" cy="1197580"/>
            <a:chOff x="50808" y="2870097"/>
            <a:chExt cx="2412000" cy="1197580"/>
          </a:xfrm>
        </p:grpSpPr>
        <p:sp>
          <p:nvSpPr>
            <p:cNvPr id="83" name="Rounded Rectangle 95"/>
            <p:cNvSpPr/>
            <p:nvPr/>
          </p:nvSpPr>
          <p:spPr>
            <a:xfrm>
              <a:off x="50808" y="2870097"/>
              <a:ext cx="2412000" cy="1197580"/>
            </a:xfrm>
            <a:prstGeom prst="roundRect">
              <a:avLst>
                <a:gd name="adj" fmla="val 6935"/>
              </a:avLst>
            </a:prstGeom>
            <a:solidFill>
              <a:srgbClr val="B7C9E3"/>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36000" rIns="36000" bIns="36000" rtlCol="0" anchor="t"/>
            <a:lstStyle/>
            <a:p>
              <a:r>
                <a:rPr lang="en-GB" sz="1000" b="1" dirty="0" smtClean="0">
                  <a:solidFill>
                    <a:srgbClr val="00194D"/>
                  </a:solidFill>
                  <a:latin typeface="Calibri" pitchFamily="34" charset="0"/>
                  <a:cs typeface="Calibri" pitchFamily="34" charset="0"/>
                </a:rPr>
                <a:t>Automated Build and Deployment</a:t>
              </a:r>
              <a:endParaRPr lang="en-GB" sz="1000" b="1" dirty="0">
                <a:solidFill>
                  <a:srgbClr val="00194D"/>
                </a:solidFill>
                <a:latin typeface="Calibri" pitchFamily="34" charset="0"/>
                <a:cs typeface="Calibri" pitchFamily="34" charset="0"/>
              </a:endParaRPr>
            </a:p>
          </p:txBody>
        </p:sp>
        <p:grpSp>
          <p:nvGrpSpPr>
            <p:cNvPr id="84" name="Group 83"/>
            <p:cNvGrpSpPr/>
            <p:nvPr/>
          </p:nvGrpSpPr>
          <p:grpSpPr>
            <a:xfrm>
              <a:off x="140808" y="3119768"/>
              <a:ext cx="2232000" cy="389606"/>
              <a:chOff x="3137680" y="476703"/>
              <a:chExt cx="2232000" cy="389606"/>
            </a:xfrm>
          </p:grpSpPr>
          <p:sp>
            <p:nvSpPr>
              <p:cNvPr id="88" name="Rectangle 87"/>
              <p:cNvSpPr/>
              <p:nvPr/>
            </p:nvSpPr>
            <p:spPr bwMode="auto">
              <a:xfrm>
                <a:off x="3137680" y="476703"/>
                <a:ext cx="2232000" cy="198000"/>
              </a:xfrm>
              <a:prstGeom prst="rect">
                <a:avLst/>
              </a:prstGeom>
              <a:solidFill>
                <a:srgbClr val="002266">
                  <a:lumMod val="75000"/>
                </a:srgbClr>
              </a:solidFill>
              <a:ln w="9525" cap="flat" cmpd="sng" algn="ctr">
                <a:noFill/>
                <a:prstDash val="solid"/>
                <a:round/>
                <a:headEnd type="none" w="med" len="med"/>
                <a:tailEnd type="none" w="med" len="med"/>
              </a:ln>
              <a:effectLst/>
            </p:spPr>
            <p:txBody>
              <a:bodyPr vert="horz" wrap="square" lIns="72000" tIns="45720" rIns="91440" bIns="45720" numCol="1" rtlCol="0" anchor="ctr" anchorCtr="0" compatLnSpc="1">
                <a:prstTxWarp prst="textNoShape">
                  <a:avLst/>
                </a:prstTxWarp>
              </a:bodyPr>
              <a:lstStyle/>
              <a:p>
                <a:pPr marL="0" marR="0" lvl="0" indent="0" defTabSz="914400" eaLnBrk="0" fontAlgn="auto" latinLnBrk="0" hangingPunct="0">
                  <a:lnSpc>
                    <a:spcPct val="80000"/>
                  </a:lnSpc>
                  <a:spcBef>
                    <a:spcPts val="0"/>
                  </a:spcBef>
                  <a:spcAft>
                    <a:spcPts val="0"/>
                  </a:spcAft>
                  <a:buClrTx/>
                  <a:buSzTx/>
                  <a:buFontTx/>
                  <a:buNone/>
                  <a:tabLst/>
                  <a:defRPr/>
                </a:pPr>
                <a:r>
                  <a:rPr lang="en-GB" sz="950" b="1" kern="0" dirty="0" smtClean="0">
                    <a:solidFill>
                      <a:srgbClr val="FFFFFF"/>
                    </a:solidFill>
                    <a:latin typeface="Calibri"/>
                  </a:rPr>
                  <a:t>Automated Build / Continuous Integration Server</a:t>
                </a:r>
                <a:endParaRPr lang="en-GB" sz="950" b="1" kern="0" dirty="0">
                  <a:solidFill>
                    <a:srgbClr val="FFFFFF"/>
                  </a:solidFill>
                  <a:latin typeface="Calibri"/>
                </a:endParaRPr>
              </a:p>
            </p:txBody>
          </p:sp>
          <p:sp>
            <p:nvSpPr>
              <p:cNvPr id="89" name="Rectangle 88"/>
              <p:cNvSpPr/>
              <p:nvPr/>
            </p:nvSpPr>
            <p:spPr bwMode="auto">
              <a:xfrm>
                <a:off x="3137680" y="668309"/>
                <a:ext cx="2232000" cy="198000"/>
              </a:xfrm>
              <a:prstGeom prst="rect">
                <a:avLst/>
              </a:prstGeom>
              <a:solidFill>
                <a:srgbClr val="79A6E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eaLnBrk="0" fontAlgn="auto" hangingPunct="0">
                  <a:lnSpc>
                    <a:spcPct val="90000"/>
                  </a:lnSpc>
                  <a:spcBef>
                    <a:spcPts val="0"/>
                  </a:spcBef>
                  <a:spcAft>
                    <a:spcPts val="0"/>
                  </a:spcAft>
                  <a:tabLst>
                    <a:tab pos="1255713" algn="l"/>
                  </a:tabLst>
                </a:pPr>
                <a:r>
                  <a:rPr lang="en-GB" sz="950" b="1" kern="0" dirty="0" smtClean="0">
                    <a:solidFill>
                      <a:srgbClr val="000000"/>
                    </a:solidFill>
                    <a:latin typeface="Calibri"/>
                  </a:rPr>
                  <a:t>Jenkins </a:t>
                </a:r>
                <a:r>
                  <a:rPr lang="en-GB" sz="950" b="1" kern="0" dirty="0">
                    <a:solidFill>
                      <a:srgbClr val="000000"/>
                    </a:solidFill>
                    <a:latin typeface="Calibri"/>
                    <a:sym typeface="Wingdings"/>
                  </a:rPr>
                  <a:t> </a:t>
                </a:r>
                <a:r>
                  <a:rPr lang="en-GB" sz="950" b="1" kern="0" dirty="0" smtClean="0">
                    <a:solidFill>
                      <a:srgbClr val="000000"/>
                    </a:solidFill>
                    <a:latin typeface="Calibri"/>
                  </a:rPr>
                  <a:t>	</a:t>
                </a:r>
                <a:r>
                  <a:rPr lang="en-GB" sz="950" b="1" kern="0" dirty="0" err="1" smtClean="0">
                    <a:solidFill>
                      <a:srgbClr val="000000"/>
                    </a:solidFill>
                    <a:latin typeface="Calibri"/>
                  </a:rPr>
                  <a:t>SpiceWease</a:t>
                </a:r>
                <a:r>
                  <a:rPr lang="en-GB" sz="950" kern="0" dirty="0" err="1" smtClean="0">
                    <a:solidFill>
                      <a:srgbClr val="000000"/>
                    </a:solidFill>
                    <a:latin typeface="Calibri"/>
                  </a:rPr>
                  <a:t>l</a:t>
                </a:r>
                <a:r>
                  <a:rPr lang="en-GB" sz="950" kern="0" dirty="0" smtClean="0">
                    <a:solidFill>
                      <a:srgbClr val="000000"/>
                    </a:solidFill>
                    <a:latin typeface="Calibri"/>
                  </a:rPr>
                  <a:t> </a:t>
                </a:r>
                <a:r>
                  <a:rPr lang="en-GB" sz="950" b="1" kern="0" dirty="0">
                    <a:solidFill>
                      <a:srgbClr val="000000"/>
                    </a:solidFill>
                    <a:latin typeface="Calibri"/>
                    <a:sym typeface="Wingdings"/>
                  </a:rPr>
                  <a:t></a:t>
                </a:r>
                <a:endParaRPr lang="en-GB" sz="950" kern="0" dirty="0">
                  <a:solidFill>
                    <a:srgbClr val="000000"/>
                  </a:solidFill>
                  <a:latin typeface="Calibri"/>
                </a:endParaRPr>
              </a:p>
            </p:txBody>
          </p:sp>
        </p:grpSp>
        <p:grpSp>
          <p:nvGrpSpPr>
            <p:cNvPr id="85" name="Group 84"/>
            <p:cNvGrpSpPr/>
            <p:nvPr/>
          </p:nvGrpSpPr>
          <p:grpSpPr>
            <a:xfrm>
              <a:off x="140808" y="3601775"/>
              <a:ext cx="2232000" cy="395842"/>
              <a:chOff x="5017002" y="343073"/>
              <a:chExt cx="2232000" cy="395842"/>
            </a:xfrm>
          </p:grpSpPr>
          <p:sp>
            <p:nvSpPr>
              <p:cNvPr id="86" name="Rectangle 85"/>
              <p:cNvSpPr/>
              <p:nvPr/>
            </p:nvSpPr>
            <p:spPr bwMode="auto">
              <a:xfrm>
                <a:off x="5017002" y="343073"/>
                <a:ext cx="2232000" cy="198000"/>
              </a:xfrm>
              <a:prstGeom prst="rect">
                <a:avLst/>
              </a:prstGeom>
              <a:solidFill>
                <a:srgbClr val="002266">
                  <a:lumMod val="75000"/>
                </a:srgbClr>
              </a:solidFill>
              <a:ln w="9525" cap="flat" cmpd="sng" algn="ctr">
                <a:noFill/>
                <a:prstDash val="solid"/>
                <a:round/>
                <a:headEnd type="none" w="med" len="med"/>
                <a:tailEnd type="none" w="med" len="med"/>
              </a:ln>
              <a:effectLst/>
            </p:spPr>
            <p:txBody>
              <a:bodyPr vert="horz" wrap="square" lIns="72000" tIns="45720" rIns="0" bIns="45720" numCol="1" rtlCol="0" anchor="ctr" anchorCtr="0" compatLnSpc="1">
                <a:prstTxWarp prst="textNoShape">
                  <a:avLst/>
                </a:prstTxWarp>
              </a:bodyPr>
              <a:lstStyle/>
              <a:p>
                <a:pPr marL="0" marR="0" lvl="0" indent="0" defTabSz="914400" eaLnBrk="0" fontAlgn="auto" latinLnBrk="0" hangingPunct="0">
                  <a:lnSpc>
                    <a:spcPct val="80000"/>
                  </a:lnSpc>
                  <a:spcBef>
                    <a:spcPts val="0"/>
                  </a:spcBef>
                  <a:spcAft>
                    <a:spcPts val="0"/>
                  </a:spcAft>
                  <a:buClrTx/>
                  <a:buSzTx/>
                  <a:buFontTx/>
                  <a:buNone/>
                  <a:tabLst/>
                  <a:defRPr/>
                </a:pPr>
                <a:r>
                  <a:rPr lang="en-GB" sz="950" b="1" kern="0" dirty="0" smtClean="0">
                    <a:solidFill>
                      <a:srgbClr val="FFFFFF"/>
                    </a:solidFill>
                    <a:latin typeface="Calibri"/>
                  </a:rPr>
                  <a:t>Automated Deployment / Continuous Delivery</a:t>
                </a:r>
                <a:endParaRPr lang="en-GB" sz="950" b="1" kern="0" dirty="0">
                  <a:solidFill>
                    <a:srgbClr val="FFFFFF"/>
                  </a:solidFill>
                  <a:latin typeface="Calibri"/>
                </a:endParaRPr>
              </a:p>
            </p:txBody>
          </p:sp>
          <p:sp>
            <p:nvSpPr>
              <p:cNvPr id="87" name="Rectangle 86"/>
              <p:cNvSpPr/>
              <p:nvPr/>
            </p:nvSpPr>
            <p:spPr bwMode="auto">
              <a:xfrm>
                <a:off x="5017002" y="540915"/>
                <a:ext cx="2232000" cy="198000"/>
              </a:xfrm>
              <a:prstGeom prst="rect">
                <a:avLst/>
              </a:prstGeom>
              <a:solidFill>
                <a:srgbClr val="79A6E1"/>
              </a:solidFill>
              <a:ln w="9525" cap="flat" cmpd="sng" algn="ctr">
                <a:noFill/>
                <a:prstDash val="solid"/>
                <a:round/>
                <a:headEnd type="none" w="med" len="med"/>
                <a:tailEnd type="none" w="med" len="med"/>
              </a:ln>
              <a:effectLst/>
            </p:spPr>
            <p:txBody>
              <a:bodyPr vert="horz" wrap="square" lIns="91440" tIns="45720" rIns="90000" bIns="45720" numCol="1" rtlCol="0" anchor="ctr" anchorCtr="0" compatLnSpc="1">
                <a:prstTxWarp prst="textNoShape">
                  <a:avLst/>
                </a:prstTxWarp>
              </a:bodyPr>
              <a:lstStyle/>
              <a:p>
                <a:pPr eaLnBrk="0" fontAlgn="auto" hangingPunct="0">
                  <a:lnSpc>
                    <a:spcPct val="90000"/>
                  </a:lnSpc>
                  <a:spcBef>
                    <a:spcPts val="0"/>
                  </a:spcBef>
                  <a:spcAft>
                    <a:spcPts val="0"/>
                  </a:spcAft>
                  <a:tabLst>
                    <a:tab pos="1255713" algn="l"/>
                  </a:tabLst>
                </a:pPr>
                <a:r>
                  <a:rPr lang="en-GB" sz="950" b="1" kern="0" dirty="0" smtClean="0">
                    <a:solidFill>
                      <a:srgbClr val="000000"/>
                    </a:solidFill>
                    <a:latin typeface="Calibri"/>
                  </a:rPr>
                  <a:t>Jenkins</a:t>
                </a:r>
                <a:r>
                  <a:rPr lang="en-GB" sz="950" b="1" kern="0" dirty="0" smtClean="0">
                    <a:solidFill>
                      <a:srgbClr val="000000"/>
                    </a:solidFill>
                    <a:latin typeface="Calibri"/>
                    <a:sym typeface="Wingdings"/>
                  </a:rPr>
                  <a:t> </a:t>
                </a:r>
                <a:r>
                  <a:rPr lang="en-GB" sz="950" b="1" kern="0" dirty="0">
                    <a:solidFill>
                      <a:srgbClr val="000000"/>
                    </a:solidFill>
                    <a:latin typeface="Calibri"/>
                    <a:sym typeface="Wingdings"/>
                  </a:rPr>
                  <a:t> </a:t>
                </a:r>
                <a:r>
                  <a:rPr lang="en-GB" sz="950" b="1" kern="0" dirty="0" smtClean="0">
                    <a:solidFill>
                      <a:srgbClr val="000000"/>
                    </a:solidFill>
                    <a:latin typeface="Calibri"/>
                  </a:rPr>
                  <a:t>	</a:t>
                </a:r>
                <a:r>
                  <a:rPr lang="en-GB" sz="950" b="1" kern="0" dirty="0" err="1" smtClean="0">
                    <a:solidFill>
                      <a:srgbClr val="000000"/>
                    </a:solidFill>
                    <a:latin typeface="Calibri"/>
                  </a:rPr>
                  <a:t>SpiceWeasel</a:t>
                </a:r>
                <a:r>
                  <a:rPr lang="en-GB" sz="950" b="1" kern="0" dirty="0">
                    <a:solidFill>
                      <a:srgbClr val="000000"/>
                    </a:solidFill>
                    <a:latin typeface="Calibri"/>
                    <a:sym typeface="Wingdings"/>
                  </a:rPr>
                  <a:t> </a:t>
                </a:r>
                <a:endParaRPr lang="en-GB" sz="950" kern="0" dirty="0">
                  <a:solidFill>
                    <a:srgbClr val="000000"/>
                  </a:solidFill>
                  <a:latin typeface="Calibri"/>
                </a:endParaRPr>
              </a:p>
            </p:txBody>
          </p:sp>
        </p:grpSp>
      </p:grpSp>
      <p:grpSp>
        <p:nvGrpSpPr>
          <p:cNvPr id="99" name="Group 98"/>
          <p:cNvGrpSpPr/>
          <p:nvPr/>
        </p:nvGrpSpPr>
        <p:grpSpPr>
          <a:xfrm>
            <a:off x="4860032" y="5439645"/>
            <a:ext cx="3264673" cy="941683"/>
            <a:chOff x="7042406" y="4482250"/>
            <a:chExt cx="1470738" cy="902732"/>
          </a:xfrm>
        </p:grpSpPr>
        <p:sp>
          <p:nvSpPr>
            <p:cNvPr id="100" name="Rounded Rectangle 95"/>
            <p:cNvSpPr/>
            <p:nvPr/>
          </p:nvSpPr>
          <p:spPr>
            <a:xfrm>
              <a:off x="7042406" y="4482250"/>
              <a:ext cx="1470738" cy="902732"/>
            </a:xfrm>
            <a:prstGeom prst="roundRect">
              <a:avLst>
                <a:gd name="adj" fmla="val 4886"/>
              </a:avLst>
            </a:prstGeom>
            <a:solidFill>
              <a:srgbClr val="B7C9E3"/>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36000" rIns="36000" bIns="36000" rtlCol="0" anchor="t"/>
            <a:lstStyle/>
            <a:p>
              <a:r>
                <a:rPr lang="en-GB" sz="1000" b="1" dirty="0" smtClean="0">
                  <a:solidFill>
                    <a:srgbClr val="00194D"/>
                  </a:solidFill>
                  <a:latin typeface="Calibri" pitchFamily="34" charset="0"/>
                  <a:cs typeface="Calibri" pitchFamily="34" charset="0"/>
                </a:rPr>
                <a:t>Automated Solution Quality</a:t>
              </a:r>
              <a:endParaRPr lang="en-GB" sz="1000" b="1" dirty="0">
                <a:solidFill>
                  <a:srgbClr val="00194D"/>
                </a:solidFill>
                <a:latin typeface="Calibri" pitchFamily="34" charset="0"/>
                <a:cs typeface="Calibri" pitchFamily="34" charset="0"/>
              </a:endParaRPr>
            </a:p>
          </p:txBody>
        </p:sp>
        <p:sp>
          <p:nvSpPr>
            <p:cNvPr id="101" name="Rectangle 100"/>
            <p:cNvSpPr/>
            <p:nvPr/>
          </p:nvSpPr>
          <p:spPr bwMode="auto">
            <a:xfrm>
              <a:off x="7132406" y="4742216"/>
              <a:ext cx="1345647" cy="251930"/>
            </a:xfrm>
            <a:prstGeom prst="rect">
              <a:avLst/>
            </a:prstGeom>
            <a:solidFill>
              <a:srgbClr val="002266">
                <a:lumMod val="75000"/>
              </a:srgbClr>
            </a:solidFill>
            <a:ln w="9525"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bodyPr>
            <a:lstStyle/>
            <a:p>
              <a:pPr marL="0" marR="0" lvl="0" indent="0" defTabSz="914400" eaLnBrk="0" fontAlgn="auto" latinLnBrk="0" hangingPunct="0">
                <a:lnSpc>
                  <a:spcPct val="80000"/>
                </a:lnSpc>
                <a:spcBef>
                  <a:spcPts val="0"/>
                </a:spcBef>
                <a:spcAft>
                  <a:spcPts val="0"/>
                </a:spcAft>
                <a:buClrTx/>
                <a:buSzTx/>
                <a:buFontTx/>
                <a:buNone/>
                <a:tabLst/>
                <a:defRPr/>
              </a:pPr>
              <a:r>
                <a:rPr lang="en-GB" sz="950" b="1" kern="0" dirty="0" smtClean="0">
                  <a:solidFill>
                    <a:srgbClr val="FFFFFF"/>
                  </a:solidFill>
                  <a:latin typeface="Calibri"/>
                </a:rPr>
                <a:t>Automated Code / Configuration Review / Build Quality Dashboard</a:t>
              </a:r>
              <a:endParaRPr lang="en-GB" sz="950" b="1" kern="0" dirty="0">
                <a:solidFill>
                  <a:srgbClr val="FFFFFF"/>
                </a:solidFill>
                <a:latin typeface="Calibri"/>
              </a:endParaRPr>
            </a:p>
          </p:txBody>
        </p:sp>
        <p:sp>
          <p:nvSpPr>
            <p:cNvPr id="102" name="Rectangle 101"/>
            <p:cNvSpPr/>
            <p:nvPr/>
          </p:nvSpPr>
          <p:spPr bwMode="auto">
            <a:xfrm>
              <a:off x="7132406" y="4986306"/>
              <a:ext cx="1345647" cy="263180"/>
            </a:xfrm>
            <a:prstGeom prst="rect">
              <a:avLst/>
            </a:prstGeom>
            <a:solidFill>
              <a:srgbClr val="79A6E1"/>
            </a:solidFill>
            <a:ln w="9525"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bodyPr>
            <a:lstStyle/>
            <a:p>
              <a:pPr eaLnBrk="0" fontAlgn="auto" hangingPunct="0">
                <a:lnSpc>
                  <a:spcPct val="90000"/>
                </a:lnSpc>
                <a:spcBef>
                  <a:spcPts val="0"/>
                </a:spcBef>
                <a:spcAft>
                  <a:spcPts val="0"/>
                </a:spcAft>
                <a:tabLst>
                  <a:tab pos="534988" algn="l"/>
                  <a:tab pos="1698625" algn="r"/>
                </a:tabLst>
              </a:pPr>
              <a:r>
                <a:rPr lang="en-GB" sz="950" b="1" kern="0" dirty="0" smtClean="0">
                  <a:solidFill>
                    <a:srgbClr val="000000"/>
                  </a:solidFill>
                  <a:latin typeface="Calibri"/>
                </a:rPr>
                <a:t>Sonar</a:t>
              </a:r>
              <a:r>
                <a:rPr lang="en-GB" sz="950" b="1" kern="0" dirty="0">
                  <a:solidFill>
                    <a:srgbClr val="000000"/>
                  </a:solidFill>
                  <a:latin typeface="Calibri"/>
                  <a:sym typeface="Wingdings"/>
                </a:rPr>
                <a:t>  </a:t>
              </a:r>
              <a:r>
                <a:rPr lang="en-GB" sz="950" b="1" kern="0" dirty="0" smtClean="0">
                  <a:solidFill>
                    <a:srgbClr val="000000"/>
                  </a:solidFill>
                  <a:latin typeface="Calibri"/>
                </a:rPr>
                <a:t>	</a:t>
              </a:r>
              <a:r>
                <a:rPr lang="en-GB" sz="950" b="1" kern="0" dirty="0" err="1" smtClean="0">
                  <a:solidFill>
                    <a:srgbClr val="000000"/>
                  </a:solidFill>
                  <a:latin typeface="Calibri"/>
                </a:rPr>
                <a:t>FoodCritic</a:t>
              </a:r>
              <a:r>
                <a:rPr lang="en-GB" sz="950" b="1" kern="0" dirty="0" smtClean="0">
                  <a:solidFill>
                    <a:srgbClr val="000000"/>
                  </a:solidFill>
                  <a:latin typeface="Calibri"/>
                  <a:sym typeface="Wingdings"/>
                </a:rPr>
                <a:t> </a:t>
              </a:r>
              <a:r>
                <a:rPr lang="en-GB" sz="950" b="1" kern="0" dirty="0">
                  <a:solidFill>
                    <a:srgbClr val="000000"/>
                  </a:solidFill>
                  <a:latin typeface="Calibri"/>
                  <a:sym typeface="Wingdings"/>
                </a:rPr>
                <a:t> </a:t>
              </a:r>
              <a:r>
                <a:rPr lang="en-GB" sz="950" b="1" kern="0" dirty="0" smtClean="0">
                  <a:solidFill>
                    <a:srgbClr val="000000"/>
                  </a:solidFill>
                  <a:latin typeface="Calibri"/>
                </a:rPr>
                <a:t>	Robocop</a:t>
              </a:r>
              <a:r>
                <a:rPr lang="en-GB" sz="950" b="1" kern="0" dirty="0">
                  <a:solidFill>
                    <a:srgbClr val="000000"/>
                  </a:solidFill>
                  <a:latin typeface="Calibri"/>
                  <a:sym typeface="Wingdings"/>
                </a:rPr>
                <a:t> </a:t>
              </a:r>
              <a:r>
                <a:rPr lang="en-GB" sz="950" b="1" kern="0" dirty="0" smtClean="0">
                  <a:solidFill>
                    <a:srgbClr val="000000"/>
                  </a:solidFill>
                  <a:latin typeface="Calibri"/>
                  <a:sym typeface="Wingdings"/>
                </a:rPr>
                <a:t></a:t>
              </a:r>
            </a:p>
            <a:p>
              <a:pPr eaLnBrk="0" fontAlgn="auto" hangingPunct="0">
                <a:lnSpc>
                  <a:spcPct val="90000"/>
                </a:lnSpc>
                <a:spcBef>
                  <a:spcPts val="0"/>
                </a:spcBef>
                <a:spcAft>
                  <a:spcPts val="0"/>
                </a:spcAft>
                <a:tabLst>
                  <a:tab pos="534988" algn="l"/>
                  <a:tab pos="1698625" algn="r"/>
                </a:tabLst>
              </a:pPr>
              <a:endParaRPr lang="en-US" sz="800" b="1" kern="0" dirty="0">
                <a:solidFill>
                  <a:srgbClr val="000000"/>
                </a:solidFill>
                <a:latin typeface="Calibri"/>
              </a:endParaRPr>
            </a:p>
          </p:txBody>
        </p:sp>
      </p:grpSp>
      <p:grpSp>
        <p:nvGrpSpPr>
          <p:cNvPr id="116" name="Group 115"/>
          <p:cNvGrpSpPr/>
          <p:nvPr/>
        </p:nvGrpSpPr>
        <p:grpSpPr>
          <a:xfrm>
            <a:off x="6732240" y="4274296"/>
            <a:ext cx="2268000" cy="882896"/>
            <a:chOff x="3047680" y="856304"/>
            <a:chExt cx="2268000" cy="882896"/>
          </a:xfrm>
        </p:grpSpPr>
        <p:sp>
          <p:nvSpPr>
            <p:cNvPr id="117" name="Rounded Rectangle 95"/>
            <p:cNvSpPr/>
            <p:nvPr/>
          </p:nvSpPr>
          <p:spPr>
            <a:xfrm>
              <a:off x="3047680" y="856304"/>
              <a:ext cx="2268000" cy="882896"/>
            </a:xfrm>
            <a:prstGeom prst="roundRect">
              <a:avLst>
                <a:gd name="adj" fmla="val 7868"/>
              </a:avLst>
            </a:prstGeom>
            <a:solidFill>
              <a:srgbClr val="B7C9E3"/>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36000" rIns="36000" bIns="36000" rtlCol="0" anchor="t"/>
            <a:lstStyle/>
            <a:p>
              <a:r>
                <a:rPr lang="en-GB" sz="1000" b="1" dirty="0" smtClean="0">
                  <a:solidFill>
                    <a:srgbClr val="00194D"/>
                  </a:solidFill>
                  <a:latin typeface="Calibri" pitchFamily="34" charset="0"/>
                  <a:cs typeface="Calibri" pitchFamily="34" charset="0"/>
                </a:rPr>
                <a:t>Automated Development Environment</a:t>
              </a:r>
              <a:endParaRPr lang="en-GB" sz="1000" b="1" dirty="0">
                <a:solidFill>
                  <a:srgbClr val="00194D"/>
                </a:solidFill>
                <a:latin typeface="Calibri" pitchFamily="34" charset="0"/>
                <a:cs typeface="Calibri" pitchFamily="34" charset="0"/>
              </a:endParaRPr>
            </a:p>
          </p:txBody>
        </p:sp>
        <p:grpSp>
          <p:nvGrpSpPr>
            <p:cNvPr id="118" name="Group 117"/>
            <p:cNvGrpSpPr/>
            <p:nvPr/>
          </p:nvGrpSpPr>
          <p:grpSpPr>
            <a:xfrm>
              <a:off x="3137680" y="1099428"/>
              <a:ext cx="2088000" cy="495756"/>
              <a:chOff x="3137680" y="1099428"/>
              <a:chExt cx="2088000" cy="495756"/>
            </a:xfrm>
          </p:grpSpPr>
          <p:sp>
            <p:nvSpPr>
              <p:cNvPr id="122" name="Rectangle 121"/>
              <p:cNvSpPr/>
              <p:nvPr/>
            </p:nvSpPr>
            <p:spPr bwMode="auto">
              <a:xfrm>
                <a:off x="3137680" y="1099428"/>
                <a:ext cx="2088000" cy="262800"/>
              </a:xfrm>
              <a:prstGeom prst="rect">
                <a:avLst/>
              </a:prstGeom>
              <a:solidFill>
                <a:srgbClr val="002266">
                  <a:lumMod val="75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auto" latinLnBrk="0" hangingPunct="0">
                  <a:lnSpc>
                    <a:spcPct val="80000"/>
                  </a:lnSpc>
                  <a:spcBef>
                    <a:spcPts val="0"/>
                  </a:spcBef>
                  <a:spcAft>
                    <a:spcPts val="0"/>
                  </a:spcAft>
                  <a:buClrTx/>
                  <a:buSzTx/>
                  <a:buFontTx/>
                  <a:buNone/>
                  <a:tabLst/>
                  <a:defRPr/>
                </a:pPr>
                <a:r>
                  <a:rPr lang="en-GB" sz="950" b="1" kern="0" dirty="0">
                    <a:solidFill>
                      <a:srgbClr val="FFFFFF"/>
                    </a:solidFill>
                    <a:latin typeface="Calibri"/>
                  </a:rPr>
                  <a:t>Integrated Development </a:t>
                </a:r>
                <a:r>
                  <a:rPr lang="en-GB" sz="950" b="1" kern="0" dirty="0" smtClean="0">
                    <a:solidFill>
                      <a:srgbClr val="FFFFFF"/>
                    </a:solidFill>
                    <a:latin typeface="Calibri"/>
                  </a:rPr>
                  <a:t>Environment (IDE)</a:t>
                </a:r>
                <a:endParaRPr lang="en-GB" sz="950" b="1" kern="0" dirty="0">
                  <a:solidFill>
                    <a:srgbClr val="FFFFFF"/>
                  </a:solidFill>
                  <a:latin typeface="Calibri"/>
                </a:endParaRPr>
              </a:p>
            </p:txBody>
          </p:sp>
          <p:sp>
            <p:nvSpPr>
              <p:cNvPr id="123" name="Rectangle 122"/>
              <p:cNvSpPr/>
              <p:nvPr/>
            </p:nvSpPr>
            <p:spPr bwMode="auto">
              <a:xfrm>
                <a:off x="3137680" y="1341179"/>
                <a:ext cx="2088000" cy="254005"/>
              </a:xfrm>
              <a:prstGeom prst="rect">
                <a:avLst/>
              </a:prstGeom>
              <a:solidFill>
                <a:srgbClr val="79A6E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eaLnBrk="0" fontAlgn="auto" hangingPunct="0">
                  <a:lnSpc>
                    <a:spcPct val="90000"/>
                  </a:lnSpc>
                  <a:spcBef>
                    <a:spcPts val="0"/>
                  </a:spcBef>
                  <a:spcAft>
                    <a:spcPts val="0"/>
                  </a:spcAft>
                </a:pPr>
                <a:r>
                  <a:rPr lang="en-GB" sz="950" b="1" kern="0" dirty="0" smtClean="0">
                    <a:solidFill>
                      <a:srgbClr val="000000"/>
                    </a:solidFill>
                    <a:latin typeface="Calibri"/>
                  </a:rPr>
                  <a:t>Sublime Text 2</a:t>
                </a:r>
                <a:r>
                  <a:rPr lang="en-GB" sz="950" b="1" kern="0" dirty="0">
                    <a:solidFill>
                      <a:srgbClr val="000000"/>
                    </a:solidFill>
                    <a:latin typeface="Calibri"/>
                    <a:sym typeface="Wingdings"/>
                  </a:rPr>
                  <a:t> </a:t>
                </a:r>
                <a:endParaRPr lang="en-GB" sz="950" b="1" kern="0" dirty="0">
                  <a:solidFill>
                    <a:srgbClr val="000000"/>
                  </a:solidFill>
                  <a:latin typeface="Calibri"/>
                </a:endParaRPr>
              </a:p>
            </p:txBody>
          </p:sp>
        </p:grpSp>
      </p:grpSp>
      <p:grpSp>
        <p:nvGrpSpPr>
          <p:cNvPr id="129" name="Group 128"/>
          <p:cNvGrpSpPr/>
          <p:nvPr/>
        </p:nvGrpSpPr>
        <p:grpSpPr>
          <a:xfrm>
            <a:off x="6768496" y="2618218"/>
            <a:ext cx="2268000" cy="1590599"/>
            <a:chOff x="3047680" y="365414"/>
            <a:chExt cx="2268000" cy="1314837"/>
          </a:xfrm>
        </p:grpSpPr>
        <p:sp>
          <p:nvSpPr>
            <p:cNvPr id="130" name="Rounded Rectangle 95"/>
            <p:cNvSpPr/>
            <p:nvPr/>
          </p:nvSpPr>
          <p:spPr>
            <a:xfrm>
              <a:off x="3047680" y="365414"/>
              <a:ext cx="2268000" cy="1314837"/>
            </a:xfrm>
            <a:prstGeom prst="roundRect">
              <a:avLst>
                <a:gd name="adj" fmla="val 7868"/>
              </a:avLst>
            </a:prstGeom>
            <a:solidFill>
              <a:srgbClr val="B7C9E3"/>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36000" rIns="36000" bIns="36000" rtlCol="0" anchor="t"/>
            <a:lstStyle/>
            <a:p>
              <a:r>
                <a:rPr lang="en-GB" sz="1000" b="1" dirty="0" smtClean="0">
                  <a:solidFill>
                    <a:srgbClr val="00194D"/>
                  </a:solidFill>
                  <a:latin typeface="Calibri" pitchFamily="34" charset="0"/>
                  <a:cs typeface="Calibri" pitchFamily="34" charset="0"/>
                </a:rPr>
                <a:t>Software Configuration Management</a:t>
              </a:r>
              <a:endParaRPr lang="en-GB" sz="1000" b="1" dirty="0">
                <a:solidFill>
                  <a:srgbClr val="00194D"/>
                </a:solidFill>
                <a:latin typeface="Calibri" pitchFamily="34" charset="0"/>
                <a:cs typeface="Calibri" pitchFamily="34" charset="0"/>
              </a:endParaRPr>
            </a:p>
          </p:txBody>
        </p:sp>
        <p:grpSp>
          <p:nvGrpSpPr>
            <p:cNvPr id="131" name="Group 130"/>
            <p:cNvGrpSpPr/>
            <p:nvPr/>
          </p:nvGrpSpPr>
          <p:grpSpPr>
            <a:xfrm>
              <a:off x="3155672" y="648894"/>
              <a:ext cx="2088000" cy="522365"/>
              <a:chOff x="3155672" y="648894"/>
              <a:chExt cx="2088000" cy="522365"/>
            </a:xfrm>
          </p:grpSpPr>
          <p:sp>
            <p:nvSpPr>
              <p:cNvPr id="132" name="Rectangle 131"/>
              <p:cNvSpPr/>
              <p:nvPr/>
            </p:nvSpPr>
            <p:spPr bwMode="auto">
              <a:xfrm>
                <a:off x="3155672" y="648894"/>
                <a:ext cx="2088000" cy="262800"/>
              </a:xfrm>
              <a:prstGeom prst="rect">
                <a:avLst/>
              </a:prstGeom>
              <a:solidFill>
                <a:srgbClr val="002266">
                  <a:lumMod val="75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auto" latinLnBrk="0" hangingPunct="0">
                  <a:lnSpc>
                    <a:spcPct val="80000"/>
                  </a:lnSpc>
                  <a:spcBef>
                    <a:spcPts val="0"/>
                  </a:spcBef>
                  <a:spcAft>
                    <a:spcPts val="0"/>
                  </a:spcAft>
                  <a:buClrTx/>
                  <a:buSzTx/>
                  <a:buFontTx/>
                  <a:buNone/>
                  <a:tabLst/>
                  <a:defRPr/>
                </a:pPr>
                <a:r>
                  <a:rPr lang="en-GB" sz="950" b="1" kern="0" dirty="0" smtClean="0">
                    <a:solidFill>
                      <a:srgbClr val="FFFFFF"/>
                    </a:solidFill>
                    <a:latin typeface="Calibri"/>
                  </a:rPr>
                  <a:t>Code Repository  and Viewers</a:t>
                </a:r>
                <a:endParaRPr lang="en-GB" sz="950" b="1" kern="0" dirty="0">
                  <a:solidFill>
                    <a:srgbClr val="FFFFFF"/>
                  </a:solidFill>
                  <a:latin typeface="Calibri"/>
                </a:endParaRPr>
              </a:p>
            </p:txBody>
          </p:sp>
          <p:sp>
            <p:nvSpPr>
              <p:cNvPr id="133" name="Rectangle 132"/>
              <p:cNvSpPr/>
              <p:nvPr/>
            </p:nvSpPr>
            <p:spPr bwMode="auto">
              <a:xfrm>
                <a:off x="3155672" y="920939"/>
                <a:ext cx="2088000" cy="250320"/>
              </a:xfrm>
              <a:prstGeom prst="rect">
                <a:avLst/>
              </a:prstGeom>
              <a:solidFill>
                <a:srgbClr val="79A6E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eaLnBrk="0" fontAlgn="auto" hangingPunct="0">
                  <a:lnSpc>
                    <a:spcPct val="90000"/>
                  </a:lnSpc>
                  <a:spcBef>
                    <a:spcPts val="0"/>
                  </a:spcBef>
                  <a:spcAft>
                    <a:spcPts val="0"/>
                  </a:spcAft>
                </a:pPr>
                <a:r>
                  <a:rPr lang="en-GB" sz="950" b="1" kern="0" dirty="0" smtClean="0">
                    <a:solidFill>
                      <a:srgbClr val="000000"/>
                    </a:solidFill>
                    <a:latin typeface="Calibri"/>
                  </a:rPr>
                  <a:t>GIT</a:t>
                </a:r>
                <a:r>
                  <a:rPr lang="en-GB" sz="950" b="1" kern="0" dirty="0">
                    <a:solidFill>
                      <a:srgbClr val="000000"/>
                    </a:solidFill>
                    <a:latin typeface="Calibri"/>
                    <a:sym typeface="Wingdings"/>
                  </a:rPr>
                  <a:t> </a:t>
                </a:r>
                <a:r>
                  <a:rPr lang="en-GB" sz="950" kern="0" dirty="0" smtClean="0">
                    <a:solidFill>
                      <a:srgbClr val="000000"/>
                    </a:solidFill>
                    <a:latin typeface="Calibri"/>
                  </a:rPr>
                  <a:t> 	</a:t>
                </a:r>
                <a:r>
                  <a:rPr lang="en-GB" sz="950" b="1" kern="0" dirty="0" err="1" smtClean="0">
                    <a:solidFill>
                      <a:srgbClr val="000000"/>
                    </a:solidFill>
                    <a:latin typeface="Calibri"/>
                  </a:rPr>
                  <a:t>GitBlit</a:t>
                </a:r>
                <a:r>
                  <a:rPr lang="en-GB" sz="950" b="1" kern="0" dirty="0" smtClean="0">
                    <a:solidFill>
                      <a:srgbClr val="000000"/>
                    </a:solidFill>
                    <a:latin typeface="Calibri"/>
                    <a:sym typeface="Wingdings"/>
                  </a:rPr>
                  <a:t> </a:t>
                </a:r>
              </a:p>
              <a:p>
                <a:pPr eaLnBrk="0" fontAlgn="auto" hangingPunct="0">
                  <a:lnSpc>
                    <a:spcPct val="90000"/>
                  </a:lnSpc>
                  <a:spcBef>
                    <a:spcPts val="0"/>
                  </a:spcBef>
                  <a:spcAft>
                    <a:spcPts val="0"/>
                  </a:spcAft>
                </a:pPr>
                <a:r>
                  <a:rPr lang="en-GB" sz="950" b="1" kern="0" dirty="0" err="1" smtClean="0">
                    <a:solidFill>
                      <a:srgbClr val="000000"/>
                    </a:solidFill>
                    <a:latin typeface="Calibri"/>
                    <a:sym typeface="Wingdings"/>
                  </a:rPr>
                  <a:t>Gerrit</a:t>
                </a:r>
                <a:r>
                  <a:rPr lang="en-GB" sz="950" b="1" kern="0" dirty="0">
                    <a:solidFill>
                      <a:srgbClr val="000000"/>
                    </a:solidFill>
                    <a:latin typeface="Calibri"/>
                    <a:sym typeface="Wingdings"/>
                  </a:rPr>
                  <a:t> </a:t>
                </a:r>
                <a:r>
                  <a:rPr lang="en-GB" sz="950" kern="0" dirty="0">
                    <a:solidFill>
                      <a:srgbClr val="000000"/>
                    </a:solidFill>
                    <a:latin typeface="Calibri"/>
                  </a:rPr>
                  <a:t> </a:t>
                </a:r>
                <a:endParaRPr lang="en-GB" sz="950" b="1" kern="0" dirty="0">
                  <a:solidFill>
                    <a:srgbClr val="000000"/>
                  </a:solidFill>
                  <a:latin typeface="Calibri"/>
                </a:endParaRPr>
              </a:p>
            </p:txBody>
          </p:sp>
        </p:grpSp>
      </p:grpSp>
      <p:sp>
        <p:nvSpPr>
          <p:cNvPr id="170" name="Rectangle 169"/>
          <p:cNvSpPr/>
          <p:nvPr/>
        </p:nvSpPr>
        <p:spPr bwMode="auto">
          <a:xfrm>
            <a:off x="6876488" y="3573016"/>
            <a:ext cx="2088000" cy="262800"/>
          </a:xfrm>
          <a:prstGeom prst="rect">
            <a:avLst/>
          </a:prstGeom>
          <a:solidFill>
            <a:srgbClr val="002266">
              <a:lumMod val="75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0" fontAlgn="auto" latinLnBrk="0" hangingPunct="0">
              <a:lnSpc>
                <a:spcPct val="80000"/>
              </a:lnSpc>
              <a:spcBef>
                <a:spcPts val="0"/>
              </a:spcBef>
              <a:spcAft>
                <a:spcPts val="0"/>
              </a:spcAft>
              <a:buClrTx/>
              <a:buSzTx/>
              <a:buFontTx/>
              <a:buNone/>
              <a:tabLst/>
              <a:defRPr/>
            </a:pPr>
            <a:r>
              <a:rPr lang="en-GB" sz="950" b="1" kern="0" dirty="0" smtClean="0">
                <a:solidFill>
                  <a:srgbClr val="FFFFFF"/>
                </a:solidFill>
                <a:latin typeface="Calibri"/>
              </a:rPr>
              <a:t>Artefact Management</a:t>
            </a:r>
            <a:endParaRPr lang="en-GB" sz="950" b="1" kern="0" dirty="0">
              <a:solidFill>
                <a:srgbClr val="FFFFFF"/>
              </a:solidFill>
              <a:latin typeface="Calibri"/>
            </a:endParaRPr>
          </a:p>
        </p:txBody>
      </p:sp>
      <p:sp>
        <p:nvSpPr>
          <p:cNvPr id="171" name="Rectangle 170"/>
          <p:cNvSpPr/>
          <p:nvPr/>
        </p:nvSpPr>
        <p:spPr bwMode="auto">
          <a:xfrm>
            <a:off x="6876488" y="3830115"/>
            <a:ext cx="2088000" cy="246957"/>
          </a:xfrm>
          <a:prstGeom prst="rect">
            <a:avLst/>
          </a:prstGeom>
          <a:solidFill>
            <a:srgbClr val="79A6E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eaLnBrk="0" fontAlgn="auto" hangingPunct="0">
              <a:lnSpc>
                <a:spcPct val="90000"/>
              </a:lnSpc>
              <a:spcBef>
                <a:spcPts val="0"/>
              </a:spcBef>
              <a:spcAft>
                <a:spcPts val="0"/>
              </a:spcAft>
            </a:pPr>
            <a:r>
              <a:rPr lang="en-GB" sz="950" b="1" kern="0" dirty="0" smtClean="0">
                <a:solidFill>
                  <a:srgbClr val="000000"/>
                </a:solidFill>
                <a:latin typeface="Calibri"/>
              </a:rPr>
              <a:t>Jenkins Repository</a:t>
            </a:r>
            <a:r>
              <a:rPr lang="en-GB" sz="950" b="1" kern="0" dirty="0">
                <a:solidFill>
                  <a:srgbClr val="000000"/>
                </a:solidFill>
                <a:latin typeface="Calibri"/>
                <a:sym typeface="Wingdings"/>
              </a:rPr>
              <a:t> </a:t>
            </a:r>
            <a:endParaRPr lang="en-GB" sz="950" b="1" kern="0" dirty="0" smtClean="0">
              <a:solidFill>
                <a:srgbClr val="000000"/>
              </a:solidFill>
              <a:latin typeface="Calibri"/>
            </a:endParaRPr>
          </a:p>
          <a:p>
            <a:pPr eaLnBrk="0" fontAlgn="auto" hangingPunct="0">
              <a:lnSpc>
                <a:spcPct val="90000"/>
              </a:lnSpc>
              <a:spcBef>
                <a:spcPts val="0"/>
              </a:spcBef>
              <a:spcAft>
                <a:spcPts val="0"/>
              </a:spcAft>
            </a:pPr>
            <a:endParaRPr lang="en-GB" sz="800" kern="0" dirty="0">
              <a:solidFill>
                <a:srgbClr val="000000"/>
              </a:solidFill>
              <a:latin typeface="Calibri"/>
              <a:cs typeface="+mn-cs"/>
            </a:endParaRPr>
          </a:p>
        </p:txBody>
      </p:sp>
      <p:sp>
        <p:nvSpPr>
          <p:cNvPr id="174" name="Freeform 173"/>
          <p:cNvSpPr/>
          <p:nvPr/>
        </p:nvSpPr>
        <p:spPr>
          <a:xfrm>
            <a:off x="5528162" y="3573016"/>
            <a:ext cx="916046" cy="916046"/>
          </a:xfrm>
          <a:custGeom>
            <a:avLst/>
            <a:gdLst>
              <a:gd name="connsiteX0" fmla="*/ 0 w 916046"/>
              <a:gd name="connsiteY0" fmla="*/ 458023 h 916046"/>
              <a:gd name="connsiteX1" fmla="*/ 458023 w 916046"/>
              <a:gd name="connsiteY1" fmla="*/ 0 h 916046"/>
              <a:gd name="connsiteX2" fmla="*/ 916046 w 916046"/>
              <a:gd name="connsiteY2" fmla="*/ 458023 h 916046"/>
              <a:gd name="connsiteX3" fmla="*/ 458023 w 916046"/>
              <a:gd name="connsiteY3" fmla="*/ 916046 h 916046"/>
              <a:gd name="connsiteX4" fmla="*/ 0 w 916046"/>
              <a:gd name="connsiteY4" fmla="*/ 458023 h 9160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046" h="916046">
                <a:moveTo>
                  <a:pt x="0" y="458023"/>
                </a:moveTo>
                <a:cubicBezTo>
                  <a:pt x="0" y="205064"/>
                  <a:pt x="205064" y="0"/>
                  <a:pt x="458023" y="0"/>
                </a:cubicBezTo>
                <a:cubicBezTo>
                  <a:pt x="710982" y="0"/>
                  <a:pt x="916046" y="205064"/>
                  <a:pt x="916046" y="458023"/>
                </a:cubicBezTo>
                <a:cubicBezTo>
                  <a:pt x="916046" y="710982"/>
                  <a:pt x="710982" y="916046"/>
                  <a:pt x="458023" y="916046"/>
                </a:cubicBezTo>
                <a:cubicBezTo>
                  <a:pt x="205064" y="916046"/>
                  <a:pt x="0" y="710982"/>
                  <a:pt x="0" y="458023"/>
                </a:cubicBezTo>
                <a:close/>
              </a:path>
            </a:pathLst>
          </a:custGeom>
          <a:gradFill flip="none" rotWithShape="1">
            <a:gsLst>
              <a:gs pos="0">
                <a:srgbClr val="6688BB">
                  <a:lumMod val="75000"/>
                </a:srgbClr>
              </a:gs>
              <a:gs pos="100000">
                <a:srgbClr val="6688BB">
                  <a:lumMod val="60000"/>
                  <a:lumOff val="40000"/>
                </a:srgbClr>
              </a:gs>
            </a:gsLst>
            <a:path path="circle">
              <a:fillToRect l="100000" t="100000"/>
            </a:path>
            <a:tileRect r="-100000" b="-100000"/>
          </a:gradFill>
          <a:ln w="25400" cap="flat" cmpd="sng" algn="ctr">
            <a:noFill/>
            <a:prstDash val="solid"/>
          </a:ln>
          <a:effectLst/>
          <a:scene3d>
            <a:camera prst="orthographicFront"/>
            <a:lightRig rig="soft" dir="t"/>
          </a:scene3d>
          <a:sp3d prstMaterial="plastic">
            <a:bevelT w="165100" prst="coolSlant"/>
            <a:bevelB/>
          </a:sp3d>
        </p:spPr>
        <p:txBody>
          <a:bodyPr spcFirstLastPara="0" vert="horz" wrap="square" lIns="36000" tIns="36000" rIns="36000" bIns="36000" numCol="1" spcCol="1270" anchor="ctr" anchorCtr="0">
            <a:noAutofit/>
          </a:bodyPr>
          <a:lstStyle/>
          <a:p>
            <a:pPr algn="ctr" defTabSz="444500" fontAlgn="auto">
              <a:lnSpc>
                <a:spcPct val="90000"/>
              </a:lnSpc>
              <a:spcBef>
                <a:spcPts val="0"/>
              </a:spcBef>
              <a:spcAft>
                <a:spcPct val="35000"/>
              </a:spcAft>
            </a:pPr>
            <a:r>
              <a:rPr lang="es-ES" sz="800" kern="0" dirty="0" err="1" smtClean="0">
                <a:solidFill>
                  <a:srgbClr val="000000"/>
                </a:solidFill>
                <a:latin typeface="Segoe UI" pitchFamily="34" charset="0"/>
                <a:ea typeface="Segoe UI" pitchFamily="34" charset="0"/>
                <a:cs typeface="Segoe UI" pitchFamily="34" charset="0"/>
              </a:rPr>
              <a:t>Automated</a:t>
            </a:r>
            <a:r>
              <a:rPr lang="es-ES" sz="800" kern="0" dirty="0" smtClean="0">
                <a:solidFill>
                  <a:srgbClr val="000000"/>
                </a:solidFill>
                <a:latin typeface="Segoe UI" pitchFamily="34" charset="0"/>
                <a:ea typeface="Segoe UI" pitchFamily="34" charset="0"/>
                <a:cs typeface="Segoe UI" pitchFamily="34" charset="0"/>
              </a:rPr>
              <a:t> </a:t>
            </a:r>
            <a:r>
              <a:rPr lang="es-ES" sz="800" kern="0" dirty="0" err="1" smtClean="0">
                <a:solidFill>
                  <a:srgbClr val="000000"/>
                </a:solidFill>
                <a:latin typeface="Segoe UI" pitchFamily="34" charset="0"/>
                <a:ea typeface="Segoe UI" pitchFamily="34" charset="0"/>
                <a:cs typeface="Segoe UI" pitchFamily="34" charset="0"/>
              </a:rPr>
              <a:t>Development</a:t>
            </a:r>
            <a:r>
              <a:rPr lang="es-ES" sz="800" kern="0" dirty="0" smtClean="0">
                <a:solidFill>
                  <a:srgbClr val="000000"/>
                </a:solidFill>
                <a:latin typeface="Segoe UI" pitchFamily="34" charset="0"/>
                <a:ea typeface="Segoe UI" pitchFamily="34" charset="0"/>
                <a:cs typeface="Segoe UI" pitchFamily="34" charset="0"/>
              </a:rPr>
              <a:t> </a:t>
            </a:r>
            <a:r>
              <a:rPr lang="es-ES" sz="800" kern="0" dirty="0" err="1" smtClean="0">
                <a:solidFill>
                  <a:srgbClr val="000000"/>
                </a:solidFill>
                <a:latin typeface="Segoe UI" pitchFamily="34" charset="0"/>
                <a:ea typeface="Segoe UI" pitchFamily="34" charset="0"/>
                <a:cs typeface="Segoe UI" pitchFamily="34" charset="0"/>
              </a:rPr>
              <a:t>Environment</a:t>
            </a:r>
            <a:endParaRPr lang="es-ES" sz="800" kern="0" dirty="0">
              <a:solidFill>
                <a:srgbClr val="000000"/>
              </a:solidFill>
              <a:latin typeface="Segoe UI" pitchFamily="34" charset="0"/>
              <a:ea typeface="Segoe UI" pitchFamily="34" charset="0"/>
              <a:cs typeface="Segoe UI" pitchFamily="34" charset="0"/>
            </a:endParaRPr>
          </a:p>
        </p:txBody>
      </p:sp>
      <p:cxnSp>
        <p:nvCxnSpPr>
          <p:cNvPr id="177" name="Straight Arrow Connector 176"/>
          <p:cNvCxnSpPr/>
          <p:nvPr/>
        </p:nvCxnSpPr>
        <p:spPr>
          <a:xfrm flipH="1">
            <a:off x="6522103" y="2754953"/>
            <a:ext cx="246394" cy="143753"/>
          </a:xfrm>
          <a:prstGeom prst="straightConnector1">
            <a:avLst/>
          </a:prstGeom>
          <a:ln w="12700">
            <a:solidFill>
              <a:srgbClr val="B7C9E3"/>
            </a:solidFill>
            <a:tailEnd type="triangle"/>
          </a:ln>
        </p:spPr>
        <p:style>
          <a:lnRef idx="1">
            <a:schemeClr val="accent1"/>
          </a:lnRef>
          <a:fillRef idx="0">
            <a:schemeClr val="accent1"/>
          </a:fillRef>
          <a:effectRef idx="0">
            <a:schemeClr val="accent1"/>
          </a:effectRef>
          <a:fontRef idx="minor">
            <a:schemeClr val="tx1"/>
          </a:fontRef>
        </p:style>
      </p:cxnSp>
      <p:cxnSp>
        <p:nvCxnSpPr>
          <p:cNvPr id="181" name="Straight Arrow Connector 180"/>
          <p:cNvCxnSpPr>
            <a:stCxn id="117" idx="1"/>
          </p:cNvCxnSpPr>
          <p:nvPr/>
        </p:nvCxnSpPr>
        <p:spPr>
          <a:xfrm flipH="1" flipV="1">
            <a:off x="6372201" y="4313154"/>
            <a:ext cx="360039" cy="402590"/>
          </a:xfrm>
          <a:prstGeom prst="straightConnector1">
            <a:avLst/>
          </a:prstGeom>
          <a:ln w="12700">
            <a:solidFill>
              <a:srgbClr val="B7C9E3"/>
            </a:solidFill>
            <a:tailEnd type="triangle"/>
          </a:ln>
        </p:spPr>
        <p:style>
          <a:lnRef idx="1">
            <a:schemeClr val="accent1"/>
          </a:lnRef>
          <a:fillRef idx="0">
            <a:schemeClr val="accent1"/>
          </a:fillRef>
          <a:effectRef idx="0">
            <a:schemeClr val="accent1"/>
          </a:effectRef>
          <a:fontRef idx="minor">
            <a:schemeClr val="tx1"/>
          </a:fontRef>
        </p:style>
      </p:cxnSp>
      <p:sp>
        <p:nvSpPr>
          <p:cNvPr id="201" name="Rectangle 200"/>
          <p:cNvSpPr/>
          <p:nvPr/>
        </p:nvSpPr>
        <p:spPr>
          <a:xfrm>
            <a:off x="92068" y="1204864"/>
            <a:ext cx="2960546" cy="923330"/>
          </a:xfrm>
          <a:prstGeom prst="rect">
            <a:avLst/>
          </a:prstGeom>
        </p:spPr>
        <p:txBody>
          <a:bodyPr wrap="square">
            <a:spAutoFit/>
          </a:bodyPr>
          <a:lstStyle/>
          <a:p>
            <a:r>
              <a:rPr lang="en-GB" sz="1400" dirty="0" smtClean="0">
                <a:solidFill>
                  <a:schemeClr val="tx1">
                    <a:lumMod val="75000"/>
                    <a:lumOff val="25000"/>
                  </a:schemeClr>
                </a:solidFill>
              </a:rPr>
              <a:t>The list of Tools currently supported by Chef Factory are:</a:t>
            </a:r>
          </a:p>
          <a:p>
            <a:endParaRPr lang="en-GB" sz="1400" dirty="0" smtClean="0">
              <a:solidFill>
                <a:schemeClr val="tx1">
                  <a:lumMod val="75000"/>
                  <a:lumOff val="25000"/>
                </a:schemeClr>
              </a:solidFill>
            </a:endParaRPr>
          </a:p>
          <a:p>
            <a:r>
              <a:rPr lang="en-GB" sz="1200" dirty="0" smtClean="0">
                <a:solidFill>
                  <a:schemeClr val="tx1">
                    <a:lumMod val="75000"/>
                    <a:lumOff val="25000"/>
                  </a:schemeClr>
                </a:solidFill>
              </a:rPr>
              <a:t> </a:t>
            </a:r>
            <a:endParaRPr lang="en-GB" sz="1200" dirty="0"/>
          </a:p>
        </p:txBody>
      </p:sp>
      <p:pic>
        <p:nvPicPr>
          <p:cNvPr id="10242"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232525" y="2861519"/>
            <a:ext cx="843531" cy="639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2947322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
            </a:r>
            <a:br>
              <a:rPr lang="en-GB" dirty="0" smtClean="0"/>
            </a:br>
            <a:r>
              <a:rPr lang="en-GB" dirty="0" smtClean="0"/>
              <a:t>Continuous Delivery Pipeline</a:t>
            </a:r>
            <a:endParaRPr lang="en-GB" dirty="0"/>
          </a:p>
        </p:txBody>
      </p:sp>
      <p:sp>
        <p:nvSpPr>
          <p:cNvPr id="5" name="Chevron 4"/>
          <p:cNvSpPr/>
          <p:nvPr/>
        </p:nvSpPr>
        <p:spPr>
          <a:xfrm>
            <a:off x="110166" y="4080253"/>
            <a:ext cx="3601417" cy="1295400"/>
          </a:xfrm>
          <a:prstGeom prst="chevron">
            <a:avLst/>
          </a:prstGeom>
          <a:solidFill>
            <a:schemeClr val="bg1"/>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6" name="Chevron 5"/>
          <p:cNvSpPr/>
          <p:nvPr/>
        </p:nvSpPr>
        <p:spPr>
          <a:xfrm>
            <a:off x="3200400" y="4080253"/>
            <a:ext cx="5872137" cy="1295400"/>
          </a:xfrm>
          <a:prstGeom prst="chevron">
            <a:avLst/>
          </a:prstGeom>
          <a:solidFill>
            <a:schemeClr val="bg1"/>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50" b="1">
              <a:solidFill>
                <a:schemeClr val="tx1"/>
              </a:solidFill>
            </a:endParaRPr>
          </a:p>
        </p:txBody>
      </p:sp>
      <p:sp>
        <p:nvSpPr>
          <p:cNvPr id="7" name="Rounded Rectangle 6"/>
          <p:cNvSpPr/>
          <p:nvPr/>
        </p:nvSpPr>
        <p:spPr>
          <a:xfrm>
            <a:off x="755664" y="4524618"/>
            <a:ext cx="792000" cy="388231"/>
          </a:xfrm>
          <a:prstGeom prst="roundRect">
            <a:avLst>
              <a:gd name="adj" fmla="val 5869"/>
            </a:avLst>
          </a:prstGeom>
          <a:solidFill>
            <a:schemeClr val="bg1">
              <a:lumMod val="75000"/>
            </a:schemeClr>
          </a:solidFill>
          <a:ln>
            <a:noFill/>
          </a:ln>
          <a:effectLst>
            <a:outerShdw blurRad="50800" dist="63500" dir="2700000" algn="tl" rotWithShape="0">
              <a:prstClr val="black">
                <a:alpha val="47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GB" sz="1000" dirty="0" smtClean="0">
                <a:solidFill>
                  <a:schemeClr val="tx1"/>
                </a:solidFill>
              </a:rPr>
              <a:t>IDE commits</a:t>
            </a:r>
          </a:p>
        </p:txBody>
      </p:sp>
      <p:sp>
        <p:nvSpPr>
          <p:cNvPr id="9" name="Rounded Rectangular Callout 8"/>
          <p:cNvSpPr/>
          <p:nvPr/>
        </p:nvSpPr>
        <p:spPr>
          <a:xfrm>
            <a:off x="395536" y="5517232"/>
            <a:ext cx="1447800" cy="504056"/>
          </a:xfrm>
          <a:prstGeom prst="wedgeRoundRectCallout">
            <a:avLst>
              <a:gd name="adj1" fmla="val -1653"/>
              <a:gd name="adj2" fmla="val -169075"/>
              <a:gd name="adj3" fmla="val 16667"/>
            </a:avLst>
          </a:prstGeom>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Developer </a:t>
            </a:r>
            <a:r>
              <a:rPr lang="en-US" sz="1000" dirty="0" smtClean="0">
                <a:solidFill>
                  <a:schemeClr val="bg1"/>
                </a:solidFill>
              </a:rPr>
              <a:t>makes changes </a:t>
            </a:r>
            <a:endParaRPr lang="en-US" sz="1000" dirty="0">
              <a:solidFill>
                <a:schemeClr val="bg1"/>
              </a:solidFill>
            </a:endParaRPr>
          </a:p>
        </p:txBody>
      </p:sp>
      <p:sp>
        <p:nvSpPr>
          <p:cNvPr id="10" name="Rounded Rectangle 9"/>
          <p:cNvSpPr/>
          <p:nvPr/>
        </p:nvSpPr>
        <p:spPr>
          <a:xfrm>
            <a:off x="2625504" y="4466200"/>
            <a:ext cx="794368" cy="509988"/>
          </a:xfrm>
          <a:prstGeom prst="roundRect">
            <a:avLst>
              <a:gd name="adj" fmla="val 5869"/>
            </a:avLst>
          </a:prstGeom>
          <a:noFill/>
          <a:ln cmpd="sng">
            <a:solidFill>
              <a:schemeClr val="accent1"/>
            </a:solidFill>
          </a:ln>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GB" sz="850" b="1" dirty="0" smtClean="0"/>
              <a:t>QA &amp; Publish</a:t>
            </a:r>
            <a:endParaRPr lang="en-GB" sz="850" b="1" dirty="0"/>
          </a:p>
        </p:txBody>
      </p:sp>
      <p:sp>
        <p:nvSpPr>
          <p:cNvPr id="11" name="Rounded Rectangle 10"/>
          <p:cNvSpPr/>
          <p:nvPr/>
        </p:nvSpPr>
        <p:spPr>
          <a:xfrm>
            <a:off x="3968867" y="4466200"/>
            <a:ext cx="794368" cy="509988"/>
          </a:xfrm>
          <a:prstGeom prst="roundRect">
            <a:avLst>
              <a:gd name="adj" fmla="val 5869"/>
            </a:avLst>
          </a:prstGeom>
          <a:noFill/>
          <a:ln cmpd="sng">
            <a:solidFill>
              <a:schemeClr val="accent1"/>
            </a:solidFill>
          </a:ln>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GB" sz="850" b="1" dirty="0" smtClean="0"/>
              <a:t>Assembly Test </a:t>
            </a:r>
            <a:endParaRPr lang="en-GB" sz="850" b="1" dirty="0"/>
          </a:p>
        </p:txBody>
      </p:sp>
      <p:sp>
        <p:nvSpPr>
          <p:cNvPr id="12" name="Rounded Rectangle 11"/>
          <p:cNvSpPr/>
          <p:nvPr/>
        </p:nvSpPr>
        <p:spPr>
          <a:xfrm>
            <a:off x="4965764" y="4466200"/>
            <a:ext cx="794368" cy="509988"/>
          </a:xfrm>
          <a:prstGeom prst="roundRect">
            <a:avLst>
              <a:gd name="adj" fmla="val 5869"/>
            </a:avLst>
          </a:prstGeom>
          <a:noFill/>
          <a:ln cmpd="sng">
            <a:solidFill>
              <a:schemeClr val="accent1"/>
            </a:solidFill>
          </a:ln>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GB" sz="850" b="1" dirty="0" smtClean="0"/>
              <a:t>Integration Test</a:t>
            </a:r>
            <a:endParaRPr lang="en-GB" sz="850" b="1" dirty="0"/>
          </a:p>
        </p:txBody>
      </p:sp>
      <p:sp>
        <p:nvSpPr>
          <p:cNvPr id="13" name="Rounded Rectangle 12"/>
          <p:cNvSpPr/>
          <p:nvPr/>
        </p:nvSpPr>
        <p:spPr>
          <a:xfrm>
            <a:off x="5962661" y="4466200"/>
            <a:ext cx="794368" cy="509988"/>
          </a:xfrm>
          <a:prstGeom prst="roundRect">
            <a:avLst>
              <a:gd name="adj" fmla="val 5869"/>
            </a:avLst>
          </a:prstGeom>
          <a:noFill/>
          <a:ln cmpd="sng">
            <a:solidFill>
              <a:schemeClr val="accent1"/>
            </a:solidFill>
          </a:ln>
          <a:effectLst/>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a:r>
              <a:rPr lang="en-GB" sz="850" b="1" dirty="0" smtClean="0"/>
              <a:t>Performance Test</a:t>
            </a:r>
            <a:endParaRPr lang="en-GB" sz="850" b="1" dirty="0"/>
          </a:p>
        </p:txBody>
      </p:sp>
      <p:sp>
        <p:nvSpPr>
          <p:cNvPr id="14" name="Rounded Rectangle 13"/>
          <p:cNvSpPr/>
          <p:nvPr/>
        </p:nvSpPr>
        <p:spPr>
          <a:xfrm>
            <a:off x="6959558" y="4466200"/>
            <a:ext cx="794368" cy="509988"/>
          </a:xfrm>
          <a:prstGeom prst="roundRect">
            <a:avLst>
              <a:gd name="adj" fmla="val 5869"/>
            </a:avLst>
          </a:prstGeom>
          <a:noFill/>
          <a:ln>
            <a:solidFill>
              <a:schemeClr val="accent3"/>
            </a:solidFill>
          </a:ln>
          <a:effectLst/>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a:r>
              <a:rPr lang="en-GB" sz="800" b="1" dirty="0" err="1" smtClean="0"/>
              <a:t>PreProduction</a:t>
            </a:r>
            <a:endParaRPr lang="en-GB" sz="800" b="1" dirty="0"/>
          </a:p>
        </p:txBody>
      </p:sp>
      <p:sp>
        <p:nvSpPr>
          <p:cNvPr id="15" name="Rounded Rectangle 14"/>
          <p:cNvSpPr/>
          <p:nvPr/>
        </p:nvSpPr>
        <p:spPr>
          <a:xfrm>
            <a:off x="1689320" y="4466200"/>
            <a:ext cx="794368" cy="509988"/>
          </a:xfrm>
          <a:prstGeom prst="roundRect">
            <a:avLst>
              <a:gd name="adj" fmla="val 5869"/>
            </a:avLst>
          </a:prstGeom>
          <a:noFill/>
          <a:ln cmpd="sng">
            <a:solidFill>
              <a:schemeClr val="accent1"/>
            </a:solidFill>
          </a:ln>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GB" sz="850" b="1" dirty="0" smtClean="0"/>
              <a:t>Unit Test</a:t>
            </a:r>
            <a:endParaRPr lang="en-GB" sz="850" b="1" dirty="0"/>
          </a:p>
        </p:txBody>
      </p:sp>
      <p:sp>
        <p:nvSpPr>
          <p:cNvPr id="16" name="Rounded Rectangle 15"/>
          <p:cNvSpPr/>
          <p:nvPr/>
        </p:nvSpPr>
        <p:spPr>
          <a:xfrm>
            <a:off x="7956456" y="4466200"/>
            <a:ext cx="794368" cy="509988"/>
          </a:xfrm>
          <a:prstGeom prst="roundRect">
            <a:avLst>
              <a:gd name="adj" fmla="val 5869"/>
            </a:avLst>
          </a:prstGeom>
          <a:noFill/>
          <a:ln>
            <a:solidFill>
              <a:schemeClr val="accent3"/>
            </a:solidFill>
          </a:ln>
          <a:effectLst/>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a:r>
              <a:rPr lang="en-GB" sz="850" b="1" dirty="0" smtClean="0"/>
              <a:t>Production</a:t>
            </a:r>
            <a:endParaRPr lang="en-GB" sz="850" b="1" dirty="0"/>
          </a:p>
        </p:txBody>
      </p:sp>
      <p:pic>
        <p:nvPicPr>
          <p:cNvPr id="17" name="Picture 4" descr="http://bestclipartblog.com/clipart-pics/person-clip-art-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7504" y="3356992"/>
            <a:ext cx="417613" cy="544912"/>
          </a:xfrm>
          <a:prstGeom prst="rect">
            <a:avLst/>
          </a:prstGeom>
          <a:noFill/>
          <a:extLst>
            <a:ext uri="{909E8E84-426E-40DD-AFC4-6F175D3DCCD1}">
              <a14:hiddenFill xmlns:a14="http://schemas.microsoft.com/office/drawing/2010/main">
                <a:solidFill>
                  <a:srgbClr val="FFFFFF"/>
                </a:solidFill>
              </a14:hiddenFill>
            </a:ext>
          </a:extLst>
        </p:spPr>
      </p:pic>
      <p:sp>
        <p:nvSpPr>
          <p:cNvPr id="18" name="Chevron 17"/>
          <p:cNvSpPr/>
          <p:nvPr/>
        </p:nvSpPr>
        <p:spPr>
          <a:xfrm>
            <a:off x="110166" y="2276872"/>
            <a:ext cx="2852161" cy="1017240"/>
          </a:xfrm>
          <a:prstGeom prst="chevron">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10800000" scaled="1"/>
            <a:tileRect/>
          </a:gradFill>
          <a:ln>
            <a:prstDash val="sysDash"/>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 name="Chevron 18"/>
          <p:cNvSpPr/>
          <p:nvPr/>
        </p:nvSpPr>
        <p:spPr>
          <a:xfrm>
            <a:off x="2555776" y="2276872"/>
            <a:ext cx="5872137" cy="1017240"/>
          </a:xfrm>
          <a:prstGeom prst="chevron">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10800000" scaled="1"/>
            <a:tileRect/>
          </a:gradFill>
          <a:ln>
            <a:prstDash val="sysDash"/>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0" name="Rounded Rectangular Callout 19"/>
          <p:cNvSpPr/>
          <p:nvPr/>
        </p:nvSpPr>
        <p:spPr>
          <a:xfrm>
            <a:off x="3131840" y="1574120"/>
            <a:ext cx="1431939" cy="576000"/>
          </a:xfrm>
          <a:prstGeom prst="wedgeRoundRectCallout">
            <a:avLst>
              <a:gd name="adj1" fmla="val -11889"/>
              <a:gd name="adj2" fmla="val 130585"/>
              <a:gd name="adj3" fmla="val 16667"/>
            </a:avLst>
          </a:prstGeom>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dirty="0" smtClean="0">
                <a:solidFill>
                  <a:schemeClr val="bg1"/>
                </a:solidFill>
              </a:rPr>
              <a:t>Code analysis/review via Sonar / </a:t>
            </a:r>
            <a:r>
              <a:rPr lang="en-US" sz="900" dirty="0" err="1" smtClean="0">
                <a:solidFill>
                  <a:schemeClr val="bg1"/>
                </a:solidFill>
              </a:rPr>
              <a:t>Gerrit</a:t>
            </a:r>
            <a:r>
              <a:rPr lang="en-US" sz="900" dirty="0" smtClean="0">
                <a:solidFill>
                  <a:schemeClr val="bg1"/>
                </a:solidFill>
              </a:rPr>
              <a:t> / </a:t>
            </a:r>
            <a:r>
              <a:rPr lang="en-US" sz="900" dirty="0" err="1" smtClean="0">
                <a:solidFill>
                  <a:schemeClr val="bg1"/>
                </a:solidFill>
              </a:rPr>
              <a:t>Foodcritic</a:t>
            </a:r>
            <a:r>
              <a:rPr lang="en-US" sz="900" dirty="0" smtClean="0">
                <a:solidFill>
                  <a:schemeClr val="bg1"/>
                </a:solidFill>
              </a:rPr>
              <a:t> or  Robocop </a:t>
            </a:r>
            <a:endParaRPr lang="en-US" sz="900" dirty="0">
              <a:solidFill>
                <a:schemeClr val="bg1"/>
              </a:solidFill>
            </a:endParaRPr>
          </a:p>
        </p:txBody>
      </p:sp>
      <p:sp>
        <p:nvSpPr>
          <p:cNvPr id="21" name="Rounded Rectangular Callout 20"/>
          <p:cNvSpPr/>
          <p:nvPr/>
        </p:nvSpPr>
        <p:spPr>
          <a:xfrm>
            <a:off x="683568" y="1574120"/>
            <a:ext cx="1285925" cy="576000"/>
          </a:xfrm>
          <a:prstGeom prst="wedgeRoundRectCallout">
            <a:avLst>
              <a:gd name="adj1" fmla="val 49795"/>
              <a:gd name="adj2" fmla="val 121022"/>
              <a:gd name="adj3" fmla="val 16667"/>
            </a:avLst>
          </a:prstGeom>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dirty="0" smtClean="0">
                <a:solidFill>
                  <a:schemeClr val="bg1"/>
                </a:solidFill>
              </a:rPr>
              <a:t>All changes commited to GIT after peer review</a:t>
            </a:r>
            <a:endParaRPr lang="en-US" sz="900" dirty="0">
              <a:solidFill>
                <a:schemeClr val="bg1"/>
              </a:solidFill>
            </a:endParaRPr>
          </a:p>
        </p:txBody>
      </p:sp>
      <p:sp>
        <p:nvSpPr>
          <p:cNvPr id="22" name="Rounded Rectangular Callout 21"/>
          <p:cNvSpPr/>
          <p:nvPr/>
        </p:nvSpPr>
        <p:spPr>
          <a:xfrm>
            <a:off x="7094142" y="1574120"/>
            <a:ext cx="1438298" cy="576000"/>
          </a:xfrm>
          <a:prstGeom prst="wedgeRoundRectCallout">
            <a:avLst>
              <a:gd name="adj1" fmla="val -54017"/>
              <a:gd name="adj2" fmla="val 130585"/>
              <a:gd name="adj3" fmla="val 16667"/>
            </a:avLst>
          </a:prstGeom>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dirty="0" smtClean="0">
                <a:solidFill>
                  <a:schemeClr val="bg1"/>
                </a:solidFill>
              </a:rPr>
              <a:t>Automated testing via Selenium,</a:t>
            </a:r>
          </a:p>
          <a:p>
            <a:pPr algn="ctr"/>
            <a:r>
              <a:rPr lang="en-US" sz="900" dirty="0" smtClean="0">
                <a:solidFill>
                  <a:schemeClr val="bg1"/>
                </a:solidFill>
              </a:rPr>
              <a:t>Test Kitchen or </a:t>
            </a:r>
            <a:r>
              <a:rPr lang="en-US" sz="900" dirty="0" err="1" smtClean="0">
                <a:solidFill>
                  <a:schemeClr val="bg1"/>
                </a:solidFill>
              </a:rPr>
              <a:t>ServerSpec</a:t>
            </a:r>
            <a:r>
              <a:rPr lang="en-US" sz="900" dirty="0" smtClean="0">
                <a:solidFill>
                  <a:schemeClr val="bg1"/>
                </a:solidFill>
              </a:rPr>
              <a:t> </a:t>
            </a:r>
            <a:endParaRPr lang="en-US" sz="900" dirty="0">
              <a:solidFill>
                <a:schemeClr val="bg1"/>
              </a:solidFill>
            </a:endParaRPr>
          </a:p>
        </p:txBody>
      </p:sp>
      <p:sp>
        <p:nvSpPr>
          <p:cNvPr id="23" name="Oval 22"/>
          <p:cNvSpPr/>
          <p:nvPr/>
        </p:nvSpPr>
        <p:spPr bwMode="auto">
          <a:xfrm>
            <a:off x="683568" y="2538214"/>
            <a:ext cx="1008000" cy="54000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kumimoji="0" lang="en-GB" sz="850" i="0" u="none" strike="noStrike" cap="none" normalizeH="0" baseline="0" dirty="0" smtClean="0">
                <a:ln>
                  <a:noFill/>
                </a:ln>
                <a:solidFill>
                  <a:schemeClr val="tx1"/>
                </a:solidFill>
                <a:effectLst/>
              </a:rPr>
              <a:t>Manual Peer Review</a:t>
            </a:r>
          </a:p>
        </p:txBody>
      </p:sp>
      <p:sp>
        <p:nvSpPr>
          <p:cNvPr id="24" name="Oval 23"/>
          <p:cNvSpPr/>
          <p:nvPr/>
        </p:nvSpPr>
        <p:spPr bwMode="auto">
          <a:xfrm>
            <a:off x="1731168" y="2538214"/>
            <a:ext cx="1008000" cy="54000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kumimoji="0" lang="en-GB" sz="850" i="0" u="none" strike="noStrike" cap="none" normalizeH="0" baseline="0" dirty="0" smtClean="0">
                <a:ln>
                  <a:noFill/>
                </a:ln>
                <a:solidFill>
                  <a:schemeClr val="tx1"/>
                </a:solidFill>
                <a:effectLst/>
                <a:latin typeface="Arial" charset="0"/>
              </a:rPr>
              <a:t>Load changes into GIT</a:t>
            </a:r>
          </a:p>
        </p:txBody>
      </p:sp>
      <p:sp>
        <p:nvSpPr>
          <p:cNvPr id="25" name="Oval 24"/>
          <p:cNvSpPr/>
          <p:nvPr/>
        </p:nvSpPr>
        <p:spPr bwMode="auto">
          <a:xfrm>
            <a:off x="3118311" y="2538214"/>
            <a:ext cx="1008000" cy="54000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kumimoji="0" lang="en-GB" sz="850" i="0" u="none" strike="noStrike" cap="none" normalizeH="0" baseline="0" dirty="0" smtClean="0">
                <a:ln>
                  <a:noFill/>
                </a:ln>
                <a:solidFill>
                  <a:schemeClr val="tx1"/>
                </a:solidFill>
                <a:effectLst/>
                <a:latin typeface="Arial" charset="0"/>
              </a:rPr>
              <a:t>Code Analysis </a:t>
            </a:r>
          </a:p>
        </p:txBody>
      </p:sp>
      <p:sp>
        <p:nvSpPr>
          <p:cNvPr id="26" name="Oval 25"/>
          <p:cNvSpPr/>
          <p:nvPr/>
        </p:nvSpPr>
        <p:spPr bwMode="auto">
          <a:xfrm>
            <a:off x="4147807" y="2538214"/>
            <a:ext cx="1008000" cy="54000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kumimoji="0" lang="en-GB" sz="850" i="0" u="none" strike="noStrike" cap="none" normalizeH="0" baseline="0" dirty="0" smtClean="0">
                <a:ln>
                  <a:noFill/>
                </a:ln>
                <a:solidFill>
                  <a:schemeClr val="tx1"/>
                </a:solidFill>
                <a:effectLst/>
                <a:latin typeface="Arial" charset="0"/>
              </a:rPr>
              <a:t>Package Build</a:t>
            </a:r>
          </a:p>
        </p:txBody>
      </p:sp>
      <p:sp>
        <p:nvSpPr>
          <p:cNvPr id="27" name="Oval 26"/>
          <p:cNvSpPr/>
          <p:nvPr/>
        </p:nvSpPr>
        <p:spPr bwMode="auto">
          <a:xfrm>
            <a:off x="5177303" y="2538214"/>
            <a:ext cx="1008000" cy="54000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kumimoji="0" lang="en-GB" sz="850" i="0" u="none" strike="noStrike" cap="none" normalizeH="0" baseline="0" dirty="0" smtClean="0">
                <a:ln>
                  <a:noFill/>
                </a:ln>
                <a:solidFill>
                  <a:schemeClr val="tx1"/>
                </a:solidFill>
                <a:effectLst/>
                <a:latin typeface="Arial" charset="0"/>
              </a:rPr>
              <a:t>Deploy Build</a:t>
            </a:r>
            <a:r>
              <a:rPr kumimoji="0" lang="en-GB" sz="850" i="0" u="none" strike="noStrike" cap="none" normalizeH="0" dirty="0" smtClean="0">
                <a:ln>
                  <a:noFill/>
                </a:ln>
                <a:solidFill>
                  <a:schemeClr val="tx1"/>
                </a:solidFill>
                <a:effectLst/>
                <a:latin typeface="Arial" charset="0"/>
              </a:rPr>
              <a:t> to Build Sandbox </a:t>
            </a:r>
            <a:endParaRPr kumimoji="0" lang="en-GB" sz="850" i="0" u="none" strike="noStrike" cap="none" normalizeH="0" baseline="0" dirty="0" smtClean="0">
              <a:ln>
                <a:noFill/>
              </a:ln>
              <a:solidFill>
                <a:schemeClr val="tx1"/>
              </a:solidFill>
              <a:effectLst/>
              <a:latin typeface="Arial" charset="0"/>
            </a:endParaRPr>
          </a:p>
        </p:txBody>
      </p:sp>
      <p:sp>
        <p:nvSpPr>
          <p:cNvPr id="28" name="Oval 27"/>
          <p:cNvSpPr/>
          <p:nvPr/>
        </p:nvSpPr>
        <p:spPr bwMode="auto">
          <a:xfrm>
            <a:off x="6206799" y="2538214"/>
            <a:ext cx="1008000" cy="54000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kumimoji="0" lang="en-GB" sz="850" i="0" u="none" strike="noStrike" cap="none" normalizeH="0" baseline="0" dirty="0" smtClean="0">
                <a:ln>
                  <a:noFill/>
                </a:ln>
                <a:solidFill>
                  <a:schemeClr val="tx1"/>
                </a:solidFill>
                <a:effectLst/>
                <a:latin typeface="Arial" charset="0"/>
              </a:rPr>
              <a:t>Automated Testing</a:t>
            </a:r>
          </a:p>
        </p:txBody>
      </p:sp>
      <p:sp>
        <p:nvSpPr>
          <p:cNvPr id="29" name="Oval 28"/>
          <p:cNvSpPr/>
          <p:nvPr/>
        </p:nvSpPr>
        <p:spPr bwMode="auto">
          <a:xfrm>
            <a:off x="7236296" y="2538214"/>
            <a:ext cx="1008000" cy="54000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kumimoji="0" lang="en-GB" sz="850" i="0" u="none" strike="noStrike" cap="none" normalizeH="0" baseline="0" dirty="0" smtClean="0">
                <a:ln>
                  <a:noFill/>
                </a:ln>
                <a:solidFill>
                  <a:schemeClr val="tx1"/>
                </a:solidFill>
                <a:effectLst/>
                <a:latin typeface="Arial" charset="0"/>
              </a:rPr>
              <a:t>Deploy Build</a:t>
            </a:r>
            <a:r>
              <a:rPr kumimoji="0" lang="en-GB" sz="850" i="0" u="none" strike="noStrike" cap="none" normalizeH="0" dirty="0" smtClean="0">
                <a:ln>
                  <a:noFill/>
                </a:ln>
                <a:solidFill>
                  <a:schemeClr val="tx1"/>
                </a:solidFill>
                <a:effectLst/>
                <a:latin typeface="Arial" charset="0"/>
              </a:rPr>
              <a:t> to QA</a:t>
            </a:r>
            <a:endParaRPr kumimoji="0" lang="en-GB" sz="850" i="0" u="none" strike="noStrike" cap="none" normalizeH="0" baseline="0" dirty="0" smtClean="0">
              <a:ln>
                <a:noFill/>
              </a:ln>
              <a:solidFill>
                <a:schemeClr val="tx1"/>
              </a:solidFill>
              <a:effectLst/>
              <a:latin typeface="Arial" charset="0"/>
            </a:endParaRPr>
          </a:p>
        </p:txBody>
      </p:sp>
      <p:sp>
        <p:nvSpPr>
          <p:cNvPr id="31" name="Rounded Rectangular Callout 30"/>
          <p:cNvSpPr/>
          <p:nvPr/>
        </p:nvSpPr>
        <p:spPr>
          <a:xfrm>
            <a:off x="4967221" y="1610092"/>
            <a:ext cx="1517279" cy="504056"/>
          </a:xfrm>
          <a:prstGeom prst="wedgeRoundRectCallout">
            <a:avLst>
              <a:gd name="adj1" fmla="val 847"/>
              <a:gd name="adj2" fmla="val 139656"/>
              <a:gd name="adj3" fmla="val 16667"/>
            </a:avLst>
          </a:prstGeom>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dirty="0" smtClean="0">
                <a:solidFill>
                  <a:schemeClr val="bg1"/>
                </a:solidFill>
              </a:rPr>
              <a:t>Changes loaded to Chef Server via Jenkins / </a:t>
            </a:r>
            <a:r>
              <a:rPr lang="en-US" sz="900" dirty="0" err="1" smtClean="0">
                <a:solidFill>
                  <a:schemeClr val="bg1"/>
                </a:solidFill>
              </a:rPr>
              <a:t>Spiceweasel</a:t>
            </a:r>
            <a:endParaRPr lang="en-US" sz="900" dirty="0">
              <a:solidFill>
                <a:schemeClr val="bg1"/>
              </a:solidFill>
            </a:endParaRPr>
          </a:p>
        </p:txBody>
      </p:sp>
      <p:sp>
        <p:nvSpPr>
          <p:cNvPr id="32" name="Up Arrow Callout 31"/>
          <p:cNvSpPr/>
          <p:nvPr/>
        </p:nvSpPr>
        <p:spPr bwMode="auto">
          <a:xfrm>
            <a:off x="576734" y="6021288"/>
            <a:ext cx="970930" cy="360040"/>
          </a:xfrm>
          <a:prstGeom prst="upArrowCallout">
            <a:avLst/>
          </a:prstGeom>
          <a:solidFill>
            <a:schemeClr val="bg1"/>
          </a:solidFill>
          <a:ln w="1905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kumimoji="0" lang="en-GB" sz="1200" b="1" i="0" u="none" strike="noStrike" cap="none" normalizeH="0" baseline="0" dirty="0" smtClean="0">
                <a:ln>
                  <a:noFill/>
                </a:ln>
                <a:solidFill>
                  <a:schemeClr val="accent1"/>
                </a:solidFill>
                <a:effectLst/>
                <a:latin typeface="Arial" charset="0"/>
              </a:rPr>
              <a:t>START</a:t>
            </a:r>
          </a:p>
        </p:txBody>
      </p:sp>
      <p:cxnSp>
        <p:nvCxnSpPr>
          <p:cNvPr id="34" name="Straight Arrow Connector 33"/>
          <p:cNvCxnSpPr/>
          <p:nvPr/>
        </p:nvCxnSpPr>
        <p:spPr bwMode="auto">
          <a:xfrm flipV="1">
            <a:off x="1062199" y="3356993"/>
            <a:ext cx="0" cy="875660"/>
          </a:xfrm>
          <a:prstGeom prst="straightConnector1">
            <a:avLst/>
          </a:prstGeom>
          <a:solidFill>
            <a:schemeClr val="accent1"/>
          </a:solidFill>
          <a:ln w="50800" cap="flat" cmpd="sng" algn="ctr">
            <a:gradFill>
              <a:gsLst>
                <a:gs pos="0">
                  <a:schemeClr val="accent1"/>
                </a:gs>
                <a:gs pos="50000">
                  <a:schemeClr val="accent1">
                    <a:tint val="44500"/>
                    <a:satMod val="160000"/>
                  </a:schemeClr>
                </a:gs>
                <a:gs pos="100000">
                  <a:schemeClr val="accent1">
                    <a:tint val="23500"/>
                    <a:satMod val="160000"/>
                  </a:schemeClr>
                </a:gs>
              </a:gsLst>
              <a:lin ang="5400000" scaled="0"/>
            </a:gradFill>
            <a:prstDash val="sysDash"/>
            <a:round/>
            <a:headEnd type="none" w="med" len="med"/>
            <a:tailEnd type="arrow"/>
          </a:ln>
          <a:effectLst/>
        </p:spPr>
      </p:cxnSp>
      <p:cxnSp>
        <p:nvCxnSpPr>
          <p:cNvPr id="35" name="Straight Arrow Connector 34"/>
          <p:cNvCxnSpPr/>
          <p:nvPr/>
        </p:nvCxnSpPr>
        <p:spPr bwMode="auto">
          <a:xfrm>
            <a:off x="3059872" y="3753036"/>
            <a:ext cx="0" cy="713164"/>
          </a:xfrm>
          <a:prstGeom prst="straightConnector1">
            <a:avLst/>
          </a:prstGeom>
          <a:solidFill>
            <a:schemeClr val="accent1"/>
          </a:solidFill>
          <a:ln w="50800" cap="flat" cmpd="sng" algn="ctr">
            <a:gradFill flip="none" rotWithShape="1">
              <a:gsLst>
                <a:gs pos="0">
                  <a:schemeClr val="accent1"/>
                </a:gs>
                <a:gs pos="50000">
                  <a:schemeClr val="accent1">
                    <a:tint val="44500"/>
                    <a:satMod val="160000"/>
                  </a:schemeClr>
                </a:gs>
                <a:gs pos="100000">
                  <a:schemeClr val="accent1">
                    <a:tint val="23500"/>
                    <a:satMod val="160000"/>
                  </a:schemeClr>
                </a:gs>
              </a:gsLst>
              <a:lin ang="0" scaled="1"/>
              <a:tileRect/>
            </a:gradFill>
            <a:prstDash val="sysDash"/>
            <a:round/>
            <a:headEnd type="none" w="med" len="med"/>
            <a:tailEnd type="arrow"/>
          </a:ln>
          <a:effectLst/>
        </p:spPr>
      </p:cxnSp>
      <p:cxnSp>
        <p:nvCxnSpPr>
          <p:cNvPr id="38" name="Straight Arrow Connector 37"/>
          <p:cNvCxnSpPr/>
          <p:nvPr/>
        </p:nvCxnSpPr>
        <p:spPr bwMode="auto">
          <a:xfrm flipH="1">
            <a:off x="2987824" y="3689041"/>
            <a:ext cx="5544616" cy="1"/>
          </a:xfrm>
          <a:prstGeom prst="straightConnector1">
            <a:avLst/>
          </a:prstGeom>
          <a:solidFill>
            <a:schemeClr val="accent1"/>
          </a:solidFill>
          <a:ln w="50800" cap="flat" cmpd="sng" algn="ctr">
            <a:solidFill>
              <a:schemeClr val="accent1">
                <a:alpha val="30000"/>
              </a:schemeClr>
            </a:solidFill>
            <a:prstDash val="sysDash"/>
            <a:round/>
            <a:headEnd type="none" w="med" len="med"/>
            <a:tailEnd type="arrow"/>
          </a:ln>
          <a:effectLst/>
        </p:spPr>
      </p:cxnSp>
      <p:cxnSp>
        <p:nvCxnSpPr>
          <p:cNvPr id="43" name="Straight Arrow Connector 42"/>
          <p:cNvCxnSpPr/>
          <p:nvPr/>
        </p:nvCxnSpPr>
        <p:spPr bwMode="auto">
          <a:xfrm>
            <a:off x="8460432" y="2836204"/>
            <a:ext cx="0" cy="880828"/>
          </a:xfrm>
          <a:prstGeom prst="straightConnector1">
            <a:avLst/>
          </a:prstGeom>
          <a:solidFill>
            <a:schemeClr val="accent1"/>
          </a:solidFill>
          <a:ln w="50800" cap="flat" cmpd="sng" algn="ctr">
            <a:gradFill>
              <a:gsLst>
                <a:gs pos="0">
                  <a:schemeClr val="accent1"/>
                </a:gs>
                <a:gs pos="50000">
                  <a:schemeClr val="accent1">
                    <a:tint val="44500"/>
                    <a:satMod val="160000"/>
                  </a:schemeClr>
                </a:gs>
                <a:gs pos="100000">
                  <a:schemeClr val="accent1">
                    <a:tint val="23500"/>
                    <a:satMod val="160000"/>
                  </a:schemeClr>
                </a:gs>
              </a:gsLst>
              <a:lin ang="5400000" scaled="0"/>
            </a:gradFill>
            <a:prstDash val="sysDash"/>
            <a:round/>
            <a:headEnd type="none" w="med" len="med"/>
            <a:tailEnd type="arrow"/>
          </a:ln>
          <a:effectLst/>
        </p:spPr>
      </p:cxnSp>
      <p:sp>
        <p:nvSpPr>
          <p:cNvPr id="46" name="TextBox 45"/>
          <p:cNvSpPr txBox="1"/>
          <p:nvPr/>
        </p:nvSpPr>
        <p:spPr>
          <a:xfrm>
            <a:off x="7391678" y="3068960"/>
            <a:ext cx="924738" cy="246221"/>
          </a:xfrm>
          <a:prstGeom prst="rect">
            <a:avLst/>
          </a:prstGeom>
          <a:noFill/>
        </p:spPr>
        <p:txBody>
          <a:bodyPr wrap="square" rtlCol="0">
            <a:spAutoFit/>
          </a:bodyPr>
          <a:lstStyle/>
          <a:p>
            <a:r>
              <a:rPr lang="en-GB" sz="1000" b="1" i="1" dirty="0" smtClean="0">
                <a:solidFill>
                  <a:schemeClr val="accent1"/>
                </a:solidFill>
              </a:rPr>
              <a:t>Process</a:t>
            </a:r>
          </a:p>
        </p:txBody>
      </p:sp>
      <p:sp>
        <p:nvSpPr>
          <p:cNvPr id="47" name="TextBox 46"/>
          <p:cNvSpPr txBox="1"/>
          <p:nvPr/>
        </p:nvSpPr>
        <p:spPr>
          <a:xfrm>
            <a:off x="7452320" y="5126995"/>
            <a:ext cx="1140762" cy="246221"/>
          </a:xfrm>
          <a:prstGeom prst="rect">
            <a:avLst/>
          </a:prstGeom>
          <a:noFill/>
        </p:spPr>
        <p:txBody>
          <a:bodyPr wrap="square" rtlCol="0">
            <a:spAutoFit/>
          </a:bodyPr>
          <a:lstStyle/>
          <a:p>
            <a:r>
              <a:rPr lang="en-GB" sz="1000" b="1" i="1" dirty="0" smtClean="0">
                <a:solidFill>
                  <a:schemeClr val="accent1"/>
                </a:solidFill>
              </a:rPr>
              <a:t>Environments</a:t>
            </a:r>
          </a:p>
        </p:txBody>
      </p:sp>
      <p:pic>
        <p:nvPicPr>
          <p:cNvPr id="30" name="Picture 2" descr="http://plancast.com/uploads/plan/photo/201209/plan_photo_1347191970.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88024" y="3356992"/>
            <a:ext cx="664098" cy="664098"/>
          </a:xfrm>
          <a:prstGeom prst="rect">
            <a:avLst/>
          </a:prstGeom>
          <a:noFill/>
          <a:extLst>
            <a:ext uri="{909E8E84-426E-40DD-AFC4-6F175D3DCCD1}">
              <a14:hiddenFill xmlns:a14="http://schemas.microsoft.com/office/drawing/2010/main">
                <a:solidFill>
                  <a:srgbClr val="FFFFFF"/>
                </a:solidFill>
              </a14:hiddenFill>
            </a:ext>
          </a:extLst>
        </p:spPr>
      </p:pic>
      <p:sp>
        <p:nvSpPr>
          <p:cNvPr id="48" name="TextBox 47"/>
          <p:cNvSpPr txBox="1"/>
          <p:nvPr/>
        </p:nvSpPr>
        <p:spPr>
          <a:xfrm>
            <a:off x="6473311" y="6361583"/>
            <a:ext cx="2275153" cy="307777"/>
          </a:xfrm>
          <a:prstGeom prst="rect">
            <a:avLst/>
          </a:prstGeom>
          <a:noFill/>
        </p:spPr>
        <p:txBody>
          <a:bodyPr wrap="square" rtlCol="0">
            <a:spAutoFit/>
          </a:bodyPr>
          <a:lstStyle/>
          <a:p>
            <a:r>
              <a:rPr lang="en-GB" sz="700" dirty="0" smtClean="0">
                <a:solidFill>
                  <a:schemeClr val="tx1">
                    <a:lumMod val="75000"/>
                    <a:lumOff val="25000"/>
                  </a:schemeClr>
                </a:solidFill>
              </a:rPr>
              <a:t>Note: Pipeline is illustrative. Additional tooling could be used, as per the Chef Factory Tools Blueprint.</a:t>
            </a:r>
            <a:endParaRPr lang="en-GB" sz="700" b="0" dirty="0" smtClean="0">
              <a:solidFill>
                <a:schemeClr val="tx1">
                  <a:lumMod val="75000"/>
                  <a:lumOff val="25000"/>
                </a:schemeClr>
              </a:solidFill>
            </a:endParaRPr>
          </a:p>
        </p:txBody>
      </p:sp>
      <p:sp>
        <p:nvSpPr>
          <p:cNvPr id="52" name="Rounded Rectangle 51"/>
          <p:cNvSpPr/>
          <p:nvPr/>
        </p:nvSpPr>
        <p:spPr bwMode="auto">
          <a:xfrm>
            <a:off x="2160000" y="5487035"/>
            <a:ext cx="850567" cy="390237"/>
          </a:xfrm>
          <a:prstGeom prst="roundRect">
            <a:avLst/>
          </a:prstGeom>
          <a:noFill/>
          <a:ln w="12700" cap="flat" cmpd="sng" algn="ctr">
            <a:solidFill>
              <a:schemeClr val="accent2">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kumimoji="0" lang="en-GB" sz="800" i="0" u="none" strike="noStrike" cap="none" normalizeH="0" baseline="0" dirty="0" smtClean="0">
                <a:ln>
                  <a:noFill/>
                </a:ln>
                <a:solidFill>
                  <a:schemeClr val="tx2"/>
                </a:solidFill>
                <a:effectLst/>
                <a:latin typeface="Arial" charset="0"/>
              </a:rPr>
              <a:t>Commit to Development Branch</a:t>
            </a:r>
          </a:p>
        </p:txBody>
      </p:sp>
      <p:cxnSp>
        <p:nvCxnSpPr>
          <p:cNvPr id="54" name="Straight Arrow Connector 53"/>
          <p:cNvCxnSpPr/>
          <p:nvPr/>
        </p:nvCxnSpPr>
        <p:spPr bwMode="auto">
          <a:xfrm flipH="1" flipV="1">
            <a:off x="2592000" y="5005113"/>
            <a:ext cx="1" cy="481922"/>
          </a:xfrm>
          <a:prstGeom prst="straightConnector1">
            <a:avLst/>
          </a:prstGeom>
          <a:solidFill>
            <a:schemeClr val="accent1"/>
          </a:solidFill>
          <a:ln w="12700" cap="flat" cmpd="sng" algn="ctr">
            <a:solidFill>
              <a:schemeClr val="accent2">
                <a:lumMod val="60000"/>
                <a:lumOff val="40000"/>
              </a:schemeClr>
            </a:solidFill>
            <a:prstDash val="solid"/>
            <a:round/>
            <a:headEnd type="none" w="med" len="med"/>
            <a:tailEnd type="diamond" w="lg" len="lg"/>
          </a:ln>
          <a:effectLst/>
        </p:spPr>
      </p:cxnSp>
      <p:sp>
        <p:nvSpPr>
          <p:cNvPr id="55" name="Rounded Rectangle 54"/>
          <p:cNvSpPr/>
          <p:nvPr/>
        </p:nvSpPr>
        <p:spPr bwMode="auto">
          <a:xfrm>
            <a:off x="4427984" y="5487035"/>
            <a:ext cx="850567" cy="390237"/>
          </a:xfrm>
          <a:prstGeom prst="roundRect">
            <a:avLst/>
          </a:prstGeom>
          <a:noFill/>
          <a:ln w="12700" cap="flat" cmpd="sng" algn="ctr">
            <a:solidFill>
              <a:schemeClr val="accent2">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kumimoji="0" lang="en-GB" sz="800" i="0" u="none" strike="noStrike" cap="none" normalizeH="0" baseline="0" dirty="0" smtClean="0">
                <a:ln>
                  <a:noFill/>
                </a:ln>
                <a:solidFill>
                  <a:schemeClr val="tx2"/>
                </a:solidFill>
                <a:effectLst/>
                <a:latin typeface="Arial" charset="0"/>
              </a:rPr>
              <a:t>Merge</a:t>
            </a:r>
            <a:r>
              <a:rPr kumimoji="0" lang="en-GB" sz="800" i="0" u="none" strike="noStrike" cap="none" normalizeH="0" dirty="0" smtClean="0">
                <a:ln>
                  <a:noFill/>
                </a:ln>
                <a:solidFill>
                  <a:schemeClr val="tx2"/>
                </a:solidFill>
                <a:effectLst/>
                <a:latin typeface="Arial" charset="0"/>
              </a:rPr>
              <a:t> to Release Branch</a:t>
            </a:r>
            <a:endParaRPr kumimoji="0" lang="en-GB" sz="800" i="0" u="none" strike="noStrike" cap="none" normalizeH="0" baseline="0" dirty="0" smtClean="0">
              <a:ln>
                <a:noFill/>
              </a:ln>
              <a:solidFill>
                <a:schemeClr val="tx2"/>
              </a:solidFill>
              <a:effectLst/>
              <a:latin typeface="Arial" charset="0"/>
            </a:endParaRPr>
          </a:p>
        </p:txBody>
      </p:sp>
      <p:cxnSp>
        <p:nvCxnSpPr>
          <p:cNvPr id="56" name="Straight Arrow Connector 55"/>
          <p:cNvCxnSpPr>
            <a:stCxn id="55" idx="0"/>
          </p:cNvCxnSpPr>
          <p:nvPr/>
        </p:nvCxnSpPr>
        <p:spPr bwMode="auto">
          <a:xfrm flipH="1" flipV="1">
            <a:off x="4853267" y="5005113"/>
            <a:ext cx="1" cy="481922"/>
          </a:xfrm>
          <a:prstGeom prst="straightConnector1">
            <a:avLst/>
          </a:prstGeom>
          <a:solidFill>
            <a:schemeClr val="accent1"/>
          </a:solidFill>
          <a:ln w="12700" cap="flat" cmpd="sng" algn="ctr">
            <a:solidFill>
              <a:schemeClr val="accent2">
                <a:lumMod val="60000"/>
                <a:lumOff val="40000"/>
              </a:schemeClr>
            </a:solidFill>
            <a:prstDash val="solid"/>
            <a:round/>
            <a:headEnd type="none" w="med" len="med"/>
            <a:tailEnd type="diamond" w="lg" len="lg"/>
          </a:ln>
          <a:effectLst/>
        </p:spPr>
      </p:cxnSp>
      <p:sp>
        <p:nvSpPr>
          <p:cNvPr id="57" name="Rounded Rectangle 56"/>
          <p:cNvSpPr/>
          <p:nvPr/>
        </p:nvSpPr>
        <p:spPr bwMode="auto">
          <a:xfrm>
            <a:off x="6385729" y="5495098"/>
            <a:ext cx="850567" cy="390237"/>
          </a:xfrm>
          <a:prstGeom prst="roundRect">
            <a:avLst/>
          </a:prstGeom>
          <a:noFill/>
          <a:ln w="12700" cap="flat" cmpd="sng" algn="ctr">
            <a:solidFill>
              <a:schemeClr val="accent2">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kumimoji="0" lang="en-GB" sz="800" i="0" u="none" strike="noStrike" cap="none" normalizeH="0" baseline="0" dirty="0" smtClean="0">
                <a:ln>
                  <a:noFill/>
                </a:ln>
                <a:solidFill>
                  <a:schemeClr val="tx2"/>
                </a:solidFill>
                <a:effectLst/>
                <a:latin typeface="Arial" charset="0"/>
              </a:rPr>
              <a:t>Merge to Master</a:t>
            </a:r>
            <a:r>
              <a:rPr kumimoji="0" lang="en-GB" sz="800" i="0" u="none" strike="noStrike" cap="none" normalizeH="0" dirty="0" smtClean="0">
                <a:ln>
                  <a:noFill/>
                </a:ln>
                <a:solidFill>
                  <a:schemeClr val="tx2"/>
                </a:solidFill>
                <a:effectLst/>
                <a:latin typeface="Arial" charset="0"/>
              </a:rPr>
              <a:t> Branch</a:t>
            </a:r>
            <a:endParaRPr kumimoji="0" lang="en-GB" sz="800" i="0" u="none" strike="noStrike" cap="none" normalizeH="0" baseline="0" dirty="0" smtClean="0">
              <a:ln>
                <a:noFill/>
              </a:ln>
              <a:solidFill>
                <a:schemeClr val="tx2"/>
              </a:solidFill>
              <a:effectLst/>
              <a:latin typeface="Arial" charset="0"/>
            </a:endParaRPr>
          </a:p>
        </p:txBody>
      </p:sp>
      <p:cxnSp>
        <p:nvCxnSpPr>
          <p:cNvPr id="58" name="Straight Arrow Connector 57"/>
          <p:cNvCxnSpPr>
            <a:stCxn id="57" idx="0"/>
          </p:cNvCxnSpPr>
          <p:nvPr/>
        </p:nvCxnSpPr>
        <p:spPr bwMode="auto">
          <a:xfrm flipH="1" flipV="1">
            <a:off x="6811012" y="5013176"/>
            <a:ext cx="1" cy="481922"/>
          </a:xfrm>
          <a:prstGeom prst="straightConnector1">
            <a:avLst/>
          </a:prstGeom>
          <a:solidFill>
            <a:schemeClr val="accent1"/>
          </a:solidFill>
          <a:ln w="12700" cap="flat" cmpd="sng" algn="ctr">
            <a:solidFill>
              <a:schemeClr val="accent2">
                <a:lumMod val="60000"/>
                <a:lumOff val="40000"/>
              </a:schemeClr>
            </a:solidFill>
            <a:prstDash val="solid"/>
            <a:round/>
            <a:headEnd type="none" w="med" len="med"/>
            <a:tailEnd type="diamond" w="lg" len="lg"/>
          </a:ln>
          <a:effectLst/>
        </p:spPr>
      </p:cxnSp>
      <p:sp>
        <p:nvSpPr>
          <p:cNvPr id="62" name="TextBox 61"/>
          <p:cNvSpPr txBox="1"/>
          <p:nvPr/>
        </p:nvSpPr>
        <p:spPr>
          <a:xfrm>
            <a:off x="2915816" y="5805264"/>
            <a:ext cx="648072" cy="276999"/>
          </a:xfrm>
          <a:prstGeom prst="rect">
            <a:avLst/>
          </a:prstGeom>
          <a:noFill/>
        </p:spPr>
        <p:txBody>
          <a:bodyPr wrap="square" rtlCol="0">
            <a:spAutoFit/>
          </a:bodyPr>
          <a:lstStyle/>
          <a:p>
            <a:r>
              <a:rPr lang="en-GB" sz="600" b="0" dirty="0" smtClean="0">
                <a:solidFill>
                  <a:schemeClr val="tx1">
                    <a:lumMod val="75000"/>
                    <a:lumOff val="25000"/>
                  </a:schemeClr>
                </a:solidFill>
              </a:rPr>
              <a:t>CM</a:t>
            </a:r>
            <a:endParaRPr lang="en-GB" sz="600" dirty="0">
              <a:solidFill>
                <a:schemeClr val="tx1">
                  <a:lumMod val="75000"/>
                  <a:lumOff val="25000"/>
                </a:schemeClr>
              </a:solidFill>
            </a:endParaRPr>
          </a:p>
          <a:p>
            <a:r>
              <a:rPr lang="en-GB" sz="600" b="0" dirty="0" smtClean="0">
                <a:solidFill>
                  <a:schemeClr val="tx1">
                    <a:lumMod val="75000"/>
                    <a:lumOff val="25000"/>
                  </a:schemeClr>
                </a:solidFill>
              </a:rPr>
              <a:t>TOOL: Git</a:t>
            </a:r>
          </a:p>
        </p:txBody>
      </p:sp>
      <p:sp>
        <p:nvSpPr>
          <p:cNvPr id="65" name="TextBox 64"/>
          <p:cNvSpPr txBox="1"/>
          <p:nvPr/>
        </p:nvSpPr>
        <p:spPr>
          <a:xfrm>
            <a:off x="251520" y="1297121"/>
            <a:ext cx="8821017" cy="276999"/>
          </a:xfrm>
          <a:prstGeom prst="rect">
            <a:avLst/>
          </a:prstGeom>
          <a:noFill/>
        </p:spPr>
        <p:txBody>
          <a:bodyPr wrap="square" rtlCol="0">
            <a:spAutoFit/>
          </a:bodyPr>
          <a:lstStyle/>
          <a:p>
            <a:r>
              <a:rPr lang="en-GB" sz="1200" dirty="0" smtClean="0">
                <a:solidFill>
                  <a:schemeClr val="tx1">
                    <a:lumMod val="75000"/>
                    <a:lumOff val="25000"/>
                  </a:schemeClr>
                </a:solidFill>
              </a:rPr>
              <a:t>Chef Factory supports Continuous Delivery, enabling the Build, Deploy and Testing processes to be fully automated.</a:t>
            </a:r>
            <a:endParaRPr lang="en-GB" sz="2000" b="0" dirty="0" smtClean="0">
              <a:solidFill>
                <a:schemeClr val="tx1">
                  <a:lumMod val="75000"/>
                  <a:lumOff val="25000"/>
                </a:schemeClr>
              </a:solidFill>
            </a:endParaRPr>
          </a:p>
        </p:txBody>
      </p:sp>
      <p:sp>
        <p:nvSpPr>
          <p:cNvPr id="50" name="TextBox 49"/>
          <p:cNvSpPr txBox="1"/>
          <p:nvPr/>
        </p:nvSpPr>
        <p:spPr>
          <a:xfrm>
            <a:off x="7164288" y="5805264"/>
            <a:ext cx="648072" cy="276999"/>
          </a:xfrm>
          <a:prstGeom prst="rect">
            <a:avLst/>
          </a:prstGeom>
          <a:noFill/>
        </p:spPr>
        <p:txBody>
          <a:bodyPr wrap="square" rtlCol="0">
            <a:spAutoFit/>
          </a:bodyPr>
          <a:lstStyle/>
          <a:p>
            <a:r>
              <a:rPr lang="en-GB" sz="600" b="0" dirty="0" smtClean="0">
                <a:solidFill>
                  <a:schemeClr val="tx1">
                    <a:lumMod val="75000"/>
                    <a:lumOff val="25000"/>
                  </a:schemeClr>
                </a:solidFill>
              </a:rPr>
              <a:t>CM</a:t>
            </a:r>
            <a:endParaRPr lang="en-GB" sz="600" dirty="0">
              <a:solidFill>
                <a:schemeClr val="tx1">
                  <a:lumMod val="75000"/>
                  <a:lumOff val="25000"/>
                </a:schemeClr>
              </a:solidFill>
            </a:endParaRPr>
          </a:p>
          <a:p>
            <a:r>
              <a:rPr lang="en-GB" sz="600" b="0" dirty="0" smtClean="0">
                <a:solidFill>
                  <a:schemeClr val="tx1">
                    <a:lumMod val="75000"/>
                    <a:lumOff val="25000"/>
                  </a:schemeClr>
                </a:solidFill>
              </a:rPr>
              <a:t>TOOL: Git</a:t>
            </a:r>
          </a:p>
        </p:txBody>
      </p:sp>
      <p:sp>
        <p:nvSpPr>
          <p:cNvPr id="51" name="TextBox 50"/>
          <p:cNvSpPr txBox="1"/>
          <p:nvPr/>
        </p:nvSpPr>
        <p:spPr>
          <a:xfrm>
            <a:off x="5220072" y="5805264"/>
            <a:ext cx="648072" cy="276999"/>
          </a:xfrm>
          <a:prstGeom prst="rect">
            <a:avLst/>
          </a:prstGeom>
          <a:noFill/>
        </p:spPr>
        <p:txBody>
          <a:bodyPr wrap="square" rtlCol="0">
            <a:spAutoFit/>
          </a:bodyPr>
          <a:lstStyle/>
          <a:p>
            <a:r>
              <a:rPr lang="en-GB" sz="600" b="0" dirty="0" smtClean="0">
                <a:solidFill>
                  <a:schemeClr val="tx1">
                    <a:lumMod val="75000"/>
                    <a:lumOff val="25000"/>
                  </a:schemeClr>
                </a:solidFill>
              </a:rPr>
              <a:t>CM</a:t>
            </a:r>
            <a:endParaRPr lang="en-GB" sz="600" dirty="0">
              <a:solidFill>
                <a:schemeClr val="tx1">
                  <a:lumMod val="75000"/>
                  <a:lumOff val="25000"/>
                </a:schemeClr>
              </a:solidFill>
            </a:endParaRPr>
          </a:p>
          <a:p>
            <a:r>
              <a:rPr lang="en-GB" sz="600" b="0" dirty="0" smtClean="0">
                <a:solidFill>
                  <a:schemeClr val="tx1">
                    <a:lumMod val="75000"/>
                    <a:lumOff val="25000"/>
                  </a:schemeClr>
                </a:solidFill>
              </a:rPr>
              <a:t>TOOL: Git</a:t>
            </a:r>
          </a:p>
        </p:txBody>
      </p:sp>
      <p:sp>
        <p:nvSpPr>
          <p:cNvPr id="53" name="TextBox 52"/>
          <p:cNvSpPr txBox="1"/>
          <p:nvPr/>
        </p:nvSpPr>
        <p:spPr>
          <a:xfrm>
            <a:off x="5292080" y="3368025"/>
            <a:ext cx="3312368" cy="284693"/>
          </a:xfrm>
          <a:prstGeom prst="rect">
            <a:avLst/>
          </a:prstGeom>
          <a:noFill/>
        </p:spPr>
        <p:txBody>
          <a:bodyPr wrap="square" rtlCol="0">
            <a:spAutoFit/>
          </a:bodyPr>
          <a:lstStyle/>
          <a:p>
            <a:r>
              <a:rPr lang="en-GB" sz="650" b="0" dirty="0" smtClean="0">
                <a:solidFill>
                  <a:schemeClr val="tx1">
                    <a:lumMod val="75000"/>
                    <a:lumOff val="25000"/>
                  </a:schemeClr>
                </a:solidFill>
              </a:rPr>
              <a:t>Continuous Integration / Continuous Delivery driven by Jenkins or </a:t>
            </a:r>
            <a:r>
              <a:rPr lang="en-GB" sz="650" b="0" dirty="0" err="1" smtClean="0">
                <a:solidFill>
                  <a:schemeClr val="tx1">
                    <a:lumMod val="75000"/>
                    <a:lumOff val="25000"/>
                  </a:schemeClr>
                </a:solidFill>
              </a:rPr>
              <a:t>Spiceweasel</a:t>
            </a:r>
            <a:endParaRPr lang="en-GB" sz="650" dirty="0">
              <a:solidFill>
                <a:schemeClr val="tx1">
                  <a:lumMod val="75000"/>
                  <a:lumOff val="25000"/>
                </a:schemeClr>
              </a:solidFill>
            </a:endParaRPr>
          </a:p>
          <a:p>
            <a:endParaRPr lang="en-GB" sz="600" b="0" dirty="0" smtClean="0">
              <a:solidFill>
                <a:schemeClr val="tx1">
                  <a:lumMod val="75000"/>
                  <a:lumOff val="25000"/>
                </a:schemeClr>
              </a:solidFill>
            </a:endParaRPr>
          </a:p>
        </p:txBody>
      </p:sp>
    </p:spTree>
    <p:extLst>
      <p:ext uri="{BB962C8B-B14F-4D97-AF65-F5344CB8AC3E}">
        <p14:creationId xmlns:p14="http://schemas.microsoft.com/office/powerpoint/2010/main" val="261235697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t>What assets do we already have…</a:t>
            </a:r>
            <a:endParaRPr lang="en-GB" dirty="0"/>
          </a:p>
        </p:txBody>
      </p:sp>
      <p:sp>
        <p:nvSpPr>
          <p:cNvPr id="5" name="Text Placeholder 4"/>
          <p:cNvSpPr>
            <a:spLocks noGrp="1"/>
          </p:cNvSpPr>
          <p:nvPr>
            <p:ph type="body" sz="quarter" idx="14"/>
          </p:nvPr>
        </p:nvSpPr>
        <p:spPr/>
        <p:txBody>
          <a:bodyPr>
            <a:normAutofit/>
          </a:bodyPr>
          <a:lstStyle/>
          <a:p>
            <a:pPr marL="0" indent="0">
              <a:buNone/>
            </a:pPr>
            <a:r>
              <a:rPr lang="en-GB" sz="1400" dirty="0">
                <a:solidFill>
                  <a:schemeClr val="tx1">
                    <a:lumMod val="75000"/>
                    <a:lumOff val="25000"/>
                  </a:schemeClr>
                </a:solidFill>
              </a:rPr>
              <a:t>The team has currently developed 100+ assets covering automated installation and configuration and Monsoon wrappers for key technologies and products:</a:t>
            </a:r>
          </a:p>
          <a:p>
            <a:pPr marL="285750" indent="-285750">
              <a:buFont typeface="Arial" panose="020B0604020202020204" pitchFamily="34" charset="0"/>
              <a:buChar char="•"/>
            </a:pPr>
            <a:r>
              <a:rPr lang="en-GB" sz="1400" dirty="0">
                <a:solidFill>
                  <a:schemeClr val="tx1">
                    <a:lumMod val="75000"/>
                    <a:lumOff val="25000"/>
                  </a:schemeClr>
                </a:solidFill>
              </a:rPr>
              <a:t>Java</a:t>
            </a:r>
          </a:p>
          <a:p>
            <a:pPr marL="285750" indent="-285750">
              <a:buFont typeface="Arial" panose="020B0604020202020204" pitchFamily="34" charset="0"/>
              <a:buChar char="•"/>
            </a:pPr>
            <a:r>
              <a:rPr lang="en-GB" sz="1400" dirty="0">
                <a:solidFill>
                  <a:schemeClr val="tx1">
                    <a:lumMod val="75000"/>
                    <a:lumOff val="25000"/>
                  </a:schemeClr>
                </a:solidFill>
              </a:rPr>
              <a:t>Python</a:t>
            </a:r>
          </a:p>
          <a:p>
            <a:pPr marL="285750" indent="-285750">
              <a:buFont typeface="Arial" panose="020B0604020202020204" pitchFamily="34" charset="0"/>
              <a:buChar char="•"/>
            </a:pPr>
            <a:r>
              <a:rPr lang="en-GB" sz="1400" dirty="0">
                <a:solidFill>
                  <a:schemeClr val="tx1">
                    <a:lumMod val="75000"/>
                    <a:lumOff val="25000"/>
                  </a:schemeClr>
                </a:solidFill>
              </a:rPr>
              <a:t>Jenkins</a:t>
            </a:r>
          </a:p>
          <a:p>
            <a:pPr marL="285750" indent="-285750">
              <a:buFont typeface="Arial" panose="020B0604020202020204" pitchFamily="34" charset="0"/>
              <a:buChar char="•"/>
            </a:pPr>
            <a:r>
              <a:rPr lang="en-GB" sz="1400" dirty="0">
                <a:solidFill>
                  <a:schemeClr val="tx1">
                    <a:lumMod val="75000"/>
                    <a:lumOff val="25000"/>
                  </a:schemeClr>
                </a:solidFill>
              </a:rPr>
              <a:t>Sonar</a:t>
            </a:r>
          </a:p>
          <a:p>
            <a:pPr marL="285750" indent="-285750">
              <a:buFont typeface="Arial" panose="020B0604020202020204" pitchFamily="34" charset="0"/>
              <a:buChar char="•"/>
            </a:pPr>
            <a:r>
              <a:rPr lang="en-GB" sz="1400" dirty="0">
                <a:solidFill>
                  <a:schemeClr val="tx1">
                    <a:lumMod val="75000"/>
                    <a:lumOff val="25000"/>
                  </a:schemeClr>
                </a:solidFill>
              </a:rPr>
              <a:t>Selenium</a:t>
            </a:r>
          </a:p>
          <a:p>
            <a:pPr marL="285750" indent="-285750">
              <a:buFont typeface="Arial" panose="020B0604020202020204" pitchFamily="34" charset="0"/>
              <a:buChar char="•"/>
            </a:pPr>
            <a:r>
              <a:rPr lang="en-GB" sz="1400" dirty="0">
                <a:solidFill>
                  <a:schemeClr val="tx1">
                    <a:lumMod val="75000"/>
                    <a:lumOff val="25000"/>
                  </a:schemeClr>
                </a:solidFill>
              </a:rPr>
              <a:t>Nagios</a:t>
            </a:r>
          </a:p>
          <a:p>
            <a:pPr marL="0" indent="0">
              <a:buNone/>
            </a:pPr>
            <a:r>
              <a:rPr lang="en-GB" sz="1400" dirty="0">
                <a:solidFill>
                  <a:schemeClr val="tx1">
                    <a:lumMod val="75000"/>
                    <a:lumOff val="25000"/>
                  </a:schemeClr>
                </a:solidFill>
              </a:rPr>
              <a:t>     </a:t>
            </a:r>
            <a:r>
              <a:rPr lang="en-GB" sz="1400" dirty="0" smtClean="0">
                <a:solidFill>
                  <a:schemeClr val="tx1">
                    <a:lumMod val="75000"/>
                    <a:lumOff val="25000"/>
                  </a:schemeClr>
                </a:solidFill>
              </a:rPr>
              <a:t> </a:t>
            </a:r>
            <a:r>
              <a:rPr lang="en-GB" sz="1400" dirty="0">
                <a:solidFill>
                  <a:schemeClr val="tx1">
                    <a:lumMod val="75000"/>
                    <a:lumOff val="25000"/>
                  </a:schemeClr>
                </a:solidFill>
              </a:rPr>
              <a:t>And more</a:t>
            </a:r>
          </a:p>
          <a:p>
            <a:pPr marL="0" indent="0">
              <a:buNone/>
            </a:pPr>
            <a:endParaRPr lang="en-GB" sz="1400" dirty="0">
              <a:solidFill>
                <a:schemeClr val="tx1">
                  <a:lumMod val="75000"/>
                  <a:lumOff val="25000"/>
                </a:schemeClr>
              </a:solidFill>
            </a:endParaRPr>
          </a:p>
          <a:p>
            <a:pPr marL="0" indent="0">
              <a:buNone/>
            </a:pPr>
            <a:r>
              <a:rPr lang="en-GB" sz="1400" dirty="0">
                <a:solidFill>
                  <a:schemeClr val="tx1">
                    <a:lumMod val="75000"/>
                    <a:lumOff val="25000"/>
                  </a:schemeClr>
                </a:solidFill>
              </a:rPr>
              <a:t>Detailed Assets Portfolio could be found in the Appendix.</a:t>
            </a:r>
          </a:p>
        </p:txBody>
      </p:sp>
    </p:spTree>
    <p:extLst>
      <p:ext uri="{BB962C8B-B14F-4D97-AF65-F5344CB8AC3E}">
        <p14:creationId xmlns:p14="http://schemas.microsoft.com/office/powerpoint/2010/main" val="319227338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EXTBOX" val="Text"/>
  <p:tag name="PAGENUMBER"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2WIck_R1EmTU7DxGQxEG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73u1YytZREOKPd1XtUsBb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MqFaj383P0eU7NKz9oHVu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FeaRIFph7UuVa4iXqscFp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FbEw0xQjEmfp7F20vihw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izvI8DytJkSSOPtnqC5Ry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Lh2BrxfsUir6p298.kd1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cNR22ypo0iuFcfCzkEFQ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ZGUU8y2jEGCz9x9MjLE0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xJdyTWdU298OMC.vO.C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KGillZ490uJDjJl6OtgD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fjjlXmvuUGGPh9b_Ua_7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GNiZ4CGr0SkGhSIgJZMU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ZuLAUEIN0KTh8JxlxyOH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3w4us9ky0.DgK0mLzqBF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omcg1sZFUKYWa__3W8oy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7BhAB7OAL0.Fo5G32gFT.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2J0qY14ys0qCb4wSIsl6x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il9oqyPlkEuwqPodW_YGk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WQy0Tmrd0yjm8KFHfKsI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anKm.RHeJkC6K2L6Lo2wi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ZrH_fTWm80WQpQtPCbqgR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CaaJPuDz0WGIOFTN_mhk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O_HDUWmBlk2.mmetECveU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iOnYlIjR9kGJxRfjLPqKY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_d7s.18wUS4DpPP6dak9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4qBpykQ1ck2m8OaRyhU9Q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vMMNXw7tX02X_zg.wVjlz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q20Z4YSY0ChnoogzbnEr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kMPn4jALw0.slmk70QYF7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gvzrpQeWHUa3TbxctqnST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PSfOeiZknUmW8Wq6P3apC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aqRI3_a2KkqKIIHAw2Rmr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1aUR6EiQk.fFmQrZMtu.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yJkMqmohESVKRrodgolx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l8SpdKBpxka.eVlr6237H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_5lWVRFIGk.0L8ZtCfZ5a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5alf3zSO4E6zwGpsNLXyJ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kp.0quWVvU.Jl7YxM91Xk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eaRIFph7UuVa4iXqscFp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bEw0xQjEmfp7F20vihw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izvI8DytJkSSOPtnqC5Ry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0mOcz0Ip0K0JU1jAJ.WB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73u1YytZREOKPd1XtUsBb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MqFaj383P0eU7NKz9oHVu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rP_NC2L_k6cfoBMHBL80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FeaRIFph7UuVa4iXqscFp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FbEw0xQjEmfp7F20vihw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zvI8DytJkSSOPtnqC5Ry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uomcg1sZFUKYWa__3W8oy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4qBpykQ1ck2m8OaRyhU9Q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5alf3zSO4E6zwGpsNLXyJ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rP_NC2L_k6cfoBMHBL80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FSxcKPRN4UOGFzVvdOOAI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hw3xLlP1z0SPBQOPop9f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SxcKPRN4UOGFzVvdOOAI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oe2K_Az30EKwquNkbl5Dy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LimWbnteQkGNn0sCMydkM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2WIck_R1EmTU7DxGQxEG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DLh2BrxfsUir6p298.kd1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fcNR22ypo0iuFcfCzkEFQ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xZGUU8y2jEGCz9x9MjLE0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rvxJdyTWdU298OMC.vO.C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cKGillZ490uJDjJl6OtgD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jfjjlXmvuUGGPh9b_Ua_7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cGNiZ4CGr0SkGhSIgJZMU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w3xLlP1z0SPBQOPop9fV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GZuLAUEIN0KTh8JxlxyOH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P3w4us9ky0.DgK0mLzqBF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7BhAB7OAL0.Fo5G32gFT.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2J0qY14ys0qCb4wSIsl6x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l9oqyPlkEuwqPodW_YGk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dWQy0Tmrd0yjm8KFHfKsI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anKm.RHeJkC6K2L6Lo2wi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ZrH_fTWm80WQpQtPCbqgR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tCaaJPuDz0WGIOFTN_mh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O_HDUWmBlk2.mmetECveU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e2K_Az30EKwquNkbl5Dy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OnYlIjR9kGJxRfjLPqKY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B_d7s.18wUS4DpPP6dak9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vMMNXw7tX02X_zg.wVjlz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qq20Z4YSY0ChnoogzbnEr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kMPn4jALw0.slmk70QYF7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gvzrpQeWHUa3TbxctqnST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PSfOeiZknUmW8Wq6P3apC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aqRI3_a2KkqKIIHAw2Rmr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c1aUR6EiQk.fFmQrZMtu.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dyJkMqmohESVKRrodgolx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LimWbnteQkGNn0sCMydkM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l8SpdKBpxka.eVlr6237H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_5lWVRFIGk.0L8ZtCfZ5a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kp.0quWVvU.Jl7YxM91Xk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FeaRIFph7UuVa4iXqscFp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FbEw0xQjEmfp7F20vihw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izvI8DytJkSSOPtnqC5Ry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f0mOcz0Ip0K0JU1jAJ.WBw"/>
</p:tagLst>
</file>

<file path=ppt/theme/theme1.xml><?xml version="1.0" encoding="utf-8"?>
<a:theme xmlns:a="http://schemas.openxmlformats.org/drawingml/2006/main" name="483392_BPO_navigation_2007_3a">
  <a:themeElements>
    <a:clrScheme name="Technology 1">
      <a:dk1>
        <a:srgbClr val="FFFFFF"/>
      </a:dk1>
      <a:lt1>
        <a:srgbClr val="000000"/>
      </a:lt1>
      <a:dk2>
        <a:srgbClr val="FFFFFF"/>
      </a:dk2>
      <a:lt2>
        <a:srgbClr val="666666"/>
      </a:lt2>
      <a:accent1>
        <a:srgbClr val="66AA44"/>
      </a:accent1>
      <a:accent2>
        <a:srgbClr val="551155"/>
      </a:accent2>
      <a:accent3>
        <a:srgbClr val="6688BB"/>
      </a:accent3>
      <a:accent4>
        <a:srgbClr val="FF9900"/>
      </a:accent4>
      <a:accent5>
        <a:srgbClr val="002266"/>
      </a:accent5>
      <a:accent6>
        <a:srgbClr val="FF0000"/>
      </a:accent6>
      <a:hlink>
        <a:srgbClr val="66AA44"/>
      </a:hlink>
      <a:folHlink>
        <a:srgbClr val="FF9900"/>
      </a:folHlink>
    </a:clrScheme>
    <a:fontScheme name="Accenture Finance and Accounting BPO Services_v5_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80000"/>
          </a:lnSpc>
          <a:spcBef>
            <a:spcPct val="0"/>
          </a:spcBef>
          <a:spcAft>
            <a:spcPct val="0"/>
          </a:spcAft>
          <a:buClrTx/>
          <a:buSzTx/>
          <a:buFontTx/>
          <a:buNone/>
          <a:tabLst/>
          <a:defRPr kumimoji="0" lang="en-US" sz="32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80000"/>
          </a:lnSpc>
          <a:spcBef>
            <a:spcPct val="0"/>
          </a:spcBef>
          <a:spcAft>
            <a:spcPct val="0"/>
          </a:spcAft>
          <a:buClrTx/>
          <a:buSzTx/>
          <a:buFontTx/>
          <a:buNone/>
          <a:tabLst/>
          <a:defRPr kumimoji="0" lang="en-US" sz="3200" b="1"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defRPr sz="2400" b="0" dirty="0" smtClean="0"/>
        </a:defPPr>
      </a:lstStyle>
    </a:txDef>
  </a:objectDefaults>
  <a:extraClrSchemeLst>
    <a:extraClrScheme>
      <a:clrScheme name="Accenture Finance and Accounting BPO Services_v5_e 1">
        <a:dk1>
          <a:srgbClr val="000000"/>
        </a:dk1>
        <a:lt1>
          <a:srgbClr val="FFFFFF"/>
        </a:lt1>
        <a:dk2>
          <a:srgbClr val="000000"/>
        </a:dk2>
        <a:lt2>
          <a:srgbClr val="FFFFFF"/>
        </a:lt2>
        <a:accent1>
          <a:srgbClr val="969696"/>
        </a:accent1>
        <a:accent2>
          <a:srgbClr val="EAEAEA"/>
        </a:accent2>
        <a:accent3>
          <a:srgbClr val="FFFFFF"/>
        </a:accent3>
        <a:accent4>
          <a:srgbClr val="000000"/>
        </a:accent4>
        <a:accent5>
          <a:srgbClr val="C9C9C9"/>
        </a:accent5>
        <a:accent6>
          <a:srgbClr val="D4D4D4"/>
        </a:accent6>
        <a:hlink>
          <a:srgbClr val="5F5F5F"/>
        </a:hlink>
        <a:folHlink>
          <a:srgbClr val="CBCBCB"/>
        </a:folHlink>
      </a:clrScheme>
      <a:clrMap bg1="lt1" tx1="dk1" bg2="lt2" tx2="dk2" accent1="accent1" accent2="accent2" accent3="accent3" accent4="accent4" accent5="accent5" accent6="accent6" hlink="hlink" folHlink="folHlink"/>
    </a:extraClrScheme>
    <a:extraClrScheme>
      <a:clrScheme name="Accenture Finance and Accounting BPO Services_v5_e 2">
        <a:dk1>
          <a:srgbClr val="000000"/>
        </a:dk1>
        <a:lt1>
          <a:srgbClr val="FFFFFF"/>
        </a:lt1>
        <a:dk2>
          <a:srgbClr val="F8F8F8"/>
        </a:dk2>
        <a:lt2>
          <a:srgbClr val="C0C0C0"/>
        </a:lt2>
        <a:accent1>
          <a:srgbClr val="66AA44"/>
        </a:accent1>
        <a:accent2>
          <a:srgbClr val="DD4411"/>
        </a:accent2>
        <a:accent3>
          <a:srgbClr val="FFFFFF"/>
        </a:accent3>
        <a:accent4>
          <a:srgbClr val="000000"/>
        </a:accent4>
        <a:accent5>
          <a:srgbClr val="B8D2B0"/>
        </a:accent5>
        <a:accent6>
          <a:srgbClr val="C83D0E"/>
        </a:accent6>
        <a:hlink>
          <a:srgbClr val="BBBB00"/>
        </a:hlink>
        <a:folHlink>
          <a:srgbClr val="660000"/>
        </a:folHlink>
      </a:clrScheme>
      <a:clrMap bg1="lt1" tx1="dk1" bg2="lt2" tx2="dk2" accent1="accent1" accent2="accent2" accent3="accent3" accent4="accent4" accent5="accent5" accent6="accent6" hlink="hlink" folHlink="folHlink"/>
    </a:extraClrScheme>
    <a:extraClrScheme>
      <a:clrScheme name="Accenture Finance and Accounting BPO Services_v5_e 3">
        <a:dk1>
          <a:srgbClr val="000000"/>
        </a:dk1>
        <a:lt1>
          <a:srgbClr val="FFFFFF"/>
        </a:lt1>
        <a:dk2>
          <a:srgbClr val="F8F8F8"/>
        </a:dk2>
        <a:lt2>
          <a:srgbClr val="C0C0C0"/>
        </a:lt2>
        <a:accent1>
          <a:srgbClr val="993399"/>
        </a:accent1>
        <a:accent2>
          <a:srgbClr val="66AA44"/>
        </a:accent2>
        <a:accent3>
          <a:srgbClr val="FFFFFF"/>
        </a:accent3>
        <a:accent4>
          <a:srgbClr val="000000"/>
        </a:accent4>
        <a:accent5>
          <a:srgbClr val="CAADCA"/>
        </a:accent5>
        <a:accent6>
          <a:srgbClr val="5C9A3D"/>
        </a:accent6>
        <a:hlink>
          <a:srgbClr val="3333CC"/>
        </a:hlink>
        <a:folHlink>
          <a:srgbClr val="660000"/>
        </a:folHlink>
      </a:clrScheme>
      <a:clrMap bg1="lt1" tx1="dk1" bg2="lt2" tx2="dk2" accent1="accent1" accent2="accent2" accent3="accent3" accent4="accent4" accent5="accent5" accent6="accent6" hlink="hlink" folHlink="folHlink"/>
    </a:extraClrScheme>
    <a:extraClrScheme>
      <a:clrScheme name="Accenture Finance and Accounting BPO Services_v5_e 4">
        <a:dk1>
          <a:srgbClr val="000000"/>
        </a:dk1>
        <a:lt1>
          <a:srgbClr val="FFFFFF"/>
        </a:lt1>
        <a:dk2>
          <a:srgbClr val="F8F8F8"/>
        </a:dk2>
        <a:lt2>
          <a:srgbClr val="C0C0C0"/>
        </a:lt2>
        <a:accent1>
          <a:srgbClr val="88DD00"/>
        </a:accent1>
        <a:accent2>
          <a:srgbClr val="003344"/>
        </a:accent2>
        <a:accent3>
          <a:srgbClr val="FFFFFF"/>
        </a:accent3>
        <a:accent4>
          <a:srgbClr val="000000"/>
        </a:accent4>
        <a:accent5>
          <a:srgbClr val="C3EBAA"/>
        </a:accent5>
        <a:accent6>
          <a:srgbClr val="002D3D"/>
        </a:accent6>
        <a:hlink>
          <a:srgbClr val="993399"/>
        </a:hlink>
        <a:folHlink>
          <a:srgbClr val="00AA99"/>
        </a:folHlink>
      </a:clrScheme>
      <a:clrMap bg1="lt1" tx1="dk1" bg2="lt2" tx2="dk2" accent1="accent1" accent2="accent2" accent3="accent3" accent4="accent4" accent5="accent5" accent6="accent6" hlink="hlink" folHlink="folHlink"/>
    </a:extraClrScheme>
    <a:extraClrScheme>
      <a:clrScheme name="Accenture Finance and Accounting BPO Services_v5_e 5">
        <a:dk1>
          <a:srgbClr val="000000"/>
        </a:dk1>
        <a:lt1>
          <a:srgbClr val="FFFFFF"/>
        </a:lt1>
        <a:dk2>
          <a:srgbClr val="F8F8F8"/>
        </a:dk2>
        <a:lt2>
          <a:srgbClr val="C0C0C0"/>
        </a:lt2>
        <a:accent1>
          <a:srgbClr val="DDCC66"/>
        </a:accent1>
        <a:accent2>
          <a:srgbClr val="003344"/>
        </a:accent2>
        <a:accent3>
          <a:srgbClr val="FFFFFF"/>
        </a:accent3>
        <a:accent4>
          <a:srgbClr val="000000"/>
        </a:accent4>
        <a:accent5>
          <a:srgbClr val="EBE2B8"/>
        </a:accent5>
        <a:accent6>
          <a:srgbClr val="002D3D"/>
        </a:accent6>
        <a:hlink>
          <a:srgbClr val="557799"/>
        </a:hlink>
        <a:folHlink>
          <a:srgbClr val="992222"/>
        </a:folHlink>
      </a:clrScheme>
      <a:clrMap bg1="lt1" tx1="dk1" bg2="lt2" tx2="dk2" accent1="accent1" accent2="accent2" accent3="accent3" accent4="accent4" accent5="accent5" accent6="accent6" hlink="hlink" folHlink="folHlink"/>
    </a:extraClrScheme>
    <a:extraClrScheme>
      <a:clrScheme name="Accenture Finance and Accounting BPO Services_v5_e 6">
        <a:dk1>
          <a:srgbClr val="000000"/>
        </a:dk1>
        <a:lt1>
          <a:srgbClr val="FFFFFF"/>
        </a:lt1>
        <a:dk2>
          <a:srgbClr val="F8F8F8"/>
        </a:dk2>
        <a:lt2>
          <a:srgbClr val="C0C0C0"/>
        </a:lt2>
        <a:accent1>
          <a:srgbClr val="FF9900"/>
        </a:accent1>
        <a:accent2>
          <a:srgbClr val="003344"/>
        </a:accent2>
        <a:accent3>
          <a:srgbClr val="FFFFFF"/>
        </a:accent3>
        <a:accent4>
          <a:srgbClr val="000000"/>
        </a:accent4>
        <a:accent5>
          <a:srgbClr val="FFCAAA"/>
        </a:accent5>
        <a:accent6>
          <a:srgbClr val="002D3D"/>
        </a:accent6>
        <a:hlink>
          <a:srgbClr val="557799"/>
        </a:hlink>
        <a:folHlink>
          <a:srgbClr val="66AA44"/>
        </a:folHlink>
      </a:clrScheme>
      <a:clrMap bg1="lt1" tx1="dk1" bg2="lt2" tx2="dk2" accent1="accent1" accent2="accent2" accent3="accent3" accent4="accent4" accent5="accent5" accent6="accent6" hlink="hlink" folHlink="folHlink"/>
    </a:extraClrScheme>
    <a:extraClrScheme>
      <a:clrScheme name="Accenture Finance and Accounting BPO Services_v5_e 7">
        <a:dk1>
          <a:srgbClr val="000000"/>
        </a:dk1>
        <a:lt1>
          <a:srgbClr val="FFFFFF"/>
        </a:lt1>
        <a:dk2>
          <a:srgbClr val="F8F8F8"/>
        </a:dk2>
        <a:lt2>
          <a:srgbClr val="C0C0C0"/>
        </a:lt2>
        <a:accent1>
          <a:srgbClr val="DD4411"/>
        </a:accent1>
        <a:accent2>
          <a:srgbClr val="003344"/>
        </a:accent2>
        <a:accent3>
          <a:srgbClr val="FFFFFF"/>
        </a:accent3>
        <a:accent4>
          <a:srgbClr val="000000"/>
        </a:accent4>
        <a:accent5>
          <a:srgbClr val="EBB0AA"/>
        </a:accent5>
        <a:accent6>
          <a:srgbClr val="002D3D"/>
        </a:accent6>
        <a:hlink>
          <a:srgbClr val="66AA44"/>
        </a:hlink>
        <a:folHlink>
          <a:srgbClr val="EEAA00"/>
        </a:folHlink>
      </a:clrScheme>
      <a:clrMap bg1="lt1" tx1="dk1" bg2="lt2" tx2="dk2" accent1="accent1" accent2="accent2" accent3="accent3" accent4="accent4" accent5="accent5" accent6="accent6" hlink="hlink" folHlink="folHlink"/>
    </a:extraClrScheme>
    <a:extraClrScheme>
      <a:clrScheme name="Accenture Finance and Accounting BPO Services_v5_e 8">
        <a:dk1>
          <a:srgbClr val="000000"/>
        </a:dk1>
        <a:lt1>
          <a:srgbClr val="FFFFFF"/>
        </a:lt1>
        <a:dk2>
          <a:srgbClr val="003344"/>
        </a:dk2>
        <a:lt2>
          <a:srgbClr val="666666"/>
        </a:lt2>
        <a:accent1>
          <a:srgbClr val="BBBB00"/>
        </a:accent1>
        <a:accent2>
          <a:srgbClr val="992222"/>
        </a:accent2>
        <a:accent3>
          <a:srgbClr val="FFFFFF"/>
        </a:accent3>
        <a:accent4>
          <a:srgbClr val="000000"/>
        </a:accent4>
        <a:accent5>
          <a:srgbClr val="DADAAA"/>
        </a:accent5>
        <a:accent6>
          <a:srgbClr val="8A1E1E"/>
        </a:accent6>
        <a:hlink>
          <a:srgbClr val="445511"/>
        </a:hlink>
        <a:folHlink>
          <a:srgbClr val="008899"/>
        </a:folHlink>
      </a:clrScheme>
      <a:clrMap bg1="lt1" tx1="dk1" bg2="lt2" tx2="dk2" accent1="accent1" accent2="accent2" accent3="accent3" accent4="accent4" accent5="accent5" accent6="accent6" hlink="hlink" folHlink="folHlink"/>
    </a:extraClrScheme>
    <a:extraClrScheme>
      <a:clrScheme name="Accenture Finance and Accounting BPO Services_v5_e 9">
        <a:dk1>
          <a:srgbClr val="000000"/>
        </a:dk1>
        <a:lt1>
          <a:srgbClr val="FFFFFF"/>
        </a:lt1>
        <a:dk2>
          <a:srgbClr val="DD4411"/>
        </a:dk2>
        <a:lt2>
          <a:srgbClr val="666666"/>
        </a:lt2>
        <a:accent1>
          <a:srgbClr val="BBBB00"/>
        </a:accent1>
        <a:accent2>
          <a:srgbClr val="445511"/>
        </a:accent2>
        <a:accent3>
          <a:srgbClr val="FFFFFF"/>
        </a:accent3>
        <a:accent4>
          <a:srgbClr val="000000"/>
        </a:accent4>
        <a:accent5>
          <a:srgbClr val="DADAAA"/>
        </a:accent5>
        <a:accent6>
          <a:srgbClr val="3D4C0E"/>
        </a:accent6>
        <a:hlink>
          <a:srgbClr val="77AA99"/>
        </a:hlink>
        <a:folHlink>
          <a:srgbClr val="008899"/>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483392_BPO_navigation_2007_3a">
  <a:themeElements>
    <a:clrScheme name="Technology 1">
      <a:dk1>
        <a:srgbClr val="FFFFFF"/>
      </a:dk1>
      <a:lt1>
        <a:srgbClr val="000000"/>
      </a:lt1>
      <a:dk2>
        <a:srgbClr val="FFFFFF"/>
      </a:dk2>
      <a:lt2>
        <a:srgbClr val="666666"/>
      </a:lt2>
      <a:accent1>
        <a:srgbClr val="66AA44"/>
      </a:accent1>
      <a:accent2>
        <a:srgbClr val="551155"/>
      </a:accent2>
      <a:accent3>
        <a:srgbClr val="6688BB"/>
      </a:accent3>
      <a:accent4>
        <a:srgbClr val="FF9900"/>
      </a:accent4>
      <a:accent5>
        <a:srgbClr val="002266"/>
      </a:accent5>
      <a:accent6>
        <a:srgbClr val="FF0000"/>
      </a:accent6>
      <a:hlink>
        <a:srgbClr val="66AA44"/>
      </a:hlink>
      <a:folHlink>
        <a:srgbClr val="FF9900"/>
      </a:folHlink>
    </a:clrScheme>
    <a:fontScheme name="Accenture Finance and Accounting BPO Services_v5_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80000"/>
          </a:lnSpc>
          <a:spcBef>
            <a:spcPct val="0"/>
          </a:spcBef>
          <a:spcAft>
            <a:spcPct val="0"/>
          </a:spcAft>
          <a:buClrTx/>
          <a:buSzTx/>
          <a:buFontTx/>
          <a:buNone/>
          <a:tabLst/>
          <a:defRPr kumimoji="0" lang="en-US" sz="32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80000"/>
          </a:lnSpc>
          <a:spcBef>
            <a:spcPct val="0"/>
          </a:spcBef>
          <a:spcAft>
            <a:spcPct val="0"/>
          </a:spcAft>
          <a:buClrTx/>
          <a:buSzTx/>
          <a:buFontTx/>
          <a:buNone/>
          <a:tabLst/>
          <a:defRPr kumimoji="0" lang="en-US" sz="3200" b="1"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defRPr sz="2400" b="0" dirty="0" smtClean="0"/>
        </a:defPPr>
      </a:lstStyle>
    </a:txDef>
  </a:objectDefaults>
  <a:extraClrSchemeLst>
    <a:extraClrScheme>
      <a:clrScheme name="Accenture Finance and Accounting BPO Services_v5_e 1">
        <a:dk1>
          <a:srgbClr val="000000"/>
        </a:dk1>
        <a:lt1>
          <a:srgbClr val="FFFFFF"/>
        </a:lt1>
        <a:dk2>
          <a:srgbClr val="000000"/>
        </a:dk2>
        <a:lt2>
          <a:srgbClr val="FFFFFF"/>
        </a:lt2>
        <a:accent1>
          <a:srgbClr val="969696"/>
        </a:accent1>
        <a:accent2>
          <a:srgbClr val="EAEAEA"/>
        </a:accent2>
        <a:accent3>
          <a:srgbClr val="FFFFFF"/>
        </a:accent3>
        <a:accent4>
          <a:srgbClr val="000000"/>
        </a:accent4>
        <a:accent5>
          <a:srgbClr val="C9C9C9"/>
        </a:accent5>
        <a:accent6>
          <a:srgbClr val="D4D4D4"/>
        </a:accent6>
        <a:hlink>
          <a:srgbClr val="5F5F5F"/>
        </a:hlink>
        <a:folHlink>
          <a:srgbClr val="CBCBCB"/>
        </a:folHlink>
      </a:clrScheme>
      <a:clrMap bg1="lt1" tx1="dk1" bg2="lt2" tx2="dk2" accent1="accent1" accent2="accent2" accent3="accent3" accent4="accent4" accent5="accent5" accent6="accent6" hlink="hlink" folHlink="folHlink"/>
    </a:extraClrScheme>
    <a:extraClrScheme>
      <a:clrScheme name="Accenture Finance and Accounting BPO Services_v5_e 2">
        <a:dk1>
          <a:srgbClr val="000000"/>
        </a:dk1>
        <a:lt1>
          <a:srgbClr val="FFFFFF"/>
        </a:lt1>
        <a:dk2>
          <a:srgbClr val="F8F8F8"/>
        </a:dk2>
        <a:lt2>
          <a:srgbClr val="C0C0C0"/>
        </a:lt2>
        <a:accent1>
          <a:srgbClr val="66AA44"/>
        </a:accent1>
        <a:accent2>
          <a:srgbClr val="DD4411"/>
        </a:accent2>
        <a:accent3>
          <a:srgbClr val="FFFFFF"/>
        </a:accent3>
        <a:accent4>
          <a:srgbClr val="000000"/>
        </a:accent4>
        <a:accent5>
          <a:srgbClr val="B8D2B0"/>
        </a:accent5>
        <a:accent6>
          <a:srgbClr val="C83D0E"/>
        </a:accent6>
        <a:hlink>
          <a:srgbClr val="BBBB00"/>
        </a:hlink>
        <a:folHlink>
          <a:srgbClr val="660000"/>
        </a:folHlink>
      </a:clrScheme>
      <a:clrMap bg1="lt1" tx1="dk1" bg2="lt2" tx2="dk2" accent1="accent1" accent2="accent2" accent3="accent3" accent4="accent4" accent5="accent5" accent6="accent6" hlink="hlink" folHlink="folHlink"/>
    </a:extraClrScheme>
    <a:extraClrScheme>
      <a:clrScheme name="Accenture Finance and Accounting BPO Services_v5_e 3">
        <a:dk1>
          <a:srgbClr val="000000"/>
        </a:dk1>
        <a:lt1>
          <a:srgbClr val="FFFFFF"/>
        </a:lt1>
        <a:dk2>
          <a:srgbClr val="F8F8F8"/>
        </a:dk2>
        <a:lt2>
          <a:srgbClr val="C0C0C0"/>
        </a:lt2>
        <a:accent1>
          <a:srgbClr val="993399"/>
        </a:accent1>
        <a:accent2>
          <a:srgbClr val="66AA44"/>
        </a:accent2>
        <a:accent3>
          <a:srgbClr val="FFFFFF"/>
        </a:accent3>
        <a:accent4>
          <a:srgbClr val="000000"/>
        </a:accent4>
        <a:accent5>
          <a:srgbClr val="CAADCA"/>
        </a:accent5>
        <a:accent6>
          <a:srgbClr val="5C9A3D"/>
        </a:accent6>
        <a:hlink>
          <a:srgbClr val="3333CC"/>
        </a:hlink>
        <a:folHlink>
          <a:srgbClr val="660000"/>
        </a:folHlink>
      </a:clrScheme>
      <a:clrMap bg1="lt1" tx1="dk1" bg2="lt2" tx2="dk2" accent1="accent1" accent2="accent2" accent3="accent3" accent4="accent4" accent5="accent5" accent6="accent6" hlink="hlink" folHlink="folHlink"/>
    </a:extraClrScheme>
    <a:extraClrScheme>
      <a:clrScheme name="Accenture Finance and Accounting BPO Services_v5_e 4">
        <a:dk1>
          <a:srgbClr val="000000"/>
        </a:dk1>
        <a:lt1>
          <a:srgbClr val="FFFFFF"/>
        </a:lt1>
        <a:dk2>
          <a:srgbClr val="F8F8F8"/>
        </a:dk2>
        <a:lt2>
          <a:srgbClr val="C0C0C0"/>
        </a:lt2>
        <a:accent1>
          <a:srgbClr val="88DD00"/>
        </a:accent1>
        <a:accent2>
          <a:srgbClr val="003344"/>
        </a:accent2>
        <a:accent3>
          <a:srgbClr val="FFFFFF"/>
        </a:accent3>
        <a:accent4>
          <a:srgbClr val="000000"/>
        </a:accent4>
        <a:accent5>
          <a:srgbClr val="C3EBAA"/>
        </a:accent5>
        <a:accent6>
          <a:srgbClr val="002D3D"/>
        </a:accent6>
        <a:hlink>
          <a:srgbClr val="993399"/>
        </a:hlink>
        <a:folHlink>
          <a:srgbClr val="00AA99"/>
        </a:folHlink>
      </a:clrScheme>
      <a:clrMap bg1="lt1" tx1="dk1" bg2="lt2" tx2="dk2" accent1="accent1" accent2="accent2" accent3="accent3" accent4="accent4" accent5="accent5" accent6="accent6" hlink="hlink" folHlink="folHlink"/>
    </a:extraClrScheme>
    <a:extraClrScheme>
      <a:clrScheme name="Accenture Finance and Accounting BPO Services_v5_e 5">
        <a:dk1>
          <a:srgbClr val="000000"/>
        </a:dk1>
        <a:lt1>
          <a:srgbClr val="FFFFFF"/>
        </a:lt1>
        <a:dk2>
          <a:srgbClr val="F8F8F8"/>
        </a:dk2>
        <a:lt2>
          <a:srgbClr val="C0C0C0"/>
        </a:lt2>
        <a:accent1>
          <a:srgbClr val="DDCC66"/>
        </a:accent1>
        <a:accent2>
          <a:srgbClr val="003344"/>
        </a:accent2>
        <a:accent3>
          <a:srgbClr val="FFFFFF"/>
        </a:accent3>
        <a:accent4>
          <a:srgbClr val="000000"/>
        </a:accent4>
        <a:accent5>
          <a:srgbClr val="EBE2B8"/>
        </a:accent5>
        <a:accent6>
          <a:srgbClr val="002D3D"/>
        </a:accent6>
        <a:hlink>
          <a:srgbClr val="557799"/>
        </a:hlink>
        <a:folHlink>
          <a:srgbClr val="992222"/>
        </a:folHlink>
      </a:clrScheme>
      <a:clrMap bg1="lt1" tx1="dk1" bg2="lt2" tx2="dk2" accent1="accent1" accent2="accent2" accent3="accent3" accent4="accent4" accent5="accent5" accent6="accent6" hlink="hlink" folHlink="folHlink"/>
    </a:extraClrScheme>
    <a:extraClrScheme>
      <a:clrScheme name="Accenture Finance and Accounting BPO Services_v5_e 6">
        <a:dk1>
          <a:srgbClr val="000000"/>
        </a:dk1>
        <a:lt1>
          <a:srgbClr val="FFFFFF"/>
        </a:lt1>
        <a:dk2>
          <a:srgbClr val="F8F8F8"/>
        </a:dk2>
        <a:lt2>
          <a:srgbClr val="C0C0C0"/>
        </a:lt2>
        <a:accent1>
          <a:srgbClr val="FF9900"/>
        </a:accent1>
        <a:accent2>
          <a:srgbClr val="003344"/>
        </a:accent2>
        <a:accent3>
          <a:srgbClr val="FFFFFF"/>
        </a:accent3>
        <a:accent4>
          <a:srgbClr val="000000"/>
        </a:accent4>
        <a:accent5>
          <a:srgbClr val="FFCAAA"/>
        </a:accent5>
        <a:accent6>
          <a:srgbClr val="002D3D"/>
        </a:accent6>
        <a:hlink>
          <a:srgbClr val="557799"/>
        </a:hlink>
        <a:folHlink>
          <a:srgbClr val="66AA44"/>
        </a:folHlink>
      </a:clrScheme>
      <a:clrMap bg1="lt1" tx1="dk1" bg2="lt2" tx2="dk2" accent1="accent1" accent2="accent2" accent3="accent3" accent4="accent4" accent5="accent5" accent6="accent6" hlink="hlink" folHlink="folHlink"/>
    </a:extraClrScheme>
    <a:extraClrScheme>
      <a:clrScheme name="Accenture Finance and Accounting BPO Services_v5_e 7">
        <a:dk1>
          <a:srgbClr val="000000"/>
        </a:dk1>
        <a:lt1>
          <a:srgbClr val="FFFFFF"/>
        </a:lt1>
        <a:dk2>
          <a:srgbClr val="F8F8F8"/>
        </a:dk2>
        <a:lt2>
          <a:srgbClr val="C0C0C0"/>
        </a:lt2>
        <a:accent1>
          <a:srgbClr val="DD4411"/>
        </a:accent1>
        <a:accent2>
          <a:srgbClr val="003344"/>
        </a:accent2>
        <a:accent3>
          <a:srgbClr val="FFFFFF"/>
        </a:accent3>
        <a:accent4>
          <a:srgbClr val="000000"/>
        </a:accent4>
        <a:accent5>
          <a:srgbClr val="EBB0AA"/>
        </a:accent5>
        <a:accent6>
          <a:srgbClr val="002D3D"/>
        </a:accent6>
        <a:hlink>
          <a:srgbClr val="66AA44"/>
        </a:hlink>
        <a:folHlink>
          <a:srgbClr val="EEAA00"/>
        </a:folHlink>
      </a:clrScheme>
      <a:clrMap bg1="lt1" tx1="dk1" bg2="lt2" tx2="dk2" accent1="accent1" accent2="accent2" accent3="accent3" accent4="accent4" accent5="accent5" accent6="accent6" hlink="hlink" folHlink="folHlink"/>
    </a:extraClrScheme>
    <a:extraClrScheme>
      <a:clrScheme name="Accenture Finance and Accounting BPO Services_v5_e 8">
        <a:dk1>
          <a:srgbClr val="000000"/>
        </a:dk1>
        <a:lt1>
          <a:srgbClr val="FFFFFF"/>
        </a:lt1>
        <a:dk2>
          <a:srgbClr val="003344"/>
        </a:dk2>
        <a:lt2>
          <a:srgbClr val="666666"/>
        </a:lt2>
        <a:accent1>
          <a:srgbClr val="BBBB00"/>
        </a:accent1>
        <a:accent2>
          <a:srgbClr val="992222"/>
        </a:accent2>
        <a:accent3>
          <a:srgbClr val="FFFFFF"/>
        </a:accent3>
        <a:accent4>
          <a:srgbClr val="000000"/>
        </a:accent4>
        <a:accent5>
          <a:srgbClr val="DADAAA"/>
        </a:accent5>
        <a:accent6>
          <a:srgbClr val="8A1E1E"/>
        </a:accent6>
        <a:hlink>
          <a:srgbClr val="445511"/>
        </a:hlink>
        <a:folHlink>
          <a:srgbClr val="008899"/>
        </a:folHlink>
      </a:clrScheme>
      <a:clrMap bg1="lt1" tx1="dk1" bg2="lt2" tx2="dk2" accent1="accent1" accent2="accent2" accent3="accent3" accent4="accent4" accent5="accent5" accent6="accent6" hlink="hlink" folHlink="folHlink"/>
    </a:extraClrScheme>
    <a:extraClrScheme>
      <a:clrScheme name="Accenture Finance and Accounting BPO Services_v5_e 9">
        <a:dk1>
          <a:srgbClr val="000000"/>
        </a:dk1>
        <a:lt1>
          <a:srgbClr val="FFFFFF"/>
        </a:lt1>
        <a:dk2>
          <a:srgbClr val="DD4411"/>
        </a:dk2>
        <a:lt2>
          <a:srgbClr val="666666"/>
        </a:lt2>
        <a:accent1>
          <a:srgbClr val="BBBB00"/>
        </a:accent1>
        <a:accent2>
          <a:srgbClr val="445511"/>
        </a:accent2>
        <a:accent3>
          <a:srgbClr val="FFFFFF"/>
        </a:accent3>
        <a:accent4>
          <a:srgbClr val="000000"/>
        </a:accent4>
        <a:accent5>
          <a:srgbClr val="DADAAA"/>
        </a:accent5>
        <a:accent6>
          <a:srgbClr val="3D4C0E"/>
        </a:accent6>
        <a:hlink>
          <a:srgbClr val="77AA99"/>
        </a:hlink>
        <a:folHlink>
          <a:srgbClr val="008899"/>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Accenture Straws">
  <a:themeElements>
    <a:clrScheme name="Custom">
      <a:dk1>
        <a:srgbClr val="000000"/>
      </a:dk1>
      <a:lt1>
        <a:sysClr val="window" lastClr="FFFFFF"/>
      </a:lt1>
      <a:dk2>
        <a:srgbClr val="1F497D"/>
      </a:dk2>
      <a:lt2>
        <a:srgbClr val="E3DEDC"/>
      </a:lt2>
      <a:accent1>
        <a:srgbClr val="0033CC"/>
      </a:accent1>
      <a:accent2>
        <a:srgbClr val="00A400"/>
      </a:accent2>
      <a:accent3>
        <a:srgbClr val="FF9A05"/>
      </a:accent3>
      <a:accent4>
        <a:srgbClr val="FF0000"/>
      </a:accent4>
      <a:accent5>
        <a:srgbClr val="800080"/>
      </a:accent5>
      <a:accent6>
        <a:srgbClr val="00AEEF"/>
      </a:accent6>
      <a:hlink>
        <a:srgbClr val="002699"/>
      </a:hlink>
      <a:folHlink>
        <a:srgbClr val="002699"/>
      </a:folHlink>
    </a:clrScheme>
    <a:fontScheme name="Accentur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5.xml><?xml version="1.0" encoding="utf-8"?>
<a:theme xmlns:a="http://schemas.openxmlformats.org/drawingml/2006/main" name="2_483392_BPO_navigation_2007_3a">
  <a:themeElements>
    <a:clrScheme name="Technology 1">
      <a:dk1>
        <a:srgbClr val="FFFFFF"/>
      </a:dk1>
      <a:lt1>
        <a:srgbClr val="000000"/>
      </a:lt1>
      <a:dk2>
        <a:srgbClr val="FFFFFF"/>
      </a:dk2>
      <a:lt2>
        <a:srgbClr val="666666"/>
      </a:lt2>
      <a:accent1>
        <a:srgbClr val="66AA44"/>
      </a:accent1>
      <a:accent2>
        <a:srgbClr val="551155"/>
      </a:accent2>
      <a:accent3>
        <a:srgbClr val="6688BB"/>
      </a:accent3>
      <a:accent4>
        <a:srgbClr val="FF9900"/>
      </a:accent4>
      <a:accent5>
        <a:srgbClr val="002266"/>
      </a:accent5>
      <a:accent6>
        <a:srgbClr val="FF0000"/>
      </a:accent6>
      <a:hlink>
        <a:srgbClr val="66AA44"/>
      </a:hlink>
      <a:folHlink>
        <a:srgbClr val="FF9900"/>
      </a:folHlink>
    </a:clrScheme>
    <a:fontScheme name="Accenture Finance and Accounting BPO Services_v5_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80000"/>
          </a:lnSpc>
          <a:spcBef>
            <a:spcPct val="0"/>
          </a:spcBef>
          <a:spcAft>
            <a:spcPct val="0"/>
          </a:spcAft>
          <a:buClrTx/>
          <a:buSzTx/>
          <a:buFontTx/>
          <a:buNone/>
          <a:tabLst/>
          <a:defRPr kumimoji="0" lang="en-US" sz="32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80000"/>
          </a:lnSpc>
          <a:spcBef>
            <a:spcPct val="0"/>
          </a:spcBef>
          <a:spcAft>
            <a:spcPct val="0"/>
          </a:spcAft>
          <a:buClrTx/>
          <a:buSzTx/>
          <a:buFontTx/>
          <a:buNone/>
          <a:tabLst/>
          <a:defRPr kumimoji="0" lang="en-US" sz="3200" b="1"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defRPr sz="2400" b="0" dirty="0" smtClean="0"/>
        </a:defPPr>
      </a:lstStyle>
    </a:txDef>
  </a:objectDefaults>
  <a:extraClrSchemeLst>
    <a:extraClrScheme>
      <a:clrScheme name="Accenture Finance and Accounting BPO Services_v5_e 1">
        <a:dk1>
          <a:srgbClr val="000000"/>
        </a:dk1>
        <a:lt1>
          <a:srgbClr val="FFFFFF"/>
        </a:lt1>
        <a:dk2>
          <a:srgbClr val="000000"/>
        </a:dk2>
        <a:lt2>
          <a:srgbClr val="FFFFFF"/>
        </a:lt2>
        <a:accent1>
          <a:srgbClr val="969696"/>
        </a:accent1>
        <a:accent2>
          <a:srgbClr val="EAEAEA"/>
        </a:accent2>
        <a:accent3>
          <a:srgbClr val="FFFFFF"/>
        </a:accent3>
        <a:accent4>
          <a:srgbClr val="000000"/>
        </a:accent4>
        <a:accent5>
          <a:srgbClr val="C9C9C9"/>
        </a:accent5>
        <a:accent6>
          <a:srgbClr val="D4D4D4"/>
        </a:accent6>
        <a:hlink>
          <a:srgbClr val="5F5F5F"/>
        </a:hlink>
        <a:folHlink>
          <a:srgbClr val="CBCBCB"/>
        </a:folHlink>
      </a:clrScheme>
      <a:clrMap bg1="lt1" tx1="dk1" bg2="lt2" tx2="dk2" accent1="accent1" accent2="accent2" accent3="accent3" accent4="accent4" accent5="accent5" accent6="accent6" hlink="hlink" folHlink="folHlink"/>
    </a:extraClrScheme>
    <a:extraClrScheme>
      <a:clrScheme name="Accenture Finance and Accounting BPO Services_v5_e 2">
        <a:dk1>
          <a:srgbClr val="000000"/>
        </a:dk1>
        <a:lt1>
          <a:srgbClr val="FFFFFF"/>
        </a:lt1>
        <a:dk2>
          <a:srgbClr val="F8F8F8"/>
        </a:dk2>
        <a:lt2>
          <a:srgbClr val="C0C0C0"/>
        </a:lt2>
        <a:accent1>
          <a:srgbClr val="66AA44"/>
        </a:accent1>
        <a:accent2>
          <a:srgbClr val="DD4411"/>
        </a:accent2>
        <a:accent3>
          <a:srgbClr val="FFFFFF"/>
        </a:accent3>
        <a:accent4>
          <a:srgbClr val="000000"/>
        </a:accent4>
        <a:accent5>
          <a:srgbClr val="B8D2B0"/>
        </a:accent5>
        <a:accent6>
          <a:srgbClr val="C83D0E"/>
        </a:accent6>
        <a:hlink>
          <a:srgbClr val="BBBB00"/>
        </a:hlink>
        <a:folHlink>
          <a:srgbClr val="660000"/>
        </a:folHlink>
      </a:clrScheme>
      <a:clrMap bg1="lt1" tx1="dk1" bg2="lt2" tx2="dk2" accent1="accent1" accent2="accent2" accent3="accent3" accent4="accent4" accent5="accent5" accent6="accent6" hlink="hlink" folHlink="folHlink"/>
    </a:extraClrScheme>
    <a:extraClrScheme>
      <a:clrScheme name="Accenture Finance and Accounting BPO Services_v5_e 3">
        <a:dk1>
          <a:srgbClr val="000000"/>
        </a:dk1>
        <a:lt1>
          <a:srgbClr val="FFFFFF"/>
        </a:lt1>
        <a:dk2>
          <a:srgbClr val="F8F8F8"/>
        </a:dk2>
        <a:lt2>
          <a:srgbClr val="C0C0C0"/>
        </a:lt2>
        <a:accent1>
          <a:srgbClr val="993399"/>
        </a:accent1>
        <a:accent2>
          <a:srgbClr val="66AA44"/>
        </a:accent2>
        <a:accent3>
          <a:srgbClr val="FFFFFF"/>
        </a:accent3>
        <a:accent4>
          <a:srgbClr val="000000"/>
        </a:accent4>
        <a:accent5>
          <a:srgbClr val="CAADCA"/>
        </a:accent5>
        <a:accent6>
          <a:srgbClr val="5C9A3D"/>
        </a:accent6>
        <a:hlink>
          <a:srgbClr val="3333CC"/>
        </a:hlink>
        <a:folHlink>
          <a:srgbClr val="660000"/>
        </a:folHlink>
      </a:clrScheme>
      <a:clrMap bg1="lt1" tx1="dk1" bg2="lt2" tx2="dk2" accent1="accent1" accent2="accent2" accent3="accent3" accent4="accent4" accent5="accent5" accent6="accent6" hlink="hlink" folHlink="folHlink"/>
    </a:extraClrScheme>
    <a:extraClrScheme>
      <a:clrScheme name="Accenture Finance and Accounting BPO Services_v5_e 4">
        <a:dk1>
          <a:srgbClr val="000000"/>
        </a:dk1>
        <a:lt1>
          <a:srgbClr val="FFFFFF"/>
        </a:lt1>
        <a:dk2>
          <a:srgbClr val="F8F8F8"/>
        </a:dk2>
        <a:lt2>
          <a:srgbClr val="C0C0C0"/>
        </a:lt2>
        <a:accent1>
          <a:srgbClr val="88DD00"/>
        </a:accent1>
        <a:accent2>
          <a:srgbClr val="003344"/>
        </a:accent2>
        <a:accent3>
          <a:srgbClr val="FFFFFF"/>
        </a:accent3>
        <a:accent4>
          <a:srgbClr val="000000"/>
        </a:accent4>
        <a:accent5>
          <a:srgbClr val="C3EBAA"/>
        </a:accent5>
        <a:accent6>
          <a:srgbClr val="002D3D"/>
        </a:accent6>
        <a:hlink>
          <a:srgbClr val="993399"/>
        </a:hlink>
        <a:folHlink>
          <a:srgbClr val="00AA99"/>
        </a:folHlink>
      </a:clrScheme>
      <a:clrMap bg1="lt1" tx1="dk1" bg2="lt2" tx2="dk2" accent1="accent1" accent2="accent2" accent3="accent3" accent4="accent4" accent5="accent5" accent6="accent6" hlink="hlink" folHlink="folHlink"/>
    </a:extraClrScheme>
    <a:extraClrScheme>
      <a:clrScheme name="Accenture Finance and Accounting BPO Services_v5_e 5">
        <a:dk1>
          <a:srgbClr val="000000"/>
        </a:dk1>
        <a:lt1>
          <a:srgbClr val="FFFFFF"/>
        </a:lt1>
        <a:dk2>
          <a:srgbClr val="F8F8F8"/>
        </a:dk2>
        <a:lt2>
          <a:srgbClr val="C0C0C0"/>
        </a:lt2>
        <a:accent1>
          <a:srgbClr val="DDCC66"/>
        </a:accent1>
        <a:accent2>
          <a:srgbClr val="003344"/>
        </a:accent2>
        <a:accent3>
          <a:srgbClr val="FFFFFF"/>
        </a:accent3>
        <a:accent4>
          <a:srgbClr val="000000"/>
        </a:accent4>
        <a:accent5>
          <a:srgbClr val="EBE2B8"/>
        </a:accent5>
        <a:accent6>
          <a:srgbClr val="002D3D"/>
        </a:accent6>
        <a:hlink>
          <a:srgbClr val="557799"/>
        </a:hlink>
        <a:folHlink>
          <a:srgbClr val="992222"/>
        </a:folHlink>
      </a:clrScheme>
      <a:clrMap bg1="lt1" tx1="dk1" bg2="lt2" tx2="dk2" accent1="accent1" accent2="accent2" accent3="accent3" accent4="accent4" accent5="accent5" accent6="accent6" hlink="hlink" folHlink="folHlink"/>
    </a:extraClrScheme>
    <a:extraClrScheme>
      <a:clrScheme name="Accenture Finance and Accounting BPO Services_v5_e 6">
        <a:dk1>
          <a:srgbClr val="000000"/>
        </a:dk1>
        <a:lt1>
          <a:srgbClr val="FFFFFF"/>
        </a:lt1>
        <a:dk2>
          <a:srgbClr val="F8F8F8"/>
        </a:dk2>
        <a:lt2>
          <a:srgbClr val="C0C0C0"/>
        </a:lt2>
        <a:accent1>
          <a:srgbClr val="FF9900"/>
        </a:accent1>
        <a:accent2>
          <a:srgbClr val="003344"/>
        </a:accent2>
        <a:accent3>
          <a:srgbClr val="FFFFFF"/>
        </a:accent3>
        <a:accent4>
          <a:srgbClr val="000000"/>
        </a:accent4>
        <a:accent5>
          <a:srgbClr val="FFCAAA"/>
        </a:accent5>
        <a:accent6>
          <a:srgbClr val="002D3D"/>
        </a:accent6>
        <a:hlink>
          <a:srgbClr val="557799"/>
        </a:hlink>
        <a:folHlink>
          <a:srgbClr val="66AA44"/>
        </a:folHlink>
      </a:clrScheme>
      <a:clrMap bg1="lt1" tx1="dk1" bg2="lt2" tx2="dk2" accent1="accent1" accent2="accent2" accent3="accent3" accent4="accent4" accent5="accent5" accent6="accent6" hlink="hlink" folHlink="folHlink"/>
    </a:extraClrScheme>
    <a:extraClrScheme>
      <a:clrScheme name="Accenture Finance and Accounting BPO Services_v5_e 7">
        <a:dk1>
          <a:srgbClr val="000000"/>
        </a:dk1>
        <a:lt1>
          <a:srgbClr val="FFFFFF"/>
        </a:lt1>
        <a:dk2>
          <a:srgbClr val="F8F8F8"/>
        </a:dk2>
        <a:lt2>
          <a:srgbClr val="C0C0C0"/>
        </a:lt2>
        <a:accent1>
          <a:srgbClr val="DD4411"/>
        </a:accent1>
        <a:accent2>
          <a:srgbClr val="003344"/>
        </a:accent2>
        <a:accent3>
          <a:srgbClr val="FFFFFF"/>
        </a:accent3>
        <a:accent4>
          <a:srgbClr val="000000"/>
        </a:accent4>
        <a:accent5>
          <a:srgbClr val="EBB0AA"/>
        </a:accent5>
        <a:accent6>
          <a:srgbClr val="002D3D"/>
        </a:accent6>
        <a:hlink>
          <a:srgbClr val="66AA44"/>
        </a:hlink>
        <a:folHlink>
          <a:srgbClr val="EEAA00"/>
        </a:folHlink>
      </a:clrScheme>
      <a:clrMap bg1="lt1" tx1="dk1" bg2="lt2" tx2="dk2" accent1="accent1" accent2="accent2" accent3="accent3" accent4="accent4" accent5="accent5" accent6="accent6" hlink="hlink" folHlink="folHlink"/>
    </a:extraClrScheme>
    <a:extraClrScheme>
      <a:clrScheme name="Accenture Finance and Accounting BPO Services_v5_e 8">
        <a:dk1>
          <a:srgbClr val="000000"/>
        </a:dk1>
        <a:lt1>
          <a:srgbClr val="FFFFFF"/>
        </a:lt1>
        <a:dk2>
          <a:srgbClr val="003344"/>
        </a:dk2>
        <a:lt2>
          <a:srgbClr val="666666"/>
        </a:lt2>
        <a:accent1>
          <a:srgbClr val="BBBB00"/>
        </a:accent1>
        <a:accent2>
          <a:srgbClr val="992222"/>
        </a:accent2>
        <a:accent3>
          <a:srgbClr val="FFFFFF"/>
        </a:accent3>
        <a:accent4>
          <a:srgbClr val="000000"/>
        </a:accent4>
        <a:accent5>
          <a:srgbClr val="DADAAA"/>
        </a:accent5>
        <a:accent6>
          <a:srgbClr val="8A1E1E"/>
        </a:accent6>
        <a:hlink>
          <a:srgbClr val="445511"/>
        </a:hlink>
        <a:folHlink>
          <a:srgbClr val="008899"/>
        </a:folHlink>
      </a:clrScheme>
      <a:clrMap bg1="lt1" tx1="dk1" bg2="lt2" tx2="dk2" accent1="accent1" accent2="accent2" accent3="accent3" accent4="accent4" accent5="accent5" accent6="accent6" hlink="hlink" folHlink="folHlink"/>
    </a:extraClrScheme>
    <a:extraClrScheme>
      <a:clrScheme name="Accenture Finance and Accounting BPO Services_v5_e 9">
        <a:dk1>
          <a:srgbClr val="000000"/>
        </a:dk1>
        <a:lt1>
          <a:srgbClr val="FFFFFF"/>
        </a:lt1>
        <a:dk2>
          <a:srgbClr val="DD4411"/>
        </a:dk2>
        <a:lt2>
          <a:srgbClr val="666666"/>
        </a:lt2>
        <a:accent1>
          <a:srgbClr val="BBBB00"/>
        </a:accent1>
        <a:accent2>
          <a:srgbClr val="445511"/>
        </a:accent2>
        <a:accent3>
          <a:srgbClr val="FFFFFF"/>
        </a:accent3>
        <a:accent4>
          <a:srgbClr val="000000"/>
        </a:accent4>
        <a:accent5>
          <a:srgbClr val="DADAAA"/>
        </a:accent5>
        <a:accent6>
          <a:srgbClr val="3D4C0E"/>
        </a:accent6>
        <a:hlink>
          <a:srgbClr val="77AA99"/>
        </a:hlink>
        <a:folHlink>
          <a:srgbClr val="008899"/>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General Contribution" ma:contentTypeID="0x012000FD200C85A7BB46D2B974A85017C5AC2B010058B5723D7423104D828A1029C2012E6F" ma:contentTypeVersion="0" ma:contentTypeDescription="General Contribution" ma:contentTypeScope="" ma:versionID="6a7b1a85a91319ddd52bbe09f91a9f64">
  <xsd:schema xmlns:xsd="http://www.w3.org/2001/XMLSchema" xmlns:p="http://schemas.microsoft.com/office/2006/metadata/properties" xmlns:ns1="http://schemas.microsoft.com/sharepoint/v3" targetNamespace="http://schemas.microsoft.com/office/2006/metadata/properties" ma:root="true" ma:fieldsID="2763f9e9c7d677490903a514bc96fadc" ns1:_="">
    <xsd:import namespace="http://schemas.microsoft.com/sharepoint/v3"/>
    <xsd:element name="properties">
      <xsd:complexType>
        <xsd:sequence>
          <xsd:element name="documentManagement">
            <xsd:complexType>
              <xsd:all>
                <xsd:element ref="ns1:Abstract" minOccurs="0"/>
                <xsd:element ref="ns1:ItemType" minOccurs="0"/>
                <xsd:element ref="ns1:ContentCurrentDate" minOccurs="0"/>
                <xsd:element ref="ns1:Contacts" minOccurs="0"/>
                <xsd:element ref="ns1:ArchiveDate" minOccurs="0"/>
                <xsd:element ref="ns1:ArchivalDate" minOccurs="0"/>
                <xsd:element ref="ns1:ApprovedForUseBy" minOccurs="0"/>
                <xsd:element ref="ns1:ArchiveStatus" minOccurs="0"/>
                <xsd:element ref="ns1:BusinessFunctionKeywords" minOccurs="0"/>
                <xsd:element ref="ns1:Client" minOccurs="0"/>
                <xsd:element ref="ns1:EngagementLink" minOccurs="0"/>
                <xsd:element ref="ns1:ConditionsforUse" minOccurs="0"/>
                <xsd:element ref="ns1:ConditionsforUseComments" minOccurs="0"/>
                <xsd:element ref="ns1:DeliveryCenter" minOccurs="0"/>
                <xsd:element ref="ns1:DetailsPageURL" minOccurs="0"/>
                <xsd:element ref="ns1:DetailsPageURL2" minOccurs="0"/>
                <xsd:element ref="ns1:IndustryKeywords" minOccurs="0"/>
                <xsd:element ref="ns1:ContribKeywords" minOccurs="0"/>
                <xsd:element ref="ns1:ContribLanguage" minOccurs="0"/>
                <xsd:element ref="ns1:TechnologyKeywords" minOccurs="0"/>
                <xsd:element ref="ns1:StorageType" minOccurs="0"/>
                <xsd:element ref="ns1:VendorProductKeywords" minOccurs="0"/>
                <xsd:element ref="ns1:Offerings" minOccurs="0"/>
                <xsd:element ref="ns1:PertinentToOrgUnit" minOccurs="0"/>
                <xsd:element ref="ns1:PertinentToCountry" minOccurs="0"/>
                <xsd:element ref="ns1:RevisionTime" minOccurs="0"/>
                <xsd:element ref="ns1:RevisionBy" minOccurs="0"/>
                <xsd:element ref="ns1:flagVVID" minOccurs="0"/>
                <xsd:element ref="ns1:DateCreated" minOccurs="0"/>
                <xsd:element ref="ns1:SubmittedBy" minOccurs="0"/>
                <xsd:element ref="ns1:KXGeography" minOccurs="0"/>
                <xsd:element ref="ns1:HasAttachment" minOccurs="0"/>
                <xsd:element ref="ns1:VisibleToAsset" minOccurs="0"/>
                <xsd:element ref="ns1:OfficialAsset" minOccurs="0"/>
                <xsd:element ref="ns1:SourceType" minOccurs="0"/>
                <xsd:element ref="ns1:RestrictedClient" minOccurs="0"/>
                <xsd:element ref="ns1:KXThumbnailURL" minOccurs="0"/>
                <xsd:element ref="ns1:OpportunityCharacteristics" minOccurs="0"/>
                <xsd:element ref="ns1:RelatedContent" minOccurs="0"/>
              </xsd:all>
            </xsd:complexType>
          </xsd:element>
        </xsd:sequence>
      </xsd:complexType>
    </xsd:element>
  </xsd:schema>
  <xsd:schema xmlns:xsd="http://www.w3.org/2001/XMLSchema" xmlns:dms="http://schemas.microsoft.com/office/2006/documentManagement/types" targetNamespace="http://schemas.microsoft.com/sharepoint/v3" elementFormDefault="qualified">
    <xsd:import namespace="http://schemas.microsoft.com/office/2006/documentManagement/types"/>
    <xsd:element name="Abstract" ma:index="3" nillable="true" ma:displayName="Description" ma:internalName="Abstract">
      <xsd:simpleType>
        <xsd:restriction base="dms:Note">
          <xsd:maxLength value="6"/>
        </xsd:restriction>
      </xsd:simpleType>
    </xsd:element>
    <xsd:element name="ItemType" ma:index="4" nillable="true" ma:displayName="Item Type" ma:internalName="ItemType">
      <xsd:simpleType>
        <xsd:restriction base="dms:Note"/>
      </xsd:simpleType>
    </xsd:element>
    <xsd:element name="ContentCurrentDate" ma:index="5" nillable="true" ma:displayName="Content Current Date" ma:default="[today]" ma:format="DateOnly" ma:internalName="ContentCurrentDate">
      <xsd:simpleType>
        <xsd:restriction base="dms:DateTime"/>
      </xsd:simpleType>
    </xsd:element>
    <xsd:element name="Contacts" ma:index="6" nillable="true" ma:displayName="Contacts" ma:internalName="Contacts">
      <xsd:simpleType>
        <xsd:restriction base="dms:Note"/>
      </xsd:simpleType>
    </xsd:element>
    <xsd:element name="ArchiveDate" ma:index="7" nillable="true" ma:displayName="Expiration Date" ma:format="DateOnly" ma:internalName="ArchiveDate">
      <xsd:simpleType>
        <xsd:restriction base="dms:DateTime"/>
      </xsd:simpleType>
    </xsd:element>
    <xsd:element name="ArchivalDate" ma:index="8" nillable="true" ma:displayName="Archival Date" ma:description="Check if contribution has expired." ma:format="DateOnly" ma:internalName="ArchivalDate">
      <xsd:simpleType>
        <xsd:restriction base="dms:DateTime"/>
      </xsd:simpleType>
    </xsd:element>
    <xsd:element name="ApprovedForUseBy" ma:index="9" nillable="true" ma:displayName="Reviewing Groups" ma:internalName="ApprovedForUseBy">
      <xsd:simpleType>
        <xsd:restriction base="dms:Note"/>
      </xsd:simpleType>
    </xsd:element>
    <xsd:element name="ArchiveStatus" ma:index="10" nillable="true" ma:displayName="Status" ma:internalName="ArchiveStatus">
      <xsd:simpleType>
        <xsd:restriction base="dms:Text"/>
      </xsd:simpleType>
    </xsd:element>
    <xsd:element name="BusinessFunctionKeywords" ma:index="11" nillable="true" ma:displayName="Business Processes &amp; Services" ma:internalName="BusinessFunctionKeywords">
      <xsd:simpleType>
        <xsd:restriction base="dms:Note"/>
      </xsd:simpleType>
    </xsd:element>
    <xsd:element name="Client" ma:index="12" nillable="true" ma:displayName="Client" ma:internalName="Client">
      <xsd:simpleType>
        <xsd:restriction base="dms:Note"/>
      </xsd:simpleType>
    </xsd:element>
    <xsd:element name="EngagementLink" ma:index="13" nillable="true" ma:displayName="Engagement Link" ma:internalName="EngagementLink">
      <xsd:simpleType>
        <xsd:restriction base="dms:Note"/>
      </xsd:simpleType>
    </xsd:element>
    <xsd:element name="ConditionsforUse" ma:index="14" nillable="true" ma:displayName="Usage Restriction" ma:internalName="ConditionsforUse">
      <xsd:simpleType>
        <xsd:restriction base="dms:Text"/>
      </xsd:simpleType>
    </xsd:element>
    <xsd:element name="ConditionsforUseComments" ma:index="15" nillable="true" ma:displayName="Usage Restriction Comments" ma:internalName="ConditionsforUseComments">
      <xsd:simpleType>
        <xsd:restriction base="dms:Note"/>
      </xsd:simpleType>
    </xsd:element>
    <xsd:element name="DeliveryCenter" ma:index="16" nillable="true" ma:displayName="Delivery Center" ma:internalName="DeliveryCenter">
      <xsd:simpleType>
        <xsd:restriction base="dms:Note"/>
      </xsd:simpleType>
    </xsd:element>
    <xsd:element name="DetailsPageURL" ma:index="17" nillable="true" ma:displayName="Details Page URL" ma:internalName="DetailsPageURL">
      <xsd:simpleType>
        <xsd:restriction base="dms:Note"/>
      </xsd:simpleType>
    </xsd:element>
    <xsd:element name="DetailsPageURL2" ma:index="18" nillable="true" ma:displayName="Details Page URL2" ma:internalName="DetailsPageURL2">
      <xsd:simpleType>
        <xsd:restriction base="dms:Text"/>
      </xsd:simpleType>
    </xsd:element>
    <xsd:element name="IndustryKeywords" ma:index="19" nillable="true" ma:displayName="Business &amp; Industries" ma:internalName="IndustryKeywords">
      <xsd:simpleType>
        <xsd:restriction base="dms:Note"/>
      </xsd:simpleType>
    </xsd:element>
    <xsd:element name="ContribKeywords" ma:index="20" nillable="true" ma:displayName="Content Manager Keywords" ma:internalName="ContribKeywords">
      <xsd:simpleType>
        <xsd:restriction base="dms:Note"/>
      </xsd:simpleType>
    </xsd:element>
    <xsd:element name="ContribLanguage" ma:index="21" nillable="true" ma:displayName="Language" ma:internalName="ContribLanguage">
      <xsd:simpleType>
        <xsd:restriction base="dms:Note"/>
      </xsd:simpleType>
    </xsd:element>
    <xsd:element name="TechnologyKeywords" ma:index="22" nillable="true" ma:displayName="Technologies" ma:internalName="TechnologyKeywords">
      <xsd:simpleType>
        <xsd:restriction base="dms:Note"/>
      </xsd:simpleType>
    </xsd:element>
    <xsd:element name="StorageType" ma:index="23" nillable="true" ma:displayName="Storage Type" ma:internalName="StorageType">
      <xsd:simpleType>
        <xsd:restriction base="dms:Text"/>
      </xsd:simpleType>
    </xsd:element>
    <xsd:element name="VendorProductKeywords" ma:index="24" nillable="true" ma:displayName="Vendors" ma:internalName="VendorProductKeywords">
      <xsd:simpleType>
        <xsd:restriction base="dms:Note"/>
      </xsd:simpleType>
    </xsd:element>
    <xsd:element name="Offerings" ma:index="25" nillable="true" ma:displayName="Offerings" ma:internalName="Offerings">
      <xsd:simpleType>
        <xsd:restriction base="dms:Note"/>
      </xsd:simpleType>
    </xsd:element>
    <xsd:element name="PertinentToOrgUnit" ma:index="26" nillable="true" ma:displayName="Accenture Organizations" ma:internalName="PertinentToOrgUnit">
      <xsd:simpleType>
        <xsd:restriction base="dms:Note"/>
      </xsd:simpleType>
    </xsd:element>
    <xsd:element name="PertinentToCountry" ma:index="27" nillable="true" ma:displayName="Countries" ma:internalName="PertinentToCountry">
      <xsd:simpleType>
        <xsd:restriction base="dms:Note"/>
      </xsd:simpleType>
    </xsd:element>
    <xsd:element name="RevisionTime" ma:index="28" nillable="true" ma:displayName="Revision Time" ma:internalName="RevisionTime">
      <xsd:simpleType>
        <xsd:restriction base="dms:Note"/>
      </xsd:simpleType>
    </xsd:element>
    <xsd:element name="RevisionBy" ma:index="29" nillable="true" ma:displayName="Revision By" ma:internalName="RevisionBy">
      <xsd:simpleType>
        <xsd:restriction base="dms:Note"/>
      </xsd:simpleType>
    </xsd:element>
    <xsd:element name="flagVVID" ma:index="30" nillable="true" ma:displayName="flagVVID" ma:internalName="flagVVID">
      <xsd:simpleType>
        <xsd:restriction base="dms:Text"/>
      </xsd:simpleType>
    </xsd:element>
    <xsd:element name="DateCreated" ma:index="31" nillable="true" ma:displayName="Date Created" ma:internalName="DateCreated">
      <xsd:simpleType>
        <xsd:restriction base="dms:DateTime"/>
      </xsd:simpleType>
    </xsd:element>
    <xsd:element name="SubmittedBy" ma:index="32" nillable="true" ma:displayName="Submitted By" ma:internalName="SubmittedBy">
      <xsd:simpleType>
        <xsd:restriction base="dms:Text"/>
      </xsd:simpleType>
    </xsd:element>
    <xsd:element name="KXGeography" ma:index="33" nillable="true" ma:displayName="KXGeography" ma:internalName="KXGeography">
      <xsd:simpleType>
        <xsd:restriction base="dms:Note"/>
      </xsd:simpleType>
    </xsd:element>
    <xsd:element name="HasAttachment" ma:index="34" nillable="true" ma:displayName="Has Attachment" ma:description="Check if contribution has attachment." ma:internalName="HasAttachment">
      <xsd:simpleType>
        <xsd:restriction base="dms:Text"/>
      </xsd:simpleType>
    </xsd:element>
    <xsd:element name="VisibleToAsset" ma:index="35" nillable="true" ma:displayName="Visible To Asset" ma:internalName="VisibleToAsset">
      <xsd:simpleType>
        <xsd:restriction base="dms:Text"/>
      </xsd:simpleType>
    </xsd:element>
    <xsd:element name="OfficialAsset" ma:index="36" nillable="true" ma:displayName="Official Asset" ma:internalName="OfficialAsset">
      <xsd:simpleType>
        <xsd:restriction base="dms:Text"/>
      </xsd:simpleType>
    </xsd:element>
    <xsd:element name="SourceType" ma:index="37" nillable="true" ma:displayName="SourceType" ma:internalName="SourceType">
      <xsd:simpleType>
        <xsd:restriction base="dms:Text"/>
      </xsd:simpleType>
    </xsd:element>
    <xsd:element name="RestrictedClient" ma:index="38" nillable="true" ma:displayName="Confidential Client" ma:internalName="RestrictedClient">
      <xsd:simpleType>
        <xsd:restriction base="dms:Text"/>
      </xsd:simpleType>
    </xsd:element>
    <xsd:element name="KXThumbnailURL" ma:index="39" nillable="true" ma:displayName="KX Thumbnail URL" ma:internalName="KXThumbnailURL">
      <xsd:simpleType>
        <xsd:restriction base="dms:Note"/>
      </xsd:simpleType>
    </xsd:element>
    <xsd:element name="OpportunityCharacteristics" ma:index="40" nillable="true" ma:displayName="Opportunity Characteristics" ma:internalName="OpportunityCharacteristics">
      <xsd:simpleType>
        <xsd:restriction base="dms:Note"/>
      </xsd:simpleType>
    </xsd:element>
    <xsd:element name="RelatedContent" ma:index="41" nillable="true" ma:displayName="Related Content" ma:internalName="RelatedContent">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2"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mso-contentType ?>
<FormTemplates xmlns="http://schemas.microsoft.com/sharepoint/v3/contenttype/forms">
  <Display>ListForm</Display>
  <Edit>ListForm</Edit>
  <New>ListForm</New>
</FormTemplates>
</file>

<file path=customXml/item3.xml><?xml version="1.0" encoding="utf-8"?>
<p:properties xmlns:p="http://schemas.microsoft.com/office/2006/metadata/properties" xmlns:xsi="http://www.w3.org/2001/XMLSchema-instance" xmlns:pc="http://schemas.microsoft.com/office/infopath/2007/PartnerControls">
  <documentManagement>
    <ArchiveDate xmlns="http://schemas.microsoft.com/sharepoint/v3">2016-12-11T06:00:00+00:00</ArchiveDate>
    <EngagementLink xmlns="http://schemas.microsoft.com/sharepoint/v3" xsi:nil="true"/>
    <PertinentToCountry xmlns="http://schemas.microsoft.com/sharepoint/v3" xsi:nil="true"/>
    <Client xmlns="http://schemas.microsoft.com/sharepoint/v3" xsi:nil="true"/>
    <flagVVID xmlns="http://schemas.microsoft.com/sharepoint/v3" xsi:nil="true"/>
    <RelatedContent xmlns="http://schemas.microsoft.com/sharepoint/v3" xsi:nil="true"/>
    <Abstract xmlns="http://schemas.microsoft.com/sharepoint/v3">&lt;p&gt;This deck introduces Chef as a tool, what is does and how it works. The benefits of engaging with the Chef Factory are discussed and the operating model described. Finally are some case studies which give an overview of the work done for previous clients.&amp;nbsp;&lt;/p&gt;</Abstract>
    <ContentCurrentDate xmlns="http://schemas.microsoft.com/sharepoint/v3">2014-12-11T06:00:00+00:00</ContentCurrentDate>
    <DateCreated xmlns="http://schemas.microsoft.com/sharepoint/v3">2014-12-11T21:52:08+00:00</DateCreated>
    <OfficialAsset xmlns="http://schemas.microsoft.com/sharepoint/v3">No</OfficialAsset>
    <ArchiveStatus xmlns="http://schemas.microsoft.com/sharepoint/v3">Active</ArchiveStatus>
    <IndustryKeywords xmlns="http://schemas.microsoft.com/sharepoint/v3">;#323;~Capital Markets;#13489;~Cross Industry</IndustryKeywords>
    <VendorProductKeywords xmlns="http://schemas.microsoft.com/sharepoint/v3">;#0;~None</VendorProductKeywords>
    <RevisionTime xmlns="http://schemas.microsoft.com/sharepoint/v3">3/30/2016 1:49:28 AM&lt;br&gt;3/7/2016 7:58:59 AM&lt;br&gt;1/25/2016 7:39:37 AM&lt;br&gt;8/3/2015 1:27:11 AM&lt;br&gt;4/6/2015 8:37:55 AM&lt;br&gt;1/22/2015 12:00:47 AM&lt;br&gt;1/15/2015 3:16:47 AM</RevisionTime>
    <Contacts xmlns="http://schemas.microsoft.com/sharepoint/v3">dir\hitesh.joshi,dir\sandeep.rathod</Contacts>
    <ItemType xmlns="http://schemas.microsoft.com/sharepoint/v3">;#13989;~Accenture Internal Material</ItemType>
    <Offerings xmlns="http://schemas.microsoft.com/sharepoint/v3">;#11414;~Accenture Technology;#14435;~    OF-002547 - DevOps</Offerings>
    <KXThumbnailURL xmlns="http://schemas.microsoft.com/sharepoint/v3">https://documentpreviews.accenture.com/_vti_bin/Longitude5/DocumentViewerService.svc/getResource/?resourceKey=https%3A%2F%2Fkx.accenture.com%2FRepositories%2FC29%2F87%2F25%2FChef%20Factory%20Overview%20v0%207.pptx@_pc!res_~1@_pc!res_~False@_pc!res_~http@_pc!res_~0@_pc!res_~120@_pc!res_~120</KXThumbnailURL>
    <ApprovedForUseBy xmlns="http://schemas.microsoft.com/sharepoint/v3">;#32;~Financial Services</ApprovedForUseBy>
    <SubmittedBy xmlns="http://schemas.microsoft.com/sharepoint/v3">dir\v.a.whittingham</SubmittedBy>
    <HasAttachment xmlns="http://schemas.microsoft.com/sharepoint/v3">No</HasAttachment>
    <SourceType xmlns="http://schemas.microsoft.com/sharepoint/v3">ContributionForm</SourceType>
    <ArchivalDate xmlns="http://schemas.microsoft.com/sharepoint/v3" xsi:nil="true"/>
    <DeliveryCenter xmlns="http://schemas.microsoft.com/sharepoint/v3" xsi:nil="true"/>
    <ContribKeywords xmlns="http://schemas.microsoft.com/sharepoint/v3">;#14803;~Accenture Open Web Platform - AOWP;#14810;~AS Gateway;#14902;~ASG Artifact Types;#14944;~ Client Brochure;#14948;~ Intelligent tools;#14939;~ Standards and Guidelines;#14947;~ Tools Assets and Accelerators;#14903;~ASG Themes</ContribKeywords>
    <StorageType xmlns="http://schemas.microsoft.com/sharepoint/v3">File</StorageType>
    <RevisionBy xmlns="http://schemas.microsoft.com/sharepoint/v3">kx.massupdate&lt;br&gt;dir\k.dasgupta&lt;br&gt;dir\k.dasgupta&lt;br&gt;dir\nikhil.j.ramesh&lt;br&gt;dir\vidyashree.nagaraju&lt;br&gt;kx.massupdate&lt;br&gt;dir\talapala.ramya</RevisionBy>
    <VisibleToAsset xmlns="http://schemas.microsoft.com/sharepoint/v3" xsi:nil="true"/>
    <BusinessFunctionKeywords xmlns="http://schemas.microsoft.com/sharepoint/v3">;#202;~Application Outsourcing;#14187;~Infrastructure Delivery Capabilities;#14860;~Infrastructure Outsourcing</BusinessFunctionKeywords>
    <ConditionsforUse xmlns="http://schemas.microsoft.com/sharepoint/v3">Accenture Internal Use Only</ConditionsforUse>
    <DetailsPageURL2 xmlns="http://schemas.microsoft.com/sharepoint/v3">https://kx.accenture.com/Repositories/DownloadForm.aspx?path=C29/87/25/Chef%20Factory%20Overview%20v0%207.pptx</DetailsPageURL2>
    <RestrictedClient xmlns="http://schemas.microsoft.com/sharepoint/v3" xsi:nil="true"/>
    <KXGeography xmlns="http://schemas.microsoft.com/sharepoint/v3" xsi:nil="true"/>
    <ConditionsforUseComments xmlns="http://schemas.microsoft.com/sharepoint/v3" xsi:nil="true"/>
    <TechnologyKeywords xmlns="http://schemas.microsoft.com/sharepoint/v3">;#13122;~Agile;#7361;~Application Development;#14624;~Open Source;#8709;~Technology Architecture</TechnologyKeywords>
    <PertinentToOrgUnit xmlns="http://schemas.microsoft.com/sharepoint/v3">;#11116;~Accenture Technology - Accenture Technology Services</PertinentToOrgUnit>
    <DetailsPageURL xmlns="http://schemas.microsoft.com/sharepoint/v3">https://kx.accenture.com/Repositories/ContributionForm.aspx?path=C29/87/25&amp;mode=Read</DetailsPageURL>
    <ContribLanguage xmlns="http://schemas.microsoft.com/sharepoint/v3">;#4628;~English</ContribLanguage>
    <OpportunityCharacteristics xmlns="http://schemas.microsoft.com/sharepoint/v3" xsi:nil="true"/>
  </documentManagement>
</p:properties>
</file>

<file path=customXml/itemProps1.xml><?xml version="1.0" encoding="utf-8"?>
<ds:datastoreItem xmlns:ds="http://schemas.openxmlformats.org/officeDocument/2006/customXml" ds:itemID="{2800B096-B1CD-49C2-A33D-AE50A5C369F9}"/>
</file>

<file path=customXml/itemProps2.xml><?xml version="1.0" encoding="utf-8"?>
<ds:datastoreItem xmlns:ds="http://schemas.openxmlformats.org/officeDocument/2006/customXml" ds:itemID="{69EE8256-5270-447E-99B9-5E3B234E654C}"/>
</file>

<file path=customXml/itemProps3.xml><?xml version="1.0" encoding="utf-8"?>
<ds:datastoreItem xmlns:ds="http://schemas.openxmlformats.org/officeDocument/2006/customXml" ds:itemID="{E89B1575-39B9-4D63-B619-299A2FDA0730}"/>
</file>

<file path=docProps/app.xml><?xml version="1.0" encoding="utf-8"?>
<Properties xmlns="http://schemas.openxmlformats.org/officeDocument/2006/extended-properties" xmlns:vt="http://schemas.openxmlformats.org/officeDocument/2006/docPropsVTypes">
  <Template>DCSC_Operating Model_v0.1</Template>
  <TotalTime>63831</TotalTime>
  <Words>2607</Words>
  <Application>Microsoft Office PowerPoint</Application>
  <PresentationFormat>On-screen Show (4:3)</PresentationFormat>
  <Paragraphs>733</Paragraphs>
  <Slides>18</Slides>
  <Notes>7</Notes>
  <HiddenSlides>0</HiddenSlides>
  <MMClips>0</MMClips>
  <ScaleCrop>false</ScaleCrop>
  <HeadingPairs>
    <vt:vector size="8" baseType="variant">
      <vt:variant>
        <vt:lpstr>Fonts Used</vt:lpstr>
      </vt:variant>
      <vt:variant>
        <vt:i4>6</vt:i4>
      </vt:variant>
      <vt:variant>
        <vt:lpstr>Theme</vt:lpstr>
      </vt:variant>
      <vt:variant>
        <vt:i4>5</vt:i4>
      </vt:variant>
      <vt:variant>
        <vt:lpstr>Embedded OLE Servers</vt:lpstr>
      </vt:variant>
      <vt:variant>
        <vt:i4>1</vt:i4>
      </vt:variant>
      <vt:variant>
        <vt:lpstr>Slide Titles</vt:lpstr>
      </vt:variant>
      <vt:variant>
        <vt:i4>18</vt:i4>
      </vt:variant>
    </vt:vector>
  </HeadingPairs>
  <TitlesOfParts>
    <vt:vector size="30" baseType="lpstr">
      <vt:lpstr>Arial</vt:lpstr>
      <vt:lpstr>Calibri</vt:lpstr>
      <vt:lpstr>Cambria</vt:lpstr>
      <vt:lpstr>Segoe UI</vt:lpstr>
      <vt:lpstr>Times New Roman</vt:lpstr>
      <vt:lpstr>Wingdings</vt:lpstr>
      <vt:lpstr>483392_BPO_navigation_2007_3a</vt:lpstr>
      <vt:lpstr>Office Theme</vt:lpstr>
      <vt:lpstr>1_483392_BPO_navigation_2007_3a</vt:lpstr>
      <vt:lpstr>Accenture Straws</vt:lpstr>
      <vt:lpstr>2_483392_BPO_navigation_2007_3a</vt:lpstr>
      <vt:lpstr>think-cell Slide</vt:lpstr>
      <vt:lpstr>Chef Factory</vt:lpstr>
      <vt:lpstr>Agenda</vt:lpstr>
      <vt:lpstr>Business Value</vt:lpstr>
      <vt:lpstr>Build and Deployment Automation</vt:lpstr>
      <vt:lpstr>Chef Factory - What are the benefits?</vt:lpstr>
      <vt:lpstr>Chef Factory - What is the Operating Model?</vt:lpstr>
      <vt:lpstr>Chef Factory Tools Blueprint</vt:lpstr>
      <vt:lpstr> Continuous Delivery Pipeline</vt:lpstr>
      <vt:lpstr>What assets do we already have…</vt:lpstr>
      <vt:lpstr>Why                   ? </vt:lpstr>
      <vt:lpstr>Service Lines</vt:lpstr>
      <vt:lpstr>Who to contact</vt:lpstr>
      <vt:lpstr>Appendix</vt:lpstr>
      <vt:lpstr>Success Story: Scandinavian Retailer</vt:lpstr>
      <vt:lpstr>Success Story: UK Retailer </vt:lpstr>
      <vt:lpstr>What assets do we already have…</vt:lpstr>
      <vt:lpstr>What assets do we already have…</vt:lpstr>
      <vt:lpstr>What assets do we already have…</vt:lpstr>
    </vt:vector>
  </TitlesOfParts>
  <Company>Accentur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ef Factory Overview</dc:title>
  <dc:creator>k.hollingsworth</dc:creator>
  <cp:lastModifiedBy>Whittingham, V. A.</cp:lastModifiedBy>
  <cp:revision>658</cp:revision>
  <cp:lastPrinted>2014-07-14T14:00:35Z</cp:lastPrinted>
  <dcterms:created xsi:type="dcterms:W3CDTF">2012-02-19T13:02:45Z</dcterms:created>
  <dcterms:modified xsi:type="dcterms:W3CDTF">2014-12-11T18:07:19Z</dcterms:modified>
  <cp:contentType>General Contribution</cp:contentTyp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2000FD200C85A7BB46D2B974A85017C5AC2B010058B5723D7423104D828A1029C2012E6F</vt:lpwstr>
  </property>
  <property fmtid="{D5CDD505-2E9C-101B-9397-08002B2CF9AE}" pid="3" name="FederalData">
    <vt:lpwstr>No</vt:lpwstr>
  </property>
</Properties>
</file>